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5.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6.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7.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8.xml" ContentType="application/vnd.openxmlformats-officedocument.theme+xml"/>
  <Override PartName="/ppt/slideLayouts/slideLayout216.xml" ContentType="application/vnd.openxmlformats-officedocument.presentationml.slideLayout+xml"/>
  <Override PartName="/ppt/theme/theme9.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1.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12.xml" ContentType="application/vnd.openxmlformats-officedocument.theme+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3.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86" r:id="rId6"/>
    <p:sldMasterId id="2147483716" r:id="rId7"/>
    <p:sldMasterId id="2147483747" r:id="rId8"/>
    <p:sldMasterId id="2147483777" r:id="rId9"/>
    <p:sldMasterId id="2147483809" r:id="rId10"/>
    <p:sldMasterId id="2147483841" r:id="rId11"/>
    <p:sldMasterId id="2147483869" r:id="rId12"/>
    <p:sldMasterId id="2147483874" r:id="rId13"/>
    <p:sldMasterId id="2147483887" r:id="rId14"/>
    <p:sldMasterId id="2147483907" r:id="rId15"/>
    <p:sldMasterId id="2147483935" r:id="rId16"/>
    <p:sldMasterId id="2147483967" r:id="rId17"/>
  </p:sldMasterIdLst>
  <p:notesMasterIdLst>
    <p:notesMasterId r:id="rId52"/>
  </p:notesMasterIdLst>
  <p:sldIdLst>
    <p:sldId id="1860" r:id="rId18"/>
    <p:sldId id="1861" r:id="rId19"/>
    <p:sldId id="4254" r:id="rId20"/>
    <p:sldId id="4258" r:id="rId21"/>
    <p:sldId id="4259" r:id="rId22"/>
    <p:sldId id="375" r:id="rId23"/>
    <p:sldId id="423" r:id="rId24"/>
    <p:sldId id="410" r:id="rId25"/>
    <p:sldId id="4261" r:id="rId26"/>
    <p:sldId id="2286" r:id="rId27"/>
    <p:sldId id="259" r:id="rId28"/>
    <p:sldId id="326" r:id="rId29"/>
    <p:sldId id="357" r:id="rId30"/>
    <p:sldId id="2295" r:id="rId31"/>
    <p:sldId id="4260" r:id="rId32"/>
    <p:sldId id="1705" r:id="rId33"/>
    <p:sldId id="1569" r:id="rId34"/>
    <p:sldId id="1556" r:id="rId35"/>
    <p:sldId id="4263" r:id="rId36"/>
    <p:sldId id="4265" r:id="rId37"/>
    <p:sldId id="329" r:id="rId38"/>
    <p:sldId id="1907" r:id="rId39"/>
    <p:sldId id="4304" r:id="rId40"/>
    <p:sldId id="278" r:id="rId41"/>
    <p:sldId id="339" r:id="rId42"/>
    <p:sldId id="340" r:id="rId43"/>
    <p:sldId id="341" r:id="rId44"/>
    <p:sldId id="4305" r:id="rId45"/>
    <p:sldId id="1879" r:id="rId46"/>
    <p:sldId id="4301" r:id="rId47"/>
    <p:sldId id="1928" r:id="rId48"/>
    <p:sldId id="4280" r:id="rId49"/>
    <p:sldId id="1839" r:id="rId50"/>
    <p:sldId id="4306"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2EB103C-4FEC-4F28-BBEC-F24BC1D8F405}">
          <p14:sldIdLst>
            <p14:sldId id="1860"/>
            <p14:sldId id="1861"/>
            <p14:sldId id="4254"/>
            <p14:sldId id="4258"/>
            <p14:sldId id="4259"/>
          </p14:sldIdLst>
        </p14:section>
        <p14:section name="What is container" id="{3204727D-BB41-451B-BB33-8CA356CDA352}">
          <p14:sldIdLst>
            <p14:sldId id="375"/>
            <p14:sldId id="423"/>
            <p14:sldId id="410"/>
            <p14:sldId id="4261"/>
            <p14:sldId id="2286"/>
            <p14:sldId id="259"/>
            <p14:sldId id="326"/>
            <p14:sldId id="357"/>
            <p14:sldId id="2295"/>
          </p14:sldIdLst>
        </p14:section>
        <p14:section name="Microservices" id="{71CB7A47-57E1-4921-A7DC-3175F5028600}">
          <p14:sldIdLst>
            <p14:sldId id="4260"/>
            <p14:sldId id="1705"/>
            <p14:sldId id="1569"/>
            <p14:sldId id="1556"/>
          </p14:sldIdLst>
        </p14:section>
        <p14:section name="Why Azure" id="{971B5258-5867-4D80-A79D-D1D58EFC6713}">
          <p14:sldIdLst>
            <p14:sldId id="4263"/>
            <p14:sldId id="4265"/>
          </p14:sldIdLst>
        </p14:section>
        <p14:section name="ACI" id="{668A4F34-BD50-496F-AF86-3E881C5B57EE}">
          <p14:sldIdLst>
            <p14:sldId id="329"/>
            <p14:sldId id="1907"/>
            <p14:sldId id="4304"/>
          </p14:sldIdLst>
        </p14:section>
        <p14:section name="AKS" id="{70446657-7445-4174-ADB8-6E4A350B7CCA}">
          <p14:sldIdLst>
            <p14:sldId id="278"/>
            <p14:sldId id="339"/>
            <p14:sldId id="340"/>
            <p14:sldId id="341"/>
            <p14:sldId id="4305"/>
          </p14:sldIdLst>
        </p14:section>
        <p14:section name="SFB Mesh" id="{E79AAA92-034E-46CB-B5A3-B09785D63199}">
          <p14:sldIdLst>
            <p14:sldId id="1879"/>
            <p14:sldId id="4301"/>
            <p14:sldId id="1928"/>
            <p14:sldId id="4280"/>
          </p14:sldIdLst>
        </p14:section>
        <p14:section name="Resource, QA" id="{073B0E0C-D3E3-4CA3-8F61-B78AC47332D8}">
          <p14:sldIdLst>
            <p14:sldId id="1839"/>
            <p14:sldId id="430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CFDFE"/>
    <a:srgbClr val="F9FBFE"/>
    <a:srgbClr val="D82231"/>
    <a:srgbClr val="DA8D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4470CE-6A8F-4666-AC28-6D0D67D89520}" v="3" dt="2018-12-04T18:27:47.0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6" d="100"/>
          <a:sy n="96" d="100"/>
        </p:scale>
        <p:origin x="39" y="6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slide" Target="slides/slide24.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te Rodriguez" userId="dfaed4c7-59c0-4e06-bb89-5721ca5c6292" providerId="ADAL" clId="{B2CB08A9-7AD8-4B1E-8880-BB06756B1A9E}"/>
    <pc:docChg chg="modSld">
      <pc:chgData name="Pete Rodriguez" userId="dfaed4c7-59c0-4e06-bb89-5721ca5c6292" providerId="ADAL" clId="{B2CB08A9-7AD8-4B1E-8880-BB06756B1A9E}" dt="2018-10-29T16:17:16.905" v="32" actId="20577"/>
      <pc:docMkLst>
        <pc:docMk/>
      </pc:docMkLst>
      <pc:sldChg chg="modNotes">
        <pc:chgData name="Pete Rodriguez" userId="dfaed4c7-59c0-4e06-bb89-5721ca5c6292" providerId="ADAL" clId="{B2CB08A9-7AD8-4B1E-8880-BB06756B1A9E}" dt="2018-10-29T15:50:29.462" v="6"/>
        <pc:sldMkLst>
          <pc:docMk/>
          <pc:sldMk cId="1947657060" sldId="341"/>
        </pc:sldMkLst>
      </pc:sldChg>
      <pc:sldChg chg="modSp">
        <pc:chgData name="Pete Rodriguez" userId="dfaed4c7-59c0-4e06-bb89-5721ca5c6292" providerId="ADAL" clId="{B2CB08A9-7AD8-4B1E-8880-BB06756B1A9E}" dt="2018-10-29T16:17:16.905" v="32" actId="20577"/>
        <pc:sldMkLst>
          <pc:docMk/>
          <pc:sldMk cId="1869999325" sldId="1861"/>
        </pc:sldMkLst>
        <pc:spChg chg="mod">
          <ac:chgData name="Pete Rodriguez" userId="dfaed4c7-59c0-4e06-bb89-5721ca5c6292" providerId="ADAL" clId="{B2CB08A9-7AD8-4B1E-8880-BB06756B1A9E}" dt="2018-10-29T16:17:16.905" v="32" actId="20577"/>
          <ac:spMkLst>
            <pc:docMk/>
            <pc:sldMk cId="1869999325" sldId="1861"/>
            <ac:spMk id="7" creationId="{5B233F29-D5A5-4DF5-AA87-020831D2ED66}"/>
          </ac:spMkLst>
        </pc:spChg>
      </pc:sldChg>
      <pc:sldChg chg="modNotesTx">
        <pc:chgData name="Pete Rodriguez" userId="dfaed4c7-59c0-4e06-bb89-5721ca5c6292" providerId="ADAL" clId="{B2CB08A9-7AD8-4B1E-8880-BB06756B1A9E}" dt="2018-10-29T14:25:36.315" v="5" actId="20577"/>
        <pc:sldMkLst>
          <pc:docMk/>
          <pc:sldMk cId="2992843714" sldId="2295"/>
        </pc:sldMkLst>
      </pc:sldChg>
    </pc:docChg>
  </pc:docChgLst>
  <pc:docChgLst>
    <pc:chgData name="Greg Hoelzer" userId="3eb594a5-f819-4d93-9c65-7aaa42afe6cf" providerId="ADAL" clId="{C40AD150-01F9-49C2-A5F4-083524AE2DE5}"/>
    <pc:docChg chg="modSld">
      <pc:chgData name="Greg Hoelzer" userId="3eb594a5-f819-4d93-9c65-7aaa42afe6cf" providerId="ADAL" clId="{C40AD150-01F9-49C2-A5F4-083524AE2DE5}" dt="2018-11-28T20:36:34.024" v="42" actId="20577"/>
      <pc:docMkLst>
        <pc:docMk/>
      </pc:docMkLst>
      <pc:sldChg chg="modSp">
        <pc:chgData name="Greg Hoelzer" userId="3eb594a5-f819-4d93-9c65-7aaa42afe6cf" providerId="ADAL" clId="{C40AD150-01F9-49C2-A5F4-083524AE2DE5}" dt="2018-11-28T20:36:34.024" v="42" actId="20577"/>
        <pc:sldMkLst>
          <pc:docMk/>
          <pc:sldMk cId="1869999325" sldId="1861"/>
        </pc:sldMkLst>
        <pc:spChg chg="mod">
          <ac:chgData name="Greg Hoelzer" userId="3eb594a5-f819-4d93-9c65-7aaa42afe6cf" providerId="ADAL" clId="{C40AD150-01F9-49C2-A5F4-083524AE2DE5}" dt="2018-11-28T20:36:34.024" v="42" actId="20577"/>
          <ac:spMkLst>
            <pc:docMk/>
            <pc:sldMk cId="1869999325" sldId="1861"/>
            <ac:spMk id="7" creationId="{5B233F29-D5A5-4DF5-AA87-020831D2ED66}"/>
          </ac:spMkLst>
        </pc:spChg>
      </pc:sldChg>
    </pc:docChg>
  </pc:docChgLst>
  <pc:docChgLst>
    <pc:chgData name="Siraj Mohammad" userId="S::sirajm@microsoft.com::dd4c52c3-6074-444b-bdd3-975c90885aa7" providerId="AD" clId="Web-{DF4ABF8A-03CC-48EB-89C5-AB270F3D7D68}"/>
    <pc:docChg chg="addSld delSld modSld modSection">
      <pc:chgData name="Siraj Mohammad" userId="S::sirajm@microsoft.com::dd4c52c3-6074-444b-bdd3-975c90885aa7" providerId="AD" clId="Web-{DF4ABF8A-03CC-48EB-89C5-AB270F3D7D68}" dt="2018-10-19T14:16:36.298" v="19" actId="1076"/>
      <pc:docMkLst>
        <pc:docMk/>
      </pc:docMkLst>
      <pc:sldChg chg="new del">
        <pc:chgData name="Siraj Mohammad" userId="S::sirajm@microsoft.com::dd4c52c3-6074-444b-bdd3-975c90885aa7" providerId="AD" clId="Web-{DF4ABF8A-03CC-48EB-89C5-AB270F3D7D68}" dt="2018-10-19T14:15:18.718" v="1"/>
        <pc:sldMkLst>
          <pc:docMk/>
          <pc:sldMk cId="1252899712" sldId="4306"/>
        </pc:sldMkLst>
      </pc:sldChg>
      <pc:sldChg chg="addSp modSp new">
        <pc:chgData name="Siraj Mohammad" userId="S::sirajm@microsoft.com::dd4c52c3-6074-444b-bdd3-975c90885aa7" providerId="AD" clId="Web-{DF4ABF8A-03CC-48EB-89C5-AB270F3D7D68}" dt="2018-10-19T14:16:36.298" v="19" actId="1076"/>
        <pc:sldMkLst>
          <pc:docMk/>
          <pc:sldMk cId="2736707429" sldId="4306"/>
        </pc:sldMkLst>
        <pc:spChg chg="mod">
          <ac:chgData name="Siraj Mohammad" userId="S::sirajm@microsoft.com::dd4c52c3-6074-444b-bdd3-975c90885aa7" providerId="AD" clId="Web-{DF4ABF8A-03CC-48EB-89C5-AB270F3D7D68}" dt="2018-10-19T14:15:58.969" v="7" actId="20577"/>
          <ac:spMkLst>
            <pc:docMk/>
            <pc:sldMk cId="2736707429" sldId="4306"/>
            <ac:spMk id="2" creationId="{E92F922F-E179-4788-B826-4153FBEAC3EA}"/>
          </ac:spMkLst>
        </pc:spChg>
        <pc:spChg chg="mod">
          <ac:chgData name="Siraj Mohammad" userId="S::sirajm@microsoft.com::dd4c52c3-6074-444b-bdd3-975c90885aa7" providerId="AD" clId="Web-{DF4ABF8A-03CC-48EB-89C5-AB270F3D7D68}" dt="2018-10-19T14:16:36.298" v="19" actId="1076"/>
          <ac:spMkLst>
            <pc:docMk/>
            <pc:sldMk cId="2736707429" sldId="4306"/>
            <ac:spMk id="3" creationId="{376F5F18-558B-412C-A4D9-36DCA94A11DA}"/>
          </ac:spMkLst>
        </pc:spChg>
        <pc:spChg chg="add mod">
          <ac:chgData name="Siraj Mohammad" userId="S::sirajm@microsoft.com::dd4c52c3-6074-444b-bdd3-975c90885aa7" providerId="AD" clId="Web-{DF4ABF8A-03CC-48EB-89C5-AB270F3D7D68}" dt="2018-10-19T14:16:24.157" v="8" actId="20577"/>
          <ac:spMkLst>
            <pc:docMk/>
            <pc:sldMk cId="2736707429" sldId="4306"/>
            <ac:spMk id="5" creationId="{6549DFAF-56A0-4A90-9A04-DF1D9EE10E7C}"/>
          </ac:spMkLst>
        </pc:spChg>
        <pc:picChg chg="add mod">
          <ac:chgData name="Siraj Mohammad" userId="S::sirajm@microsoft.com::dd4c52c3-6074-444b-bdd3-975c90885aa7" providerId="AD" clId="Web-{DF4ABF8A-03CC-48EB-89C5-AB270F3D7D68}" dt="2018-10-19T14:16:33.516" v="18" actId="1076"/>
          <ac:picMkLst>
            <pc:docMk/>
            <pc:sldMk cId="2736707429" sldId="4306"/>
            <ac:picMk id="4" creationId="{B8A271F6-B212-4765-9BA1-F77ADBFC1836}"/>
          </ac:picMkLst>
        </pc:picChg>
      </pc:sldChg>
    </pc:docChg>
  </pc:docChgLst>
  <pc:docChgLst>
    <pc:chgData name="Dan Gartner" userId="9e340812-aebf-4e4c-9745-002b3134f155" providerId="ADAL" clId="{264470CE-6A8F-4666-AC28-6D0D67D89520}"/>
    <pc:docChg chg="modSld">
      <pc:chgData name="Dan Gartner" userId="9e340812-aebf-4e4c-9745-002b3134f155" providerId="ADAL" clId="{264470CE-6A8F-4666-AC28-6D0D67D89520}" dt="2018-12-04T18:27:45.228" v="1"/>
      <pc:docMkLst>
        <pc:docMk/>
      </pc:docMkLst>
      <pc:sldChg chg="addSp">
        <pc:chgData name="Dan Gartner" userId="9e340812-aebf-4e4c-9745-002b3134f155" providerId="ADAL" clId="{264470CE-6A8F-4666-AC28-6D0D67D89520}" dt="2018-12-04T18:27:45.228" v="1"/>
        <pc:sldMkLst>
          <pc:docMk/>
          <pc:sldMk cId="653294868" sldId="1860"/>
        </pc:sldMkLst>
        <pc:spChg chg="add">
          <ac:chgData name="Dan Gartner" userId="9e340812-aebf-4e4c-9745-002b3134f155" providerId="ADAL" clId="{264470CE-6A8F-4666-AC28-6D0D67D89520}" dt="2018-12-04T18:27:38.270" v="0"/>
          <ac:spMkLst>
            <pc:docMk/>
            <pc:sldMk cId="653294868" sldId="1860"/>
            <ac:spMk id="3" creationId="{DA3A6571-265C-4622-B7E7-2763AA4E9195}"/>
          </ac:spMkLst>
        </pc:spChg>
        <pc:picChg chg="add">
          <ac:chgData name="Dan Gartner" userId="9e340812-aebf-4e4c-9745-002b3134f155" providerId="ADAL" clId="{264470CE-6A8F-4666-AC28-6D0D67D89520}" dt="2018-12-04T18:27:45.228" v="1"/>
          <ac:picMkLst>
            <pc:docMk/>
            <pc:sldMk cId="653294868" sldId="1860"/>
            <ac:picMk id="4" creationId="{B86F27E3-D0CD-4D6A-B365-7ECABEE0472D}"/>
          </ac:picMkLst>
        </pc:picChg>
        <pc:picChg chg="add">
          <ac:chgData name="Dan Gartner" userId="9e340812-aebf-4e4c-9745-002b3134f155" providerId="ADAL" clId="{264470CE-6A8F-4666-AC28-6D0D67D89520}" dt="2018-12-04T18:27:45.228" v="1"/>
          <ac:picMkLst>
            <pc:docMk/>
            <pc:sldMk cId="653294868" sldId="1860"/>
            <ac:picMk id="5" creationId="{67783CE1-37BA-4347-BE39-196566A01DF6}"/>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8B8B8B"/>
              </a:solidFill>
            </a:ln>
          </c:spPr>
          <c:dPt>
            <c:idx val="0"/>
            <c:bubble3D val="0"/>
            <c:spPr>
              <a:solidFill>
                <a:srgbClr val="0078D4"/>
              </a:solidFill>
              <a:ln w="19050">
                <a:noFill/>
              </a:ln>
              <a:effectLst/>
            </c:spPr>
            <c:extLst>
              <c:ext xmlns:c16="http://schemas.microsoft.com/office/drawing/2014/chart" uri="{C3380CC4-5D6E-409C-BE32-E72D297353CC}">
                <c16:uniqueId val="{00000001-BAAA-492A-8EAE-2D8FC1C90CD8}"/>
              </c:ext>
            </c:extLst>
          </c:dPt>
          <c:dPt>
            <c:idx val="1"/>
            <c:bubble3D val="0"/>
            <c:spPr>
              <a:solidFill>
                <a:srgbClr val="EBEBEB"/>
              </a:solidFill>
              <a:ln w="19050">
                <a:noFill/>
              </a:ln>
              <a:effectLst/>
            </c:spPr>
            <c:extLst>
              <c:ext xmlns:c16="http://schemas.microsoft.com/office/drawing/2014/chart" uri="{C3380CC4-5D6E-409C-BE32-E72D297353CC}">
                <c16:uniqueId val="{00000003-BAAA-492A-8EAE-2D8FC1C90CD8}"/>
              </c:ext>
            </c:extLst>
          </c:dPt>
          <c:cat>
            <c:strRef>
              <c:f>Sheet1!$A$2:$A$3</c:f>
              <c:strCache>
                <c:ptCount val="2"/>
                <c:pt idx="0">
                  <c:v>1st Qtr</c:v>
                </c:pt>
                <c:pt idx="1">
                  <c:v>2nd Qtr</c:v>
                </c:pt>
              </c:strCache>
            </c:strRef>
          </c:cat>
          <c:val>
            <c:numRef>
              <c:f>Sheet1!$B$2:$B$3</c:f>
              <c:numCache>
                <c:formatCode>General</c:formatCode>
                <c:ptCount val="2"/>
                <c:pt idx="0">
                  <c:v>5</c:v>
                </c:pt>
                <c:pt idx="1">
                  <c:v>5</c:v>
                </c:pt>
              </c:numCache>
            </c:numRef>
          </c:val>
          <c:extLst>
            <c:ext xmlns:c16="http://schemas.microsoft.com/office/drawing/2014/chart" uri="{C3380CC4-5D6E-409C-BE32-E72D297353CC}">
              <c16:uniqueId val="{00000004-BAAA-492A-8EAE-2D8FC1C90CD8}"/>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078D4"/>
              </a:solidFill>
              <a:ln w="19050">
                <a:noFill/>
              </a:ln>
              <a:effectLst/>
            </c:spPr>
            <c:extLst>
              <c:ext xmlns:c16="http://schemas.microsoft.com/office/drawing/2014/chart" uri="{C3380CC4-5D6E-409C-BE32-E72D297353CC}">
                <c16:uniqueId val="{00000001-94BC-4F7E-913A-9D39184791B5}"/>
              </c:ext>
            </c:extLst>
          </c:dPt>
          <c:dPt>
            <c:idx val="1"/>
            <c:bubble3D val="0"/>
            <c:spPr>
              <a:solidFill>
                <a:srgbClr val="EBEBEB"/>
              </a:solidFill>
              <a:ln w="19050">
                <a:noFill/>
              </a:ln>
              <a:effectLst/>
            </c:spPr>
            <c:extLst>
              <c:ext xmlns:c16="http://schemas.microsoft.com/office/drawing/2014/chart" uri="{C3380CC4-5D6E-409C-BE32-E72D297353CC}">
                <c16:uniqueId val="{00000003-94BC-4F7E-913A-9D39184791B5}"/>
              </c:ext>
            </c:extLst>
          </c:dPt>
          <c:cat>
            <c:strRef>
              <c:f>Sheet1!$A$2:$A$3</c:f>
              <c:strCache>
                <c:ptCount val="2"/>
                <c:pt idx="0">
                  <c:v>1st Qtr</c:v>
                </c:pt>
                <c:pt idx="1">
                  <c:v>2nd Qtr</c:v>
                </c:pt>
              </c:strCache>
            </c:strRef>
          </c:cat>
          <c:val>
            <c:numRef>
              <c:f>Sheet1!$B$2:$B$3</c:f>
              <c:numCache>
                <c:formatCode>General</c:formatCode>
                <c:ptCount val="2"/>
                <c:pt idx="0">
                  <c:v>77</c:v>
                </c:pt>
                <c:pt idx="1">
                  <c:v>23</c:v>
                </c:pt>
              </c:numCache>
            </c:numRef>
          </c:val>
          <c:extLst>
            <c:ext xmlns:c16="http://schemas.microsoft.com/office/drawing/2014/chart" uri="{C3380CC4-5D6E-409C-BE32-E72D297353CC}">
              <c16:uniqueId val="{00000004-94BC-4F7E-913A-9D39184791B5}"/>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2A447E-1A68-42C7-8B5C-A80989F99D8D}" type="datetimeFigureOut">
              <a:rPr lang="en-US" smtClean="0"/>
              <a:t>12/4/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F54D4A6-3229-4F3B-96F5-7951DC14B2B9}" type="slidenum">
              <a:rPr lang="en-US" smtClean="0"/>
              <a:t>‹#›</a:t>
            </a:fld>
            <a:endParaRPr lang="en-US"/>
          </a:p>
        </p:txBody>
      </p:sp>
    </p:spTree>
    <p:extLst>
      <p:ext uri="{BB962C8B-B14F-4D97-AF65-F5344CB8AC3E}">
        <p14:creationId xmlns:p14="http://schemas.microsoft.com/office/powerpoint/2010/main" val="37454752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8 12:2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01651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01C979-EBB0-4A48-8369-32531B28B7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31623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8 12:2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5532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8 12:2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36678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8 12:2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2064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mo: Add container support to ASP.NET Core application  using Visual Studio 2017 o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docs.microsoft.com/en-us/azure/aks/tutorial-kubernetes-prepare-ap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AF54D4A6-3229-4F3B-96F5-7951DC14B2B9}" type="slidenum">
              <a:rPr lang="en-US" smtClean="0"/>
              <a:t>14</a:t>
            </a:fld>
            <a:endParaRPr lang="en-US"/>
          </a:p>
        </p:txBody>
      </p:sp>
    </p:spTree>
    <p:extLst>
      <p:ext uri="{BB962C8B-B14F-4D97-AF65-F5344CB8AC3E}">
        <p14:creationId xmlns:p14="http://schemas.microsoft.com/office/powerpoint/2010/main" val="35983788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fld id="{AF54D4A6-3229-4F3B-96F5-7951DC14B2B9}" type="slidenum">
              <a:rPr lang="en-US" smtClean="0"/>
              <a:t>15</a:t>
            </a:fld>
            <a:endParaRPr lang="en-US"/>
          </a:p>
        </p:txBody>
      </p:sp>
    </p:spTree>
    <p:extLst>
      <p:ext uri="{BB962C8B-B14F-4D97-AF65-F5344CB8AC3E}">
        <p14:creationId xmlns:p14="http://schemas.microsoft.com/office/powerpoint/2010/main" val="13211325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BA7F0260-00EA-5546-8E73-DDB0DE8C95E0}" type="slidenum">
              <a:rPr lang="en-US" smtClean="0"/>
              <a:t>16</a:t>
            </a:fld>
            <a:endParaRPr lang="en-US"/>
          </a:p>
        </p:txBody>
      </p:sp>
    </p:spTree>
    <p:extLst>
      <p:ext uri="{BB962C8B-B14F-4D97-AF65-F5344CB8AC3E}">
        <p14:creationId xmlns:p14="http://schemas.microsoft.com/office/powerpoint/2010/main" val="33200640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BA7F0260-00EA-5546-8E73-DDB0DE8C95E0}" type="slidenum">
              <a:rPr lang="en-US" smtClean="0"/>
              <a:t>17</a:t>
            </a:fld>
            <a:endParaRPr lang="en-US"/>
          </a:p>
        </p:txBody>
      </p:sp>
    </p:spTree>
    <p:extLst>
      <p:ext uri="{BB962C8B-B14F-4D97-AF65-F5344CB8AC3E}">
        <p14:creationId xmlns:p14="http://schemas.microsoft.com/office/powerpoint/2010/main" val="26148455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8</a:t>
            </a:fld>
            <a:endParaRPr lang="en-US"/>
          </a:p>
        </p:txBody>
      </p:sp>
      <p:sp>
        <p:nvSpPr>
          <p:cNvPr id="10" name="Date Placeholder 9"/>
          <p:cNvSpPr>
            <a:spLocks noGrp="1"/>
          </p:cNvSpPr>
          <p:nvPr>
            <p:ph type="dt" idx="13"/>
          </p:nvPr>
        </p:nvSpPr>
        <p:spPr/>
        <p:txBody>
          <a:bodyPr/>
          <a:lstStyle/>
          <a:p>
            <a:fld id="{5A70A388-5CB4-42F2-85B9-1AE1F63398FA}" type="datetime8">
              <a:rPr lang="en-US" smtClean="0"/>
              <a:t>12/4/2018 12:27 PM</a:t>
            </a:fld>
            <a:endParaRPr lang="en-US"/>
          </a:p>
        </p:txBody>
      </p:sp>
      <p:sp>
        <p:nvSpPr>
          <p:cNvPr id="12" name="Header Placeholder 11"/>
          <p:cNvSpPr>
            <a:spLocks noGrp="1"/>
          </p:cNvSpPr>
          <p:nvPr>
            <p:ph type="hdr" sz="quarter" idx="15"/>
          </p:nvPr>
        </p:nvSpPr>
        <p:spPr/>
        <p:txBody>
          <a:bodyPr/>
          <a:lstStyle/>
          <a:p>
            <a:endParaRPr lang="en-US"/>
          </a:p>
        </p:txBody>
      </p:sp>
      <p:sp>
        <p:nvSpPr>
          <p:cNvPr id="5" name="Footer Placeholder 4"/>
          <p:cNvSpPr>
            <a:spLocks noGrp="1"/>
          </p:cNvSpPr>
          <p:nvPr>
            <p:ph type="ftr" sz="quarter" idx="16"/>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8457838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2632384"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1645301" marR="0" lvl="0" indent="0" algn="l" defTabSz="2631614"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12/4/2018 12:27 PM</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19</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038398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8 12:2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10085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2632384"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1645301" marR="0" lvl="0" indent="0" algn="l" defTabSz="2631614"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12/4/2018 12:27 PM</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20</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957933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azure/container-instances/container-instances-quickstart</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29E9FC-B671-424D-AD31-3E8C5FC948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80260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2018 12:2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11667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emo ACI: https://docs.microsoft.com/en-us/azure/container-instances/container-instances-quickstart-portal</a:t>
            </a:r>
          </a:p>
        </p:txBody>
      </p:sp>
      <p:sp>
        <p:nvSpPr>
          <p:cNvPr id="4" name="Slide Number Placeholder 3"/>
          <p:cNvSpPr>
            <a:spLocks noGrp="1"/>
          </p:cNvSpPr>
          <p:nvPr>
            <p:ph type="sldNum" sz="quarter" idx="5"/>
          </p:nvPr>
        </p:nvSpPr>
        <p:spPr/>
        <p:txBody>
          <a:bodyPr/>
          <a:lstStyle/>
          <a:p>
            <a:fld id="{AF54D4A6-3229-4F3B-96F5-7951DC14B2B9}" type="slidenum">
              <a:rPr lang="en-US" smtClean="0"/>
              <a:t>23</a:t>
            </a:fld>
            <a:endParaRPr lang="en-US"/>
          </a:p>
        </p:txBody>
      </p:sp>
    </p:spTree>
    <p:extLst>
      <p:ext uri="{BB962C8B-B14F-4D97-AF65-F5344CB8AC3E}">
        <p14:creationId xmlns:p14="http://schemas.microsoft.com/office/powerpoint/2010/main" val="22611338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8 12:2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0813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8 12:2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282909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8 12:2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2781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8 12:2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2F8E7D80-9CDB-4356-9553-65CAF5F2DD2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494778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emo: https://docs.microsoft.com/en-us/azure/aks/kubernetes-walkthrough</a:t>
            </a:r>
          </a:p>
        </p:txBody>
      </p:sp>
      <p:sp>
        <p:nvSpPr>
          <p:cNvPr id="4" name="Slide Number Placeholder 3"/>
          <p:cNvSpPr>
            <a:spLocks noGrp="1"/>
          </p:cNvSpPr>
          <p:nvPr>
            <p:ph type="sldNum" sz="quarter" idx="5"/>
          </p:nvPr>
        </p:nvSpPr>
        <p:spPr/>
        <p:txBody>
          <a:bodyPr/>
          <a:lstStyle/>
          <a:p>
            <a:fld id="{AF54D4A6-3229-4F3B-96F5-7951DC14B2B9}" type="slidenum">
              <a:rPr lang="en-US" smtClean="0"/>
              <a:t>28</a:t>
            </a:fld>
            <a:endParaRPr lang="en-US"/>
          </a:p>
        </p:txBody>
      </p:sp>
    </p:spTree>
    <p:extLst>
      <p:ext uri="{BB962C8B-B14F-4D97-AF65-F5344CB8AC3E}">
        <p14:creationId xmlns:p14="http://schemas.microsoft.com/office/powerpoint/2010/main" val="11135417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12/4/2018 12:2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38149729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AF54D4A6-3229-4F3B-96F5-7951DC14B2B9}" type="slidenum">
              <a:rPr lang="en-US" smtClean="0"/>
              <a:t>3</a:t>
            </a:fld>
            <a:endParaRPr lang="en-US"/>
          </a:p>
        </p:txBody>
      </p:sp>
    </p:spTree>
    <p:extLst>
      <p:ext uri="{BB962C8B-B14F-4D97-AF65-F5344CB8AC3E}">
        <p14:creationId xmlns:p14="http://schemas.microsoft.com/office/powerpoint/2010/main" val="30400424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176"/>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12/4/2018 12:2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27752169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Arial" panose="020B0604020202020204" pitchFamily="34" charset="0"/>
              <a:buNone/>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12/4/2018 12:2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33690173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1200">
              <a:gradFill>
                <a:gsLst>
                  <a:gs pos="2917">
                    <a:schemeClr val="tx1"/>
                  </a:gs>
                  <a:gs pos="3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01C979-EBB0-4A48-8369-32531B28B7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84113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r>
              <a:rPr lang="en-US"/>
              <a:t>Microsoft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4/2018 12:2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30266134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2632384"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1645301" marR="0" lvl="0" indent="0" algn="l" defTabSz="2631614"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12/4/2018 12:27 PM</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4</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58224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2632384"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1645301" marR="0" lvl="0" indent="0" algn="l" defTabSz="2631614"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12/4/2018 12:27 PM</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5</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78877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8 12:2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25776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8 12:2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97229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8 12:2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61018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1200" b="0" i="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01C979-EBB0-4A48-8369-32531B28B7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2142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emf"/><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6.xml"/><Relationship Id="rId4" Type="http://schemas.openxmlformats.org/officeDocument/2006/relationships/image" Target="../media/image28.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6.xml"/><Relationship Id="rId4" Type="http://schemas.openxmlformats.org/officeDocument/2006/relationships/image" Target="../media/image28.png"/></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emf"/><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7.xml"/><Relationship Id="rId4" Type="http://schemas.openxmlformats.org/officeDocument/2006/relationships/image" Target="../media/image28.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7.xml"/><Relationship Id="rId4" Type="http://schemas.openxmlformats.org/officeDocument/2006/relationships/image" Target="../media/image28.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tiff"/><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tiff"/><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g"/><Relationship Id="rId1" Type="http://schemas.openxmlformats.org/officeDocument/2006/relationships/slideMaster" Target="../slideMasters/slideMaster8.xml"/><Relationship Id="rId4" Type="http://schemas.openxmlformats.org/officeDocument/2006/relationships/image" Target="../media/image38.jp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g"/><Relationship Id="rId1" Type="http://schemas.openxmlformats.org/officeDocument/2006/relationships/slideMaster" Target="../slideMasters/slideMaster8.xml"/><Relationship Id="rId4" Type="http://schemas.openxmlformats.org/officeDocument/2006/relationships/image" Target="../media/image38.jp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1.emf"/><Relationship Id="rId4" Type="http://schemas.openxmlformats.org/officeDocument/2006/relationships/oleObject" Target="../embeddings/oleObject1.bin"/></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42.jpe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emf"/><Relationship Id="rId1" Type="http://schemas.openxmlformats.org/officeDocument/2006/relationships/slideMaster" Target="../slideMasters/slideMaster12.xml"/><Relationship Id="rId4" Type="http://schemas.openxmlformats.org/officeDocument/2006/relationships/image" Target="../media/image45.svg"/></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emf"/><Relationship Id="rId1" Type="http://schemas.openxmlformats.org/officeDocument/2006/relationships/slideMaster" Target="../slideMasters/slideMaster14.xml"/><Relationship Id="rId5" Type="http://schemas.openxmlformats.org/officeDocument/2006/relationships/image" Target="../media/image51.png"/><Relationship Id="rId4" Type="http://schemas.openxmlformats.org/officeDocument/2006/relationships/image" Target="../media/image50.sv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14.xml"/><Relationship Id="rId4" Type="http://schemas.openxmlformats.org/officeDocument/2006/relationships/image" Target="../media/image2.emf"/></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14.xml"/><Relationship Id="rId4" Type="http://schemas.openxmlformats.org/officeDocument/2006/relationships/image" Target="../media/image46.png"/></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4.xml"/><Relationship Id="rId4" Type="http://schemas.openxmlformats.org/officeDocument/2006/relationships/image" Target="../media/image47.png"/></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emf"/><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B8114E-AE47-4C72-914B-163006005EE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1F5DEFD-267A-442F-BDFD-BC7B7A5DCCE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A72138D-F15A-4B06-BB6B-7A0286990069}"/>
              </a:ext>
            </a:extLst>
          </p:cNvPr>
          <p:cNvSpPr>
            <a:spLocks noGrp="1"/>
          </p:cNvSpPr>
          <p:nvPr>
            <p:ph type="dt" sz="half" idx="10"/>
          </p:nvPr>
        </p:nvSpPr>
        <p:spPr/>
        <p:txBody>
          <a:bodyPr/>
          <a:lstStyle/>
          <a:p>
            <a:fld id="{190AE570-F204-4AC2-A518-E4BFDCD8FCB4}" type="datetimeFigureOut">
              <a:rPr lang="en-US" smtClean="0"/>
              <a:t>12/4/2018</a:t>
            </a:fld>
            <a:endParaRPr lang="en-US"/>
          </a:p>
        </p:txBody>
      </p:sp>
      <p:sp>
        <p:nvSpPr>
          <p:cNvPr id="5" name="Footer Placeholder 4">
            <a:extLst>
              <a:ext uri="{FF2B5EF4-FFF2-40B4-BE49-F238E27FC236}">
                <a16:creationId xmlns:a16="http://schemas.microsoft.com/office/drawing/2014/main" id="{CB1E784F-4F7E-4C94-A094-9D8A033648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8B9D98-896C-4E29-BEE2-F6B66C390DB0}"/>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14785671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03C0C4-5125-487C-B282-6D0AAAD50ED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4A6073D-DA8A-4E86-801C-8924A2B5B270}"/>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74BDF8-229B-4B85-B62F-745006D91694}"/>
              </a:ext>
            </a:extLst>
          </p:cNvPr>
          <p:cNvSpPr>
            <a:spLocks noGrp="1"/>
          </p:cNvSpPr>
          <p:nvPr>
            <p:ph type="dt" sz="half" idx="10"/>
          </p:nvPr>
        </p:nvSpPr>
        <p:spPr/>
        <p:txBody>
          <a:bodyPr/>
          <a:lstStyle/>
          <a:p>
            <a:fld id="{190AE570-F204-4AC2-A518-E4BFDCD8FCB4}" type="datetimeFigureOut">
              <a:rPr lang="en-US" smtClean="0"/>
              <a:t>12/4/2018</a:t>
            </a:fld>
            <a:endParaRPr lang="en-US"/>
          </a:p>
        </p:txBody>
      </p:sp>
      <p:sp>
        <p:nvSpPr>
          <p:cNvPr id="5" name="Footer Placeholder 4">
            <a:extLst>
              <a:ext uri="{FF2B5EF4-FFF2-40B4-BE49-F238E27FC236}">
                <a16:creationId xmlns:a16="http://schemas.microsoft.com/office/drawing/2014/main" id="{9CEABE9E-22A5-4AC9-82F7-54EC26E20F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9348BC-ABBE-4B50-A4CC-73FE2BD3B754}"/>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45382353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642269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41023348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8869400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1576964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1033041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299890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281196857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570902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5258319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76731719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BDEAF7B-562E-4FFA-9DF7-21088B6782B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5565894-1FB8-4230-AD5F-74D56122EEE4}"/>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738DC8-C414-4BC8-9EAF-1C6DC9148708}"/>
              </a:ext>
            </a:extLst>
          </p:cNvPr>
          <p:cNvSpPr>
            <a:spLocks noGrp="1"/>
          </p:cNvSpPr>
          <p:nvPr>
            <p:ph type="dt" sz="half" idx="10"/>
          </p:nvPr>
        </p:nvSpPr>
        <p:spPr/>
        <p:txBody>
          <a:bodyPr/>
          <a:lstStyle/>
          <a:p>
            <a:fld id="{190AE570-F204-4AC2-A518-E4BFDCD8FCB4}" type="datetimeFigureOut">
              <a:rPr lang="en-US" smtClean="0"/>
              <a:t>12/4/2018</a:t>
            </a:fld>
            <a:endParaRPr lang="en-US"/>
          </a:p>
        </p:txBody>
      </p:sp>
      <p:sp>
        <p:nvSpPr>
          <p:cNvPr id="5" name="Footer Placeholder 4">
            <a:extLst>
              <a:ext uri="{FF2B5EF4-FFF2-40B4-BE49-F238E27FC236}">
                <a16:creationId xmlns:a16="http://schemas.microsoft.com/office/drawing/2014/main" id="{9FA7FA63-6016-456F-A8FE-92379297B19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C913AD-B7E5-4BDE-8878-C44DE1130393}"/>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20659703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449746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85573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759274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426825415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7670272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78804934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23200762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9077042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63865903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7841089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Walk-in">
    <p:bg>
      <p:bgRef idx="1001">
        <a:schemeClr val="bg2"/>
      </p:bgRef>
    </p:bg>
    <p:spTree>
      <p:nvGrpSpPr>
        <p:cNvPr id="1" name=""/>
        <p:cNvGrpSpPr/>
        <p:nvPr/>
      </p:nvGrpSpPr>
      <p:grpSpPr>
        <a:xfrm>
          <a:off x="0" y="0"/>
          <a:ext cx="0" cy="0"/>
          <a:chOff x="0" y="0"/>
          <a:chExt cx="0" cy="0"/>
        </a:xfrm>
      </p:grpSpPr>
      <p:pic>
        <p:nvPicPr>
          <p:cNvPr id="4" name="Picture 3" descr="A sky view looking up at the camera&#10;&#10;Description generated with high confidence">
            <a:extLst>
              <a:ext uri="{FF2B5EF4-FFF2-40B4-BE49-F238E27FC236}">
                <a16:creationId xmlns:a16="http://schemas.microsoft.com/office/drawing/2014/main" id="{DAA71D16-3EE8-43BC-ACB7-565FEC06C6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8"/>
            <a:ext cx="12192000" cy="6857323"/>
          </a:xfrm>
          <a:prstGeom prst="rect">
            <a:avLst/>
          </a:prstGeom>
        </p:spPr>
      </p:pic>
      <p:sp>
        <p:nvSpPr>
          <p:cNvPr id="54" name="Rectangle 53">
            <a:extLst>
              <a:ext uri="{FF2B5EF4-FFF2-40B4-BE49-F238E27FC236}">
                <a16:creationId xmlns:a16="http://schemas.microsoft.com/office/drawing/2014/main" id="{4899085C-4B16-41A5-A2CB-5D4798A0322E}"/>
              </a:ext>
            </a:extLst>
          </p:cNvPr>
          <p:cNvSpPr/>
          <p:nvPr userDrawn="1"/>
        </p:nvSpPr>
        <p:spPr bwMode="white">
          <a:xfrm>
            <a:off x="9160844" y="4476334"/>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spTree>
    <p:extLst>
      <p:ext uri="{BB962C8B-B14F-4D97-AF65-F5344CB8AC3E}">
        <p14:creationId xmlns:p14="http://schemas.microsoft.com/office/powerpoint/2010/main" val="27755942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425065380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355214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676189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6229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744633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a:t>Thank you</a:t>
            </a:r>
          </a:p>
        </p:txBody>
      </p:sp>
    </p:spTree>
    <p:extLst>
      <p:ext uri="{BB962C8B-B14F-4D97-AF65-F5344CB8AC3E}">
        <p14:creationId xmlns:p14="http://schemas.microsoft.com/office/powerpoint/2010/main" val="24434755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187971"/>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7082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spTree>
    <p:extLst>
      <p:ext uri="{BB962C8B-B14F-4D97-AF65-F5344CB8AC3E}">
        <p14:creationId xmlns:p14="http://schemas.microsoft.com/office/powerpoint/2010/main" val="18648008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02474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0" name="Rectangle 9"/>
          <p:cNvSpPr/>
          <p:nvPr userDrawn="1"/>
        </p:nvSpPr>
        <p:spPr bwMode="auto">
          <a:xfrm>
            <a:off x="2" y="479"/>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7" y="211595"/>
            <a:ext cx="1164345" cy="249711"/>
          </a:xfrm>
          <a:prstGeom prst="rect">
            <a:avLst/>
          </a:prstGeom>
        </p:spPr>
      </p:pic>
      <p:sp>
        <p:nvSpPr>
          <p:cNvPr id="20"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09678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539975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sp>
        <p:nvSpPr>
          <p:cNvPr id="2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566377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sp>
        <p:nvSpPr>
          <p:cNvPr id="9"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5562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a:t>Click to edit Master title style</a:t>
            </a:r>
          </a:p>
        </p:txBody>
      </p:sp>
      <p:sp>
        <p:nvSpPr>
          <p:cNvPr id="6" name="Text Placeholder 5"/>
          <p:cNvSpPr>
            <a:spLocks noGrp="1"/>
          </p:cNvSpPr>
          <p:nvPr>
            <p:ph type="body" sz="quarter" idx="10"/>
          </p:nvPr>
        </p:nvSpPr>
        <p:spPr>
          <a:xfrm>
            <a:off x="269241" y="2031818"/>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22006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a:t>Click to edit Master title style</a:t>
            </a:r>
          </a:p>
        </p:txBody>
      </p:sp>
      <p:sp>
        <p:nvSpPr>
          <p:cNvPr id="6" name="Text Placeholder 5"/>
          <p:cNvSpPr>
            <a:spLocks noGrp="1"/>
          </p:cNvSpPr>
          <p:nvPr>
            <p:ph type="body" sz="quarter" idx="10"/>
          </p:nvPr>
        </p:nvSpPr>
        <p:spPr>
          <a:xfrm>
            <a:off x="269241" y="2041061"/>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21485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ext uri="{BB962C8B-B14F-4D97-AF65-F5344CB8AC3E}">
        <p14:creationId xmlns:p14="http://schemas.microsoft.com/office/powerpoint/2010/main" val="15889250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ext uri="{BB962C8B-B14F-4D97-AF65-F5344CB8AC3E}">
        <p14:creationId xmlns:p14="http://schemas.microsoft.com/office/powerpoint/2010/main" val="16235246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6203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37588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8072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01021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a:stretch>
            <a:fillRect/>
          </a:stretch>
        </p:blipFill>
        <p:spPr bwMode="black">
          <a:xfrm>
            <a:off x="584200" y="2324780"/>
            <a:ext cx="3024372" cy="15270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a:srcRect r="30816" b="20558"/>
          <a:stretch/>
        </p:blipFill>
        <p:spPr bwMode="invGray">
          <a:xfrm>
            <a:off x="6780913" y="1482272"/>
            <a:ext cx="5411087" cy="5375728"/>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5–19, 2018</a:t>
            </a:r>
          </a:p>
          <a:p>
            <a:pPr algn="l"/>
            <a:r>
              <a:rPr lang="en-US" sz="200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217455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52284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6414907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a:solidFill>
                  <a:schemeClr val="bg1"/>
                </a:solidFill>
              </a:rPr>
              <a:t>Demo</a:t>
            </a:r>
          </a:p>
        </p:txBody>
      </p:sp>
    </p:spTree>
    <p:extLst>
      <p:ext uri="{BB962C8B-B14F-4D97-AF65-F5344CB8AC3E}">
        <p14:creationId xmlns:p14="http://schemas.microsoft.com/office/powerpoint/2010/main" val="40369043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1">
                <a:solidFill>
                  <a:schemeClr val="bg1"/>
                </a:solidFill>
                <a:latin typeface="+mj-lt"/>
              </a:defRPr>
            </a:lvl1pPr>
          </a:lstStyle>
          <a:p>
            <a:r>
              <a:rPr lang="en-US" sz="5881">
                <a:solidFill>
                  <a:schemeClr val="bg1"/>
                </a:solidFill>
              </a:rPr>
              <a:t>Demo</a:t>
            </a:r>
          </a:p>
        </p:txBody>
      </p:sp>
    </p:spTree>
    <p:extLst>
      <p:ext uri="{BB962C8B-B14F-4D97-AF65-F5344CB8AC3E}">
        <p14:creationId xmlns:p14="http://schemas.microsoft.com/office/powerpoint/2010/main" val="25631066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a:solidFill>
                  <a:schemeClr val="bg1"/>
                </a:solidFill>
              </a:rPr>
              <a:t>Demo</a:t>
            </a:r>
          </a:p>
        </p:txBody>
      </p:sp>
    </p:spTree>
    <p:extLst>
      <p:ext uri="{BB962C8B-B14F-4D97-AF65-F5344CB8AC3E}">
        <p14:creationId xmlns:p14="http://schemas.microsoft.com/office/powerpoint/2010/main" val="11140987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68046" y="1186357"/>
            <a:ext cx="10906502"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4168818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75397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solidFill>
                  <a:schemeClr val="bg1"/>
                </a:solidFill>
              </a:defRPr>
            </a:lvl1pPr>
          </a:lstStyle>
          <a:p>
            <a:r>
              <a:rPr lang="en-US"/>
              <a:t>Section title</a:t>
            </a:r>
          </a:p>
        </p:txBody>
      </p:sp>
    </p:spTree>
    <p:extLst>
      <p:ext uri="{BB962C8B-B14F-4D97-AF65-F5344CB8AC3E}">
        <p14:creationId xmlns:p14="http://schemas.microsoft.com/office/powerpoint/2010/main" val="26793449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6" y="1217195"/>
            <a:ext cx="5154444" cy="1973570"/>
          </a:xfrm>
        </p:spPr>
        <p:txBody>
          <a:bodyPr wrap="square">
            <a:spAutoFit/>
          </a:bodyPr>
          <a:lstStyle>
            <a:lvl1pPr>
              <a:defRPr sz="6469" baseline="0">
                <a:solidFill>
                  <a:schemeClr val="bg1"/>
                </a:solidFill>
              </a:defRPr>
            </a:lvl1pPr>
          </a:lstStyle>
          <a:p>
            <a:r>
              <a:rPr lang="en-US"/>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3943306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848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6" name="Picture 5" descr="A person standing in front of a computer&#10;&#10;Description generated with very high confidence">
            <a:extLst>
              <a:ext uri="{FF2B5EF4-FFF2-40B4-BE49-F238E27FC236}">
                <a16:creationId xmlns:a16="http://schemas.microsoft.com/office/drawing/2014/main" id="{2854E2B2-77E0-4EBA-9EC2-E4EDF88D26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1369" r="11869"/>
          <a:stretch/>
        </p:blipFill>
        <p:spPr>
          <a:xfrm>
            <a:off x="5333998" y="0"/>
            <a:ext cx="6858002" cy="6858000"/>
          </a:xfrm>
          <a:prstGeom prst="rect">
            <a:avLst/>
          </a:prstGeom>
        </p:spPr>
      </p:pic>
      <p:pic>
        <p:nvPicPr>
          <p:cNvPr id="7" name="Picture 6" descr="A close up of a sign&#10;&#10;Description generated with very high confidence">
            <a:extLst>
              <a:ext uri="{FF2B5EF4-FFF2-40B4-BE49-F238E27FC236}">
                <a16:creationId xmlns:a16="http://schemas.microsoft.com/office/drawing/2014/main" id="{C5121167-6841-41D5-B2AF-321B4492A821}"/>
              </a:ext>
            </a:extLst>
          </p:cNvPr>
          <p:cNvPicPr>
            <a:picLocks noChangeAspect="1"/>
          </p:cNvPicPr>
          <p:nvPr userDrawn="1"/>
        </p:nvPicPr>
        <p:blipFill>
          <a:blip r:embed="rId4"/>
          <a:stretch>
            <a:fillRect/>
          </a:stretch>
        </p:blipFill>
        <p:spPr>
          <a:xfrm>
            <a:off x="584200" y="2324780"/>
            <a:ext cx="3024373" cy="1527048"/>
          </a:xfrm>
          <a:prstGeom prst="rect">
            <a:avLst/>
          </a:prstGeom>
        </p:spPr>
      </p:pic>
      <p:sp>
        <p:nvSpPr>
          <p:cNvPr id="8" name="TextBox 7">
            <a:extLst>
              <a:ext uri="{FF2B5EF4-FFF2-40B4-BE49-F238E27FC236}">
                <a16:creationId xmlns:a16="http://schemas.microsoft.com/office/drawing/2014/main" id="{753EE10E-9C9E-4C8B-BA96-E2F3F9587B84}"/>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a:gradFill>
                  <a:gsLst>
                    <a:gs pos="90355">
                      <a:schemeClr val="accent2"/>
                    </a:gs>
                    <a:gs pos="68282">
                      <a:schemeClr val="accent2"/>
                    </a:gs>
                  </a:gsLst>
                  <a:lin ang="5400000" scaled="0"/>
                </a:gradFill>
              </a:rPr>
              <a:t>July 15–19, 2018</a:t>
            </a:r>
          </a:p>
          <a:p>
            <a:pPr algn="l"/>
            <a:r>
              <a:rPr lang="en-US" sz="2000">
                <a:gradFill>
                  <a:gsLst>
                    <a:gs pos="90355">
                      <a:schemeClr val="accent2"/>
                    </a:gs>
                    <a:gs pos="68282">
                      <a:schemeClr val="accent2"/>
                    </a:gs>
                  </a:gsLst>
                  <a:lin ang="5400000" scaled="0"/>
                </a:gradFill>
              </a:rPr>
              <a:t>Las Vegas, NV</a:t>
            </a:r>
          </a:p>
        </p:txBody>
      </p:sp>
    </p:spTree>
    <p:extLst>
      <p:ext uri="{BB962C8B-B14F-4D97-AF65-F5344CB8AC3E}">
        <p14:creationId xmlns:p14="http://schemas.microsoft.com/office/powerpoint/2010/main" val="11550411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3693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4718188"/>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9"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spTree>
    <p:extLst>
      <p:ext uri="{BB962C8B-B14F-4D97-AF65-F5344CB8AC3E}">
        <p14:creationId xmlns:p14="http://schemas.microsoft.com/office/powerpoint/2010/main" val="144292143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5"/>
            <a:ext cx="4482512" cy="959394"/>
          </a:xfrm>
          <a:prstGeom prst="rect">
            <a:avLst/>
          </a:prstGeom>
        </p:spPr>
      </p:pic>
    </p:spTree>
    <p:extLst>
      <p:ext uri="{BB962C8B-B14F-4D97-AF65-F5344CB8AC3E}">
        <p14:creationId xmlns:p14="http://schemas.microsoft.com/office/powerpoint/2010/main" val="135425933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11067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06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5257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3480038047"/>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1"/>
            <a:ext cx="1344637" cy="287755"/>
          </a:xfrm>
          <a:prstGeom prst="rect">
            <a:avLst/>
          </a:prstGeom>
        </p:spPr>
      </p:pic>
    </p:spTree>
    <p:extLst>
      <p:ext uri="{BB962C8B-B14F-4D97-AF65-F5344CB8AC3E}">
        <p14:creationId xmlns:p14="http://schemas.microsoft.com/office/powerpoint/2010/main" val="3535885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Rectangle 7"/>
          <p:cNvSpPr/>
          <p:nvPr userDrawn="1"/>
        </p:nvSpPr>
        <p:spPr bwMode="auto">
          <a:xfrm>
            <a:off x="1"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64281"/>
            <a:ext cx="1025270" cy="224138"/>
          </a:xfrm>
          <a:prstGeom prst="rect">
            <a:avLst/>
          </a:prstGeom>
          <a:noFill/>
          <a:ln>
            <a:noFill/>
          </a:ln>
        </p:spPr>
      </p:pic>
      <p:sp>
        <p:nvSpPr>
          <p:cNvPr id="13"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27006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45424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0" name="Rectangle 9"/>
          <p:cNvSpPr/>
          <p:nvPr userDrawn="1"/>
        </p:nvSpPr>
        <p:spPr bwMode="auto">
          <a:xfrm>
            <a:off x="1" y="478"/>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6" y="211594"/>
            <a:ext cx="1164345" cy="249711"/>
          </a:xfrm>
          <a:prstGeom prst="rect">
            <a:avLst/>
          </a:prstGeom>
        </p:spPr>
      </p:pic>
      <p:sp>
        <p:nvSpPr>
          <p:cNvPr id="20"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22918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1"/>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7"/>
            <a:ext cx="9172873" cy="6857523"/>
          </a:xfrm>
          <a:prstGeom prst="rect">
            <a:avLst/>
          </a:prstGeom>
        </p:spPr>
      </p:pic>
      <p:sp>
        <p:nvSpPr>
          <p:cNvPr id="23"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413702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1"/>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7"/>
            <a:ext cx="9172873" cy="6857523"/>
          </a:xfrm>
          <a:prstGeom prst="rect">
            <a:avLst/>
          </a:prstGeom>
        </p:spPr>
      </p:pic>
      <p:sp>
        <p:nvSpPr>
          <p:cNvPr id="9"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12708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899665"/>
          </a:xfrm>
        </p:spPr>
        <p:txBody>
          <a:bodyPr/>
          <a:lstStyle/>
          <a:p>
            <a:r>
              <a:rPr lang="en-US"/>
              <a:t>Click to edit Master title style</a:t>
            </a:r>
          </a:p>
        </p:txBody>
      </p:sp>
      <p:sp>
        <p:nvSpPr>
          <p:cNvPr id="6" name="Text Placeholder 5"/>
          <p:cNvSpPr>
            <a:spLocks noGrp="1"/>
          </p:cNvSpPr>
          <p:nvPr>
            <p:ph type="body" sz="quarter" idx="10"/>
          </p:nvPr>
        </p:nvSpPr>
        <p:spPr>
          <a:xfrm>
            <a:off x="269240" y="2031817"/>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84646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899665"/>
          </a:xfrm>
        </p:spPr>
        <p:txBody>
          <a:bodyPr/>
          <a:lstStyle/>
          <a:p>
            <a:r>
              <a:rPr lang="en-US"/>
              <a:t>Click to edit Master title style</a:t>
            </a:r>
          </a:p>
        </p:txBody>
      </p:sp>
      <p:sp>
        <p:nvSpPr>
          <p:cNvPr id="6" name="Text Placeholder 5"/>
          <p:cNvSpPr>
            <a:spLocks noGrp="1"/>
          </p:cNvSpPr>
          <p:nvPr>
            <p:ph type="body" sz="quarter" idx="10"/>
          </p:nvPr>
        </p:nvSpPr>
        <p:spPr>
          <a:xfrm>
            <a:off x="269240" y="2041060"/>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12670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2040141"/>
            <a:ext cx="5826760" cy="2052030"/>
          </a:xfrm>
        </p:spPr>
        <p:txBody>
          <a:bodyPr wrap="square">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1"/>
            <a:ext cx="5826759" cy="899665"/>
          </a:xfrm>
        </p:spPr>
        <p:txBody>
          <a:bodyPr/>
          <a:lstStyle/>
          <a:p>
            <a:r>
              <a:rPr lang="en-US"/>
              <a:t>Click to edit Master title style</a:t>
            </a:r>
          </a:p>
        </p:txBody>
      </p:sp>
    </p:spTree>
    <p:extLst>
      <p:ext uri="{BB962C8B-B14F-4D97-AF65-F5344CB8AC3E}">
        <p14:creationId xmlns:p14="http://schemas.microsoft.com/office/powerpoint/2010/main" val="33065344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2040141"/>
            <a:ext cx="5826760" cy="2052030"/>
          </a:xfrm>
        </p:spPr>
        <p:txBody>
          <a:bodyPr wrap="square">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1"/>
            <a:ext cx="5826759" cy="899665"/>
          </a:xfrm>
        </p:spPr>
        <p:txBody>
          <a:bodyPr/>
          <a:lstStyle/>
          <a:p>
            <a:r>
              <a:rPr lang="en-US"/>
              <a:t>Click to edit Master title style</a:t>
            </a:r>
          </a:p>
        </p:txBody>
      </p:sp>
    </p:spTree>
    <p:extLst>
      <p:ext uri="{BB962C8B-B14F-4D97-AF65-F5344CB8AC3E}">
        <p14:creationId xmlns:p14="http://schemas.microsoft.com/office/powerpoint/2010/main" val="11887485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92671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5617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25556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696993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39435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27703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953213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79"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0" y="3877588"/>
            <a:ext cx="9179003" cy="651821"/>
          </a:xfrm>
          <a:prstGeom prst="rect">
            <a:avLst/>
          </a:prstGeom>
          <a:noFill/>
        </p:spPr>
        <p:txBody>
          <a:bodyPr wrap="square" lIns="146304" tIns="109728" rIns="146304" bIns="109728">
            <a:spAutoFit/>
          </a:bodyPr>
          <a:lstStyle>
            <a:lvl1pPr marL="0" indent="0">
              <a:spcBef>
                <a:spcPts val="0"/>
              </a:spcBef>
              <a:buNone/>
              <a:defRPr sz="3137"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8">
                <a:solidFill>
                  <a:schemeClr val="bg1"/>
                </a:solidFill>
                <a:latin typeface="+mj-lt"/>
              </a:defRPr>
            </a:lvl1pPr>
          </a:lstStyle>
          <a:p>
            <a:r>
              <a:rPr lang="en-US" sz="5882">
                <a:solidFill>
                  <a:schemeClr val="bg1"/>
                </a:solidFill>
              </a:rPr>
              <a:t>Demo</a:t>
            </a:r>
          </a:p>
        </p:txBody>
      </p:sp>
    </p:spTree>
    <p:extLst>
      <p:ext uri="{BB962C8B-B14F-4D97-AF65-F5344CB8AC3E}">
        <p14:creationId xmlns:p14="http://schemas.microsoft.com/office/powerpoint/2010/main" val="2549605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79"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0" y="3877588"/>
            <a:ext cx="9179003" cy="651821"/>
          </a:xfrm>
          <a:prstGeom prst="rect">
            <a:avLst/>
          </a:prstGeom>
          <a:noFill/>
        </p:spPr>
        <p:txBody>
          <a:bodyPr wrap="square" lIns="146304" tIns="109728" rIns="146304" bIns="109728">
            <a:spAutoFit/>
          </a:bodyPr>
          <a:lstStyle>
            <a:lvl1pPr marL="0" indent="0">
              <a:spcBef>
                <a:spcPts val="0"/>
              </a:spcBef>
              <a:buNone/>
              <a:defRPr sz="3137"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2">
                <a:solidFill>
                  <a:schemeClr val="bg1"/>
                </a:solidFill>
                <a:latin typeface="+mj-lt"/>
              </a:defRPr>
            </a:lvl1pPr>
          </a:lstStyle>
          <a:p>
            <a:r>
              <a:rPr lang="en-US" sz="5882">
                <a:solidFill>
                  <a:schemeClr val="bg1"/>
                </a:solidFill>
              </a:rPr>
              <a:t>Demo</a:t>
            </a:r>
          </a:p>
        </p:txBody>
      </p:sp>
    </p:spTree>
    <p:extLst>
      <p:ext uri="{BB962C8B-B14F-4D97-AF65-F5344CB8AC3E}">
        <p14:creationId xmlns:p14="http://schemas.microsoft.com/office/powerpoint/2010/main" val="4257345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79"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0" y="3877588"/>
            <a:ext cx="9179003" cy="651821"/>
          </a:xfrm>
          <a:prstGeom prst="rect">
            <a:avLst/>
          </a:prstGeom>
          <a:noFill/>
        </p:spPr>
        <p:txBody>
          <a:bodyPr wrap="square" lIns="146304" tIns="109728" rIns="146304" bIns="109728">
            <a:spAutoFit/>
          </a:bodyPr>
          <a:lstStyle>
            <a:lvl1pPr marL="0" indent="0">
              <a:spcBef>
                <a:spcPts val="0"/>
              </a:spcBef>
              <a:buNone/>
              <a:defRPr sz="3137"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8">
                <a:solidFill>
                  <a:schemeClr val="bg1"/>
                </a:solidFill>
                <a:latin typeface="+mj-lt"/>
              </a:defRPr>
            </a:lvl1pPr>
          </a:lstStyle>
          <a:p>
            <a:r>
              <a:rPr lang="en-US" sz="5882">
                <a:solidFill>
                  <a:schemeClr val="bg1"/>
                </a:solidFill>
              </a:rPr>
              <a:t>Demo</a:t>
            </a:r>
          </a:p>
        </p:txBody>
      </p:sp>
    </p:spTree>
    <p:extLst>
      <p:ext uri="{BB962C8B-B14F-4D97-AF65-F5344CB8AC3E}">
        <p14:creationId xmlns:p14="http://schemas.microsoft.com/office/powerpoint/2010/main" val="29474164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sp>
        <p:nvSpPr>
          <p:cNvPr id="2" name="Title 1"/>
          <p:cNvSpPr>
            <a:spLocks noGrp="1"/>
          </p:cNvSpPr>
          <p:nvPr>
            <p:ph type="title" hasCustomPrompt="1"/>
          </p:nvPr>
        </p:nvSpPr>
        <p:spPr>
          <a:xfrm>
            <a:off x="568046" y="1186356"/>
            <a:ext cx="10906502"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578979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sp>
        <p:nvSpPr>
          <p:cNvPr id="2" name="Title 1"/>
          <p:cNvSpPr>
            <a:spLocks noGrp="1"/>
          </p:cNvSpPr>
          <p:nvPr>
            <p:ph type="title" hasCustomPrompt="1"/>
          </p:nvPr>
        </p:nvSpPr>
        <p:spPr>
          <a:xfrm>
            <a:off x="532189" y="2084172"/>
            <a:ext cx="5563811"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1954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89" y="2084172"/>
            <a:ext cx="5563811" cy="1158793"/>
          </a:xfrm>
          <a:noFill/>
        </p:spPr>
        <p:txBody>
          <a:bodyPr wrap="square" tIns="91440" bIns="91440" anchor="t" anchorCtr="0">
            <a:spAutoFit/>
          </a:bodyPr>
          <a:lstStyle>
            <a:lvl1pPr>
              <a:defRPr sz="7058" spc="-98" baseline="0">
                <a:solidFill>
                  <a:schemeClr val="bg1"/>
                </a:solidFill>
              </a:defRPr>
            </a:lvl1pPr>
          </a:lstStyle>
          <a:p>
            <a:r>
              <a:rPr lang="en-US"/>
              <a:t>Section title</a:t>
            </a:r>
          </a:p>
        </p:txBody>
      </p:sp>
    </p:spTree>
    <p:extLst>
      <p:ext uri="{BB962C8B-B14F-4D97-AF65-F5344CB8AC3E}">
        <p14:creationId xmlns:p14="http://schemas.microsoft.com/office/powerpoint/2010/main" val="1176959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5" y="1217195"/>
            <a:ext cx="5154444" cy="1973570"/>
          </a:xfrm>
        </p:spPr>
        <p:txBody>
          <a:bodyPr wrap="square">
            <a:spAutoFit/>
          </a:bodyPr>
          <a:lstStyle>
            <a:lvl1pPr>
              <a:defRPr sz="6470" baseline="0">
                <a:solidFill>
                  <a:schemeClr val="bg1"/>
                </a:solidFill>
              </a:defRPr>
            </a:lvl1pPr>
          </a:lstStyle>
          <a:p>
            <a:r>
              <a:rPr lang="en-US"/>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972731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6717317"/>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83847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24757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388865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9"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282259" y="6011681"/>
            <a:ext cx="1344637" cy="287755"/>
          </a:xfrm>
          <a:prstGeom prst="rect">
            <a:avLst/>
          </a:prstGeom>
        </p:spPr>
      </p:pic>
    </p:spTree>
    <p:extLst>
      <p:ext uri="{BB962C8B-B14F-4D97-AF65-F5344CB8AC3E}">
        <p14:creationId xmlns:p14="http://schemas.microsoft.com/office/powerpoint/2010/main" val="26890783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4"/>
            <a:ext cx="4482512" cy="959394"/>
          </a:xfrm>
          <a:prstGeom prst="rect">
            <a:avLst/>
          </a:prstGeom>
        </p:spPr>
      </p:pic>
    </p:spTree>
    <p:extLst>
      <p:ext uri="{BB962C8B-B14F-4D97-AF65-F5344CB8AC3E}">
        <p14:creationId xmlns:p14="http://schemas.microsoft.com/office/powerpoint/2010/main" val="235054602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87731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30366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7354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363493264"/>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02714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421147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2336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60714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05422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0687578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3294368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16916219"/>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59440571"/>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86241810"/>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05568745"/>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9386621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2C670-C0F4-4F9A-B752-EDF7FC57F7E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A1E861-9E10-40C9-B99B-2B92C19B728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3B0E6F-87ED-483C-A5A0-7EF7223BABDB}"/>
              </a:ext>
            </a:extLst>
          </p:cNvPr>
          <p:cNvSpPr>
            <a:spLocks noGrp="1"/>
          </p:cNvSpPr>
          <p:nvPr>
            <p:ph type="dt" sz="half" idx="10"/>
          </p:nvPr>
        </p:nvSpPr>
        <p:spPr/>
        <p:txBody>
          <a:bodyPr/>
          <a:lstStyle/>
          <a:p>
            <a:fld id="{190AE570-F204-4AC2-A518-E4BFDCD8FCB4}" type="datetimeFigureOut">
              <a:rPr lang="en-US" smtClean="0"/>
              <a:t>12/4/2018</a:t>
            </a:fld>
            <a:endParaRPr lang="en-US"/>
          </a:p>
        </p:txBody>
      </p:sp>
      <p:sp>
        <p:nvSpPr>
          <p:cNvPr id="5" name="Footer Placeholder 4">
            <a:extLst>
              <a:ext uri="{FF2B5EF4-FFF2-40B4-BE49-F238E27FC236}">
                <a16:creationId xmlns:a16="http://schemas.microsoft.com/office/drawing/2014/main" id="{FD74166E-F727-4E84-8204-0872E95E45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1B1394-6B49-478F-BECA-46220BF0E174}"/>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6810789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6376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4939098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590525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42553209"/>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6098001"/>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65697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35202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2072153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8" y="6431031"/>
            <a:ext cx="11326085" cy="95058"/>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553991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03796755"/>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970971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74929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799163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5189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4_Title/sub-title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3"/>
                </a:solidFill>
                <a:latin typeface="+mj-lt"/>
              </a:defRPr>
            </a:lvl1pPr>
          </a:lstStyle>
          <a:p>
            <a:pPr lvl="0"/>
            <a:r>
              <a:rPr lang="en-US"/>
              <a:t>Title</a:t>
            </a:r>
          </a:p>
        </p:txBody>
      </p:sp>
      <p:sp>
        <p:nvSpPr>
          <p:cNvPr id="4" name="Rectangle 3"/>
          <p:cNvSpPr/>
          <p:nvPr userDrawn="1"/>
        </p:nvSpPr>
        <p:spPr>
          <a:xfrm>
            <a:off x="350415" y="6461012"/>
            <a:ext cx="2642070" cy="246221"/>
          </a:xfrm>
          <a:prstGeom prst="rect">
            <a:avLst/>
          </a:prstGeom>
        </p:spPr>
        <p:txBody>
          <a:bodyPr wrap="none">
            <a:spAutoFit/>
          </a:bodyPr>
          <a:lstStyle/>
          <a:p>
            <a:r>
              <a:rPr lang="en-US" sz="1000">
                <a:solidFill>
                  <a:schemeClr val="tx1"/>
                </a:solidFill>
                <a:effectLst/>
                <a:latin typeface="Segoe UI" panose="020B0502040204020203" pitchFamily="34" charset="0"/>
                <a:ea typeface="PMingLiU" panose="02020500000000000000" pitchFamily="18" charset="-120"/>
                <a:cs typeface="Segoe UI" panose="020B0502040204020203" pitchFamily="34" charset="0"/>
              </a:rPr>
              <a:t>Microsoft Confidential for Internal use only </a:t>
            </a:r>
            <a:endParaRPr lang="en-US" sz="100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422358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92" anchor="t" anchorCtr="0">
            <a:normAutofit/>
          </a:bodyPr>
          <a:lstStyle>
            <a:lvl1pPr>
              <a:defRPr sz="6598">
                <a:solidFill>
                  <a:schemeClr val="bg1"/>
                </a:solidFill>
              </a:defRPr>
            </a:lvl1pPr>
          </a:lstStyle>
          <a:p>
            <a:r>
              <a:rPr lang="en-US"/>
              <a:t>Click to edit Master title style</a:t>
            </a:r>
          </a:p>
        </p:txBody>
      </p:sp>
      <p:sp>
        <p:nvSpPr>
          <p:cNvPr id="3" name="Rectangle 2"/>
          <p:cNvSpPr/>
          <p:nvPr userDrawn="1"/>
        </p:nvSpPr>
        <p:spPr>
          <a:xfrm>
            <a:off x="350415" y="6461012"/>
            <a:ext cx="2642070" cy="246221"/>
          </a:xfrm>
          <a:prstGeom prst="rect">
            <a:avLst/>
          </a:prstGeom>
        </p:spPr>
        <p:txBody>
          <a:bodyPr wrap="none">
            <a:spAutoFit/>
          </a:bodyPr>
          <a:lstStyle/>
          <a:p>
            <a:r>
              <a:rPr lang="en-US" sz="1000">
                <a:solidFill>
                  <a:schemeClr val="bg1"/>
                </a:solidFill>
                <a:effectLst/>
                <a:latin typeface="Segoe UI" panose="020B0502040204020203" pitchFamily="34" charset="0"/>
                <a:ea typeface="PMingLiU" panose="02020500000000000000" pitchFamily="18" charset="-120"/>
                <a:cs typeface="Segoe UI" panose="020B0502040204020203" pitchFamily="34" charset="0"/>
              </a:rPr>
              <a:t>Microsoft Confidential for Internal use only </a:t>
            </a:r>
            <a:endParaRPr lang="en-US" sz="100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7146267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3_Title/sub-title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513007"/>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
        <p:nvSpPr>
          <p:cNvPr id="4" name="Rectangle 3"/>
          <p:cNvSpPr/>
          <p:nvPr userDrawn="1"/>
        </p:nvSpPr>
        <p:spPr>
          <a:xfrm>
            <a:off x="350415" y="6461012"/>
            <a:ext cx="2642070" cy="246221"/>
          </a:xfrm>
          <a:prstGeom prst="rect">
            <a:avLst/>
          </a:prstGeom>
        </p:spPr>
        <p:txBody>
          <a:bodyPr wrap="none">
            <a:spAutoFit/>
          </a:bodyPr>
          <a:lstStyle/>
          <a:p>
            <a:r>
              <a:rPr lang="en-US" sz="1000">
                <a:solidFill>
                  <a:schemeClr val="tx1"/>
                </a:solidFill>
                <a:effectLst/>
                <a:latin typeface="Segoe UI" panose="020B0502040204020203" pitchFamily="34" charset="0"/>
                <a:ea typeface="PMingLiU" panose="02020500000000000000" pitchFamily="18" charset="-120"/>
                <a:cs typeface="Segoe UI" panose="020B0502040204020203" pitchFamily="34" charset="0"/>
              </a:rPr>
              <a:t>Microsoft Confidential for Internal use only </a:t>
            </a:r>
            <a:endParaRPr lang="en-US" sz="100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1146064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73029386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E69CF-11C4-402F-B86A-8E9A3BDCF7A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7E9E67C-0605-4AA0-BCD4-3BE99DC58FD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3">
            <a:extLst>
              <a:ext uri="{FF2B5EF4-FFF2-40B4-BE49-F238E27FC236}">
                <a16:creationId xmlns:a16="http://schemas.microsoft.com/office/drawing/2014/main" id="{CF852983-78D6-400C-864F-4BF40AE31D5D}"/>
              </a:ext>
            </a:extLst>
          </p:cNvPr>
          <p:cNvSpPr>
            <a:spLocks noGrp="1"/>
          </p:cNvSpPr>
          <p:nvPr>
            <p:ph type="sldNum" sz="quarter" idx="10"/>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135770654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261090795"/>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439812442"/>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16135094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36863646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31663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9179781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316751"/>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8680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03610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244527991"/>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22E318-1D6A-41C5-88F9-9D592993910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4" y="0"/>
            <a:ext cx="12190271" cy="6858000"/>
          </a:xfrm>
          <a:prstGeom prst="rect">
            <a:avLst/>
          </a:prstGeom>
        </p:spPr>
      </p:pic>
      <p:sp>
        <p:nvSpPr>
          <p:cNvPr id="10" name="Rectangle 9">
            <a:extLst>
              <a:ext uri="{FF2B5EF4-FFF2-40B4-BE49-F238E27FC236}">
                <a16:creationId xmlns:a16="http://schemas.microsoft.com/office/drawing/2014/main" id="{D697BBFD-C67F-4E7F-88C5-14C147865AAC}"/>
              </a:ext>
            </a:extLst>
          </p:cNvPr>
          <p:cNvSpPr/>
          <p:nvPr userDrawn="1"/>
        </p:nvSpPr>
        <p:spPr bwMode="auto">
          <a:xfrm>
            <a:off x="0" y="2980725"/>
            <a:ext cx="12191377" cy="3877275"/>
          </a:xfrm>
          <a:prstGeom prst="rect">
            <a:avLst/>
          </a:prstGeom>
          <a:gradFill>
            <a:gsLst>
              <a:gs pos="100000">
                <a:srgbClr val="000000">
                  <a:alpha val="50000"/>
                </a:srgbClr>
              </a:gs>
              <a:gs pos="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
        <p:nvSpPr>
          <p:cNvPr id="8" name="TextBox 7">
            <a:extLst>
              <a:ext uri="{FF2B5EF4-FFF2-40B4-BE49-F238E27FC236}">
                <a16:creationId xmlns:a16="http://schemas.microsoft.com/office/drawing/2014/main" id="{BEAE7D11-E447-4983-9448-755AB4ECBAE6}"/>
              </a:ext>
            </a:extLst>
          </p:cNvPr>
          <p:cNvSpPr txBox="1"/>
          <p:nvPr userDrawn="1"/>
        </p:nvSpPr>
        <p:spPr>
          <a:xfrm>
            <a:off x="269239" y="4511768"/>
            <a:ext cx="11147140" cy="1158613"/>
          </a:xfrm>
          <a:prstGeom prst="rect">
            <a:avLst/>
          </a:prstGeom>
          <a:noFill/>
        </p:spPr>
        <p:txBody>
          <a:bodyPr wrap="none" lIns="179285" tIns="143428" rIns="179285" bIns="143428" rtlCol="0" anchor="b">
            <a:spAutoFit/>
          </a:bodyPr>
          <a:lstStyle/>
          <a:p>
            <a:pPr>
              <a:lnSpc>
                <a:spcPct val="90000"/>
              </a:lnSpc>
              <a:spcAft>
                <a:spcPts val="588"/>
              </a:spcAft>
            </a:pPr>
            <a:r>
              <a:rPr lang="en-US" sz="6274">
                <a:gradFill>
                  <a:gsLst>
                    <a:gs pos="2917">
                      <a:schemeClr val="tx1"/>
                    </a:gs>
                    <a:gs pos="30000">
                      <a:schemeClr val="tx1"/>
                    </a:gs>
                  </a:gsLst>
                  <a:lin ang="5400000" scaled="0"/>
                </a:gradFill>
              </a:rPr>
              <a:t>Government Cloud Forum 2017</a:t>
            </a:r>
          </a:p>
        </p:txBody>
      </p:sp>
      <p:sp>
        <p:nvSpPr>
          <p:cNvPr id="11" name="TextBox 10">
            <a:extLst>
              <a:ext uri="{FF2B5EF4-FFF2-40B4-BE49-F238E27FC236}">
                <a16:creationId xmlns:a16="http://schemas.microsoft.com/office/drawing/2014/main" id="{F5DC2E83-4A6C-47D6-9622-B7E5BE792ACE}"/>
              </a:ext>
            </a:extLst>
          </p:cNvPr>
          <p:cNvSpPr txBox="1"/>
          <p:nvPr userDrawn="1"/>
        </p:nvSpPr>
        <p:spPr>
          <a:xfrm>
            <a:off x="269239" y="5463187"/>
            <a:ext cx="9432503" cy="832691"/>
          </a:xfrm>
          <a:prstGeom prst="rect">
            <a:avLst/>
          </a:prstGeom>
          <a:noFill/>
        </p:spPr>
        <p:txBody>
          <a:bodyPr wrap="none" lIns="179285" tIns="143428" rIns="179285" bIns="143428" rtlCol="0" anchor="b">
            <a:spAutoFit/>
          </a:bodyPr>
          <a:lstStyle/>
          <a:p>
            <a:pPr>
              <a:lnSpc>
                <a:spcPct val="90000"/>
              </a:lnSpc>
              <a:spcAft>
                <a:spcPts val="588"/>
              </a:spcAft>
            </a:pPr>
            <a:r>
              <a:rPr lang="en-US" sz="3921">
                <a:gradFill>
                  <a:gsLst>
                    <a:gs pos="2917">
                      <a:schemeClr val="tx1"/>
                    </a:gs>
                    <a:gs pos="30000">
                      <a:schemeClr val="tx1"/>
                    </a:gs>
                  </a:gsLst>
                  <a:lin ang="5400000" scaled="0"/>
                </a:gradFill>
              </a:rPr>
              <a:t>Washington D.C. ⅼ Ronald Reagan Building</a:t>
            </a:r>
          </a:p>
        </p:txBody>
      </p:sp>
    </p:spTree>
    <p:extLst>
      <p:ext uri="{BB962C8B-B14F-4D97-AF65-F5344CB8AC3E}">
        <p14:creationId xmlns:p14="http://schemas.microsoft.com/office/powerpoint/2010/main" val="3541106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07587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332883"/>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37041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3328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899798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350941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56123476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69026228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004244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845658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8319091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1669248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66993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0073494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78710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70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83690776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7236419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5022150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731136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0576765"/>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0577388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51692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192304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86699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457103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845375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8839362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64731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502136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1348368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96813291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7322604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024231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053287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133227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103319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956869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9816468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706572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2310148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91579584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95218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1"/>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5"/>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1"/>
            <a:ext cx="8964185" cy="1178282"/>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5354151"/>
            <a:ext cx="8964186" cy="959071"/>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6"/>
            <a:ext cx="1993362" cy="701889"/>
          </a:xfrm>
          <a:prstGeom prst="rect">
            <a:avLst/>
          </a:prstGeom>
        </p:spPr>
      </p:pic>
    </p:spTree>
    <p:extLst>
      <p:ext uri="{BB962C8B-B14F-4D97-AF65-F5344CB8AC3E}">
        <p14:creationId xmlns:p14="http://schemas.microsoft.com/office/powerpoint/2010/main" val="3800292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8505873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38074810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19234757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813762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826611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0466496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a:t>Click to edit Master text styles</a:t>
            </a:r>
          </a:p>
        </p:txBody>
      </p:sp>
    </p:spTree>
    <p:extLst>
      <p:ext uri="{BB962C8B-B14F-4D97-AF65-F5344CB8AC3E}">
        <p14:creationId xmlns:p14="http://schemas.microsoft.com/office/powerpoint/2010/main" val="3444456006"/>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68861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62057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33352096"/>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8656596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290353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3738525"/>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410850395"/>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044306915"/>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a:t>Click to edit Master text styles</a:t>
            </a:r>
          </a:p>
        </p:txBody>
      </p:sp>
    </p:spTree>
    <p:extLst>
      <p:ext uri="{BB962C8B-B14F-4D97-AF65-F5344CB8AC3E}">
        <p14:creationId xmlns:p14="http://schemas.microsoft.com/office/powerpoint/2010/main" val="347140881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a:srcRect r="30816" b="20558"/>
          <a:stretch/>
        </p:blipFill>
        <p:spPr bwMode="invGray">
          <a:xfrm>
            <a:off x="6780913" y="1482272"/>
            <a:ext cx="5411087" cy="5375728"/>
          </a:xfrm>
          <a:prstGeom prst="rect">
            <a:avLst/>
          </a:prstGeom>
        </p:spPr>
      </p:pic>
    </p:spTree>
    <p:extLst>
      <p:ext uri="{BB962C8B-B14F-4D97-AF65-F5344CB8AC3E}">
        <p14:creationId xmlns:p14="http://schemas.microsoft.com/office/powerpoint/2010/main" val="2140521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883527471"/>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123535463"/>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31682055"/>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46802179"/>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3968672653"/>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3529833"/>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644528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531194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251663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a:t>Thank you</a:t>
            </a:r>
          </a:p>
        </p:txBody>
      </p:sp>
    </p:spTree>
    <p:extLst>
      <p:ext uri="{BB962C8B-B14F-4D97-AF65-F5344CB8AC3E}">
        <p14:creationId xmlns:p14="http://schemas.microsoft.com/office/powerpoint/2010/main" val="59987229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00EAE04F-5FBA-4D17-AC35-7ED56AD71D27}"/>
              </a:ext>
            </a:extLst>
          </p:cNvPr>
          <p:cNvPicPr>
            <a:picLocks noChangeAspect="1"/>
          </p:cNvPicPr>
          <p:nvPr userDrawn="1"/>
        </p:nvPicPr>
        <p:blipFill rotWithShape="1">
          <a:blip r:embed="rId2"/>
          <a:srcRect r="30816" b="20558"/>
          <a:stretch/>
        </p:blipFill>
        <p:spPr bwMode="invGray">
          <a:xfrm>
            <a:off x="6780913" y="1482272"/>
            <a:ext cx="5411087" cy="5375728"/>
          </a:xfrm>
          <a:prstGeom prst="rect">
            <a:avLst/>
          </a:prstGeom>
        </p:spPr>
      </p:pic>
    </p:spTree>
    <p:extLst>
      <p:ext uri="{BB962C8B-B14F-4D97-AF65-F5344CB8AC3E}">
        <p14:creationId xmlns:p14="http://schemas.microsoft.com/office/powerpoint/2010/main" val="3722372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1848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727464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2" y="585790"/>
            <a:ext cx="1366245" cy="292608"/>
          </a:xfrm>
          <a:prstGeom prst="rect">
            <a:avLst/>
          </a:prstGeom>
        </p:spPr>
      </p:pic>
      <p:sp>
        <p:nvSpPr>
          <p:cNvPr id="9" name="Title 1"/>
          <p:cNvSpPr>
            <a:spLocks noGrp="1"/>
          </p:cNvSpPr>
          <p:nvPr>
            <p:ph type="title" hasCustomPrompt="1"/>
          </p:nvPr>
        </p:nvSpPr>
        <p:spPr>
          <a:xfrm>
            <a:off x="584200" y="3035102"/>
            <a:ext cx="6675120" cy="498674"/>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2"/>
            <a:ext cx="667512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810979"/>
            <a:ext cx="3017520" cy="458060"/>
          </a:xfrm>
        </p:spPr>
        <p:txBody>
          <a:bodyPr anchor="b"/>
          <a:lstStyle>
            <a:lvl1pPr marL="0" indent="0" algn="r">
              <a:buFont typeface="Arial" panose="020B0604020202020204" pitchFamily="34" charset="0"/>
              <a:buNone/>
              <a:defRPr sz="2000">
                <a:latin typeface="+mn-lt"/>
              </a:defRPr>
            </a:lvl1pPr>
            <a:lvl2pPr marL="228512" indent="0">
              <a:buNone/>
              <a:defRPr/>
            </a:lvl2pPr>
          </a:lstStyle>
          <a:p>
            <a:pPr lvl="0"/>
            <a:r>
              <a:rPr lang="en-US"/>
              <a:t>Session code here</a:t>
            </a:r>
          </a:p>
        </p:txBody>
      </p:sp>
    </p:spTree>
    <p:extLst>
      <p:ext uri="{BB962C8B-B14F-4D97-AF65-F5344CB8AC3E}">
        <p14:creationId xmlns:p14="http://schemas.microsoft.com/office/powerpoint/2010/main" val="1256533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19" y="1816159"/>
            <a:ext cx="3474481" cy="4149241"/>
          </a:xfrm>
          <a:prstGeom prst="rect">
            <a:avLst/>
          </a:prstGeom>
        </p:spPr>
      </p:pic>
    </p:spTree>
    <p:extLst>
      <p:ext uri="{BB962C8B-B14F-4D97-AF65-F5344CB8AC3E}">
        <p14:creationId xmlns:p14="http://schemas.microsoft.com/office/powerpoint/2010/main" val="3548319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3647729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439756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7552486"/>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873828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568698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696568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292858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A945D-5628-42E2-ADAA-FD4A29E89AE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A0725F4-B0E0-4E56-A849-982807267E6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F5717360-0A27-46DC-BBEC-8A57C09EE69F}"/>
              </a:ext>
            </a:extLst>
          </p:cNvPr>
          <p:cNvSpPr>
            <a:spLocks noGrp="1"/>
          </p:cNvSpPr>
          <p:nvPr>
            <p:ph type="dt" sz="half" idx="10"/>
          </p:nvPr>
        </p:nvSpPr>
        <p:spPr/>
        <p:txBody>
          <a:bodyPr/>
          <a:lstStyle/>
          <a:p>
            <a:fld id="{190AE570-F204-4AC2-A518-E4BFDCD8FCB4}" type="datetimeFigureOut">
              <a:rPr lang="en-US" smtClean="0"/>
              <a:t>12/4/2018</a:t>
            </a:fld>
            <a:endParaRPr lang="en-US"/>
          </a:p>
        </p:txBody>
      </p:sp>
      <p:sp>
        <p:nvSpPr>
          <p:cNvPr id="5" name="Footer Placeholder 4">
            <a:extLst>
              <a:ext uri="{FF2B5EF4-FFF2-40B4-BE49-F238E27FC236}">
                <a16:creationId xmlns:a16="http://schemas.microsoft.com/office/drawing/2014/main" id="{736484D3-75F3-4FBC-AAAC-D7CA564B09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70C3F7-3AA2-4965-BA6A-19B3A4E8C2D6}"/>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42647471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3651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5783623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772147207"/>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99171390"/>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86748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889017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43491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446718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422769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48955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7226345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29600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183691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086748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109468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493717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306608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3057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8–20, 2018</a:t>
            </a:r>
          </a:p>
          <a:p>
            <a:pPr algn="l"/>
            <a:r>
              <a:rPr lang="en-US" sz="200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37018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a:gradFill>
                  <a:gsLst>
                    <a:gs pos="82234">
                      <a:schemeClr val="accent2"/>
                    </a:gs>
                    <a:gs pos="68282">
                      <a:schemeClr val="accent2"/>
                    </a:gs>
                  </a:gsLst>
                  <a:lin ang="5400000" scaled="0"/>
                </a:gradFill>
              </a:rPr>
              <a:t>July 18–20, 2018</a:t>
            </a:r>
          </a:p>
          <a:p>
            <a:pPr algn="l"/>
            <a:r>
              <a:rPr lang="en-US" sz="200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15542206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9FF3B-1B75-42F4-947A-4789D940119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35B628-6904-4B79-A795-FB4B7AC0DDF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F3D70C-4C05-4ECA-96A4-71A51317889B}"/>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A2DA31D-DE3A-4993-92AA-FD312A75EB4B}"/>
              </a:ext>
            </a:extLst>
          </p:cNvPr>
          <p:cNvSpPr>
            <a:spLocks noGrp="1"/>
          </p:cNvSpPr>
          <p:nvPr>
            <p:ph type="dt" sz="half" idx="10"/>
          </p:nvPr>
        </p:nvSpPr>
        <p:spPr/>
        <p:txBody>
          <a:bodyPr/>
          <a:lstStyle/>
          <a:p>
            <a:fld id="{190AE570-F204-4AC2-A518-E4BFDCD8FCB4}" type="datetimeFigureOut">
              <a:rPr lang="en-US" smtClean="0"/>
              <a:t>12/4/2018</a:t>
            </a:fld>
            <a:endParaRPr lang="en-US"/>
          </a:p>
        </p:txBody>
      </p:sp>
      <p:sp>
        <p:nvSpPr>
          <p:cNvPr id="6" name="Footer Placeholder 5">
            <a:extLst>
              <a:ext uri="{FF2B5EF4-FFF2-40B4-BE49-F238E27FC236}">
                <a16:creationId xmlns:a16="http://schemas.microsoft.com/office/drawing/2014/main" id="{054D2019-A477-4DFF-ADE5-EECDC84141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66B8E2-016E-4679-921E-4691E194D16E}"/>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22237189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190621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295496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96094873"/>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0403737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73332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092335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209841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249180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09334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2687539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CE404C-224B-41D5-ABFC-A91D8948D07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8CAC324-215E-44F8-B856-AFA359D81B6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A167724-25FA-4E44-BB68-0187A36BE26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40A1B00-0A09-4F70-A425-0E2F1A9E5E5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D6DB459-AA68-4B85-B89F-A936805DA1D4}"/>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964AA61-0FE8-4338-817E-1AB060E587D0}"/>
              </a:ext>
            </a:extLst>
          </p:cNvPr>
          <p:cNvSpPr>
            <a:spLocks noGrp="1"/>
          </p:cNvSpPr>
          <p:nvPr>
            <p:ph type="dt" sz="half" idx="10"/>
          </p:nvPr>
        </p:nvSpPr>
        <p:spPr/>
        <p:txBody>
          <a:bodyPr/>
          <a:lstStyle/>
          <a:p>
            <a:fld id="{190AE570-F204-4AC2-A518-E4BFDCD8FCB4}" type="datetimeFigureOut">
              <a:rPr lang="en-US" smtClean="0"/>
              <a:t>12/4/2018</a:t>
            </a:fld>
            <a:endParaRPr lang="en-US"/>
          </a:p>
        </p:txBody>
      </p:sp>
      <p:sp>
        <p:nvSpPr>
          <p:cNvPr id="8" name="Footer Placeholder 7">
            <a:extLst>
              <a:ext uri="{FF2B5EF4-FFF2-40B4-BE49-F238E27FC236}">
                <a16:creationId xmlns:a16="http://schemas.microsoft.com/office/drawing/2014/main" id="{311A66A1-8FF7-4EFE-95F9-B8530E4C259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AB1E660-D0C5-4FBB-8576-C6644542D1C1}"/>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34112920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29548646"/>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811971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844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3551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441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35538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5714009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1209838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420306118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588739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9B57C-6E0D-4D7B-9BE9-5BCFDB5CC13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88D856E-219F-49B6-886B-99DE503A8F87}"/>
              </a:ext>
            </a:extLst>
          </p:cNvPr>
          <p:cNvSpPr>
            <a:spLocks noGrp="1"/>
          </p:cNvSpPr>
          <p:nvPr>
            <p:ph type="dt" sz="half" idx="10"/>
          </p:nvPr>
        </p:nvSpPr>
        <p:spPr/>
        <p:txBody>
          <a:bodyPr/>
          <a:lstStyle/>
          <a:p>
            <a:fld id="{190AE570-F204-4AC2-A518-E4BFDCD8FCB4}" type="datetimeFigureOut">
              <a:rPr lang="en-US" smtClean="0"/>
              <a:t>12/4/2018</a:t>
            </a:fld>
            <a:endParaRPr lang="en-US"/>
          </a:p>
        </p:txBody>
      </p:sp>
      <p:sp>
        <p:nvSpPr>
          <p:cNvPr id="4" name="Footer Placeholder 3">
            <a:extLst>
              <a:ext uri="{FF2B5EF4-FFF2-40B4-BE49-F238E27FC236}">
                <a16:creationId xmlns:a16="http://schemas.microsoft.com/office/drawing/2014/main" id="{9ABF343E-EE8A-484F-A7AA-4C661267414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BF0EB3-D6B4-480B-A3AD-145CE4F23CA6}"/>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33462517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467485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2637811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44435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62836751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0D1540-C2A7-43C4-9672-150412631D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D7902B-BE90-4904-8B58-37A8BEB643F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843CBA-1F08-411C-B1C5-B243B2E31365}"/>
              </a:ext>
            </a:extLst>
          </p:cNvPr>
          <p:cNvSpPr>
            <a:spLocks noGrp="1"/>
          </p:cNvSpPr>
          <p:nvPr>
            <p:ph type="dt" sz="half" idx="10"/>
          </p:nvPr>
        </p:nvSpPr>
        <p:spPr/>
        <p:txBody>
          <a:bodyPr/>
          <a:lstStyle/>
          <a:p>
            <a:fld id="{2D96A1F4-C2A0-42A8-B7AF-B2D35ED0D831}" type="datetimeFigureOut">
              <a:rPr lang="en-US" smtClean="0"/>
              <a:t>12/4/2018</a:t>
            </a:fld>
            <a:endParaRPr lang="en-US"/>
          </a:p>
        </p:txBody>
      </p:sp>
      <p:sp>
        <p:nvSpPr>
          <p:cNvPr id="5" name="Footer Placeholder 4">
            <a:extLst>
              <a:ext uri="{FF2B5EF4-FFF2-40B4-BE49-F238E27FC236}">
                <a16:creationId xmlns:a16="http://schemas.microsoft.com/office/drawing/2014/main" id="{5AFB4C99-D958-4D96-9AFC-A9B7DBC9C0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6F8E60-87B5-4140-94A5-914A526D4BCF}"/>
              </a:ext>
            </a:extLst>
          </p:cNvPr>
          <p:cNvSpPr>
            <a:spLocks noGrp="1"/>
          </p:cNvSpPr>
          <p:nvPr>
            <p:ph type="sldNum" sz="quarter" idx="12"/>
          </p:nvPr>
        </p:nvSpPr>
        <p:spPr/>
        <p:txBody>
          <a:bodyPr/>
          <a:lstStyle/>
          <a:p>
            <a:fld id="{C96E3C93-C8A3-4EAF-B4FE-6F655B48117C}" type="slidenum">
              <a:rPr lang="en-US" smtClean="0"/>
              <a:t>‹#›</a:t>
            </a:fld>
            <a:endParaRPr lang="en-US"/>
          </a:p>
        </p:txBody>
      </p:sp>
    </p:spTree>
    <p:extLst>
      <p:ext uri="{BB962C8B-B14F-4D97-AF65-F5344CB8AC3E}">
        <p14:creationId xmlns:p14="http://schemas.microsoft.com/office/powerpoint/2010/main" val="12778080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Content">
    <p:spTree>
      <p:nvGrpSpPr>
        <p:cNvPr id="1" name="Shape 432"/>
        <p:cNvGrpSpPr/>
        <p:nvPr/>
      </p:nvGrpSpPr>
      <p:grpSpPr>
        <a:xfrm>
          <a:off x="0" y="0"/>
          <a:ext cx="0" cy="0"/>
          <a:chOff x="0" y="0"/>
          <a:chExt cx="0" cy="0"/>
        </a:xfrm>
      </p:grpSpPr>
      <p:sp>
        <p:nvSpPr>
          <p:cNvPr id="433" name="Shape 433"/>
          <p:cNvSpPr txBox="1">
            <a:spLocks noGrp="1"/>
          </p:cNvSpPr>
          <p:nvPr>
            <p:ph type="title"/>
          </p:nvPr>
        </p:nvSpPr>
        <p:spPr>
          <a:xfrm>
            <a:off x="405965" y="215495"/>
            <a:ext cx="11337175" cy="640080"/>
          </a:xfrm>
          <a:prstGeom prst="rect">
            <a:avLst/>
          </a:prstGeom>
          <a:noFill/>
          <a:ln>
            <a:noFill/>
          </a:ln>
        </p:spPr>
        <p:txBody>
          <a:bodyPr wrap="square" lIns="91425" tIns="91425" rIns="91425" bIns="91425" anchor="ctr" anchorCtr="0"/>
          <a:lstStyle>
            <a:lvl1pPr marL="0" marR="0" lvl="0" indent="0" algn="l" rtl="0">
              <a:lnSpc>
                <a:spcPct val="90000"/>
              </a:lnSpc>
              <a:spcBef>
                <a:spcPts val="0"/>
              </a:spcBef>
              <a:buClr>
                <a:srgbClr val="757070"/>
              </a:buClr>
              <a:buSzPct val="100000"/>
              <a:buFont typeface="Quattrocento Sans"/>
              <a:buNone/>
              <a:defRPr sz="3235" b="1" i="0" u="none" strike="noStrike" cap="none">
                <a:solidFill>
                  <a:srgbClr val="757070"/>
                </a:solidFill>
                <a:latin typeface="Quattrocento Sans"/>
                <a:ea typeface="Quattrocento Sans"/>
                <a:cs typeface="Quattrocento Sans"/>
                <a:sym typeface="Quattrocento Sans"/>
              </a:defRPr>
            </a:lvl1pPr>
            <a:lvl2pPr lvl="1" indent="0">
              <a:spcBef>
                <a:spcPts val="0"/>
              </a:spcBef>
              <a:buSzPct val="77777"/>
              <a:buNone/>
              <a:defRPr sz="1765"/>
            </a:lvl2pPr>
            <a:lvl3pPr lvl="2" indent="0">
              <a:spcBef>
                <a:spcPts val="0"/>
              </a:spcBef>
              <a:buSzPct val="77777"/>
              <a:buNone/>
              <a:defRPr sz="1765"/>
            </a:lvl3pPr>
            <a:lvl4pPr lvl="3" indent="0">
              <a:spcBef>
                <a:spcPts val="0"/>
              </a:spcBef>
              <a:buSzPct val="77777"/>
              <a:buNone/>
              <a:defRPr sz="1765"/>
            </a:lvl4pPr>
            <a:lvl5pPr lvl="4" indent="0">
              <a:spcBef>
                <a:spcPts val="0"/>
              </a:spcBef>
              <a:buSzPct val="77777"/>
              <a:buNone/>
              <a:defRPr sz="1765"/>
            </a:lvl5pPr>
            <a:lvl6pPr lvl="5" indent="0">
              <a:spcBef>
                <a:spcPts val="0"/>
              </a:spcBef>
              <a:buSzPct val="77777"/>
              <a:buNone/>
              <a:defRPr sz="1765"/>
            </a:lvl6pPr>
            <a:lvl7pPr lvl="6" indent="0">
              <a:spcBef>
                <a:spcPts val="0"/>
              </a:spcBef>
              <a:buSzPct val="77777"/>
              <a:buNone/>
              <a:defRPr sz="1765"/>
            </a:lvl7pPr>
            <a:lvl8pPr lvl="7" indent="0">
              <a:spcBef>
                <a:spcPts val="0"/>
              </a:spcBef>
              <a:buSzPct val="77777"/>
              <a:buNone/>
              <a:defRPr sz="1765"/>
            </a:lvl8pPr>
            <a:lvl9pPr lvl="8" indent="0">
              <a:spcBef>
                <a:spcPts val="0"/>
              </a:spcBef>
              <a:buSzPct val="77777"/>
              <a:buNone/>
              <a:defRPr sz="1765"/>
            </a:lvl9pPr>
          </a:lstStyle>
          <a:p>
            <a:endParaRPr/>
          </a:p>
        </p:txBody>
      </p:sp>
      <p:sp>
        <p:nvSpPr>
          <p:cNvPr id="434" name="Shape 434"/>
          <p:cNvSpPr txBox="1">
            <a:spLocks noGrp="1"/>
          </p:cNvSpPr>
          <p:nvPr>
            <p:ph type="body" idx="1"/>
          </p:nvPr>
        </p:nvSpPr>
        <p:spPr>
          <a:xfrm>
            <a:off x="405937" y="1046631"/>
            <a:ext cx="11274552" cy="5239512"/>
          </a:xfrm>
          <a:prstGeom prst="rect">
            <a:avLst/>
          </a:prstGeom>
          <a:noFill/>
          <a:ln>
            <a:noFill/>
          </a:ln>
        </p:spPr>
        <p:txBody>
          <a:bodyPr wrap="square" lIns="91425" tIns="91425" rIns="91425" bIns="91425" anchor="t" anchorCtr="0"/>
          <a:lstStyle>
            <a:lvl1pPr marL="227992" marR="0" lvl="0" indent="-47470" algn="l" rtl="0">
              <a:lnSpc>
                <a:spcPct val="90000"/>
              </a:lnSpc>
              <a:spcBef>
                <a:spcPts val="1000"/>
              </a:spcBef>
              <a:buClr>
                <a:srgbClr val="3A3838"/>
              </a:buClr>
              <a:buSzPct val="100000"/>
              <a:buFont typeface="Arial"/>
              <a:buChar char="•"/>
              <a:defRPr sz="2843" b="0" i="0" u="none" strike="noStrike" cap="none">
                <a:solidFill>
                  <a:srgbClr val="3A3838"/>
                </a:solidFill>
                <a:latin typeface="Quattrocento Sans"/>
                <a:ea typeface="Quattrocento Sans"/>
                <a:cs typeface="Quattrocento Sans"/>
                <a:sym typeface="Quattrocento Sans"/>
              </a:defRPr>
            </a:lvl1pPr>
            <a:lvl2pPr marL="683979" marR="0" lvl="1" indent="-86387" algn="l" rtl="0">
              <a:lnSpc>
                <a:spcPct val="90000"/>
              </a:lnSpc>
              <a:spcBef>
                <a:spcPts val="500"/>
              </a:spcBef>
              <a:buClr>
                <a:srgbClr val="3A3838"/>
              </a:buClr>
              <a:buSzPct val="100000"/>
              <a:buFont typeface="Arial"/>
              <a:buChar char="•"/>
              <a:defRPr sz="2353" b="0" i="0" u="none" strike="noStrike" cap="none">
                <a:solidFill>
                  <a:srgbClr val="3A3838"/>
                </a:solidFill>
                <a:latin typeface="Quattrocento Sans"/>
                <a:ea typeface="Quattrocento Sans"/>
                <a:cs typeface="Quattrocento Sans"/>
                <a:sym typeface="Quattrocento Sans"/>
              </a:defRPr>
            </a:lvl2pPr>
            <a:lvl3pPr marL="1139973" marR="0" lvl="2" indent="-106639" algn="l" rtl="0">
              <a:lnSpc>
                <a:spcPct val="90000"/>
              </a:lnSpc>
              <a:spcBef>
                <a:spcPts val="500"/>
              </a:spcBef>
              <a:buClr>
                <a:srgbClr val="3A3838"/>
              </a:buClr>
              <a:buSzPct val="100000"/>
              <a:buFont typeface="Arial"/>
              <a:buChar char="•"/>
              <a:defRPr sz="1961" b="0" i="0" u="none" strike="noStrike" cap="none">
                <a:solidFill>
                  <a:srgbClr val="3A3838"/>
                </a:solidFill>
                <a:latin typeface="Quattrocento Sans"/>
                <a:ea typeface="Quattrocento Sans"/>
                <a:cs typeface="Quattrocento Sans"/>
                <a:sym typeface="Quattrocento Sans"/>
              </a:defRPr>
            </a:lvl3pPr>
            <a:lvl4pPr marL="1595964" marR="0" lvl="3" indent="-120661" algn="l" rtl="0">
              <a:lnSpc>
                <a:spcPct val="90000"/>
              </a:lnSpc>
              <a:spcBef>
                <a:spcPts val="500"/>
              </a:spcBef>
              <a:buClr>
                <a:srgbClr val="3A3838"/>
              </a:buClr>
              <a:buSzPct val="100000"/>
              <a:buFont typeface="Arial"/>
              <a:buChar char="•"/>
              <a:defRPr sz="1863" b="0" i="0" u="none" strike="noStrike" cap="none">
                <a:solidFill>
                  <a:srgbClr val="3A3838"/>
                </a:solidFill>
                <a:latin typeface="Quattrocento Sans"/>
                <a:ea typeface="Quattrocento Sans"/>
                <a:cs typeface="Quattrocento Sans"/>
                <a:sym typeface="Quattrocento Sans"/>
              </a:defRPr>
            </a:lvl4pPr>
            <a:lvl5pPr marL="2051951" marR="0" lvl="4" indent="-116005" algn="l" rtl="0">
              <a:lnSpc>
                <a:spcPct val="90000"/>
              </a:lnSpc>
              <a:spcBef>
                <a:spcPts val="500"/>
              </a:spcBef>
              <a:buClr>
                <a:srgbClr val="3A3838"/>
              </a:buClr>
              <a:buSzPct val="100000"/>
              <a:buFont typeface="Arial"/>
              <a:buChar char="•"/>
              <a:defRPr sz="1863" b="0" i="0" u="none" strike="noStrike" cap="none">
                <a:solidFill>
                  <a:srgbClr val="3A3838"/>
                </a:solidFill>
                <a:latin typeface="Quattrocento Sans"/>
                <a:ea typeface="Quattrocento Sans"/>
                <a:cs typeface="Quattrocento Sans"/>
                <a:sym typeface="Quattrocento Sans"/>
              </a:defRPr>
            </a:lvl5pPr>
            <a:lvl6pPr marL="2507934" marR="0" lvl="5" indent="-111344" algn="l" rtl="0">
              <a:lnSpc>
                <a:spcPct val="90000"/>
              </a:lnSpc>
              <a:spcBef>
                <a:spcPts val="500"/>
              </a:spcBef>
              <a:buClr>
                <a:schemeClr val="dk1"/>
              </a:buClr>
              <a:buSzPct val="100000"/>
              <a:buFont typeface="Arial"/>
              <a:buChar char="•"/>
              <a:defRPr sz="1863" b="0" i="0" u="none" strike="noStrike" cap="none">
                <a:solidFill>
                  <a:schemeClr val="dk1"/>
                </a:solidFill>
                <a:latin typeface="Calibri"/>
                <a:ea typeface="Calibri"/>
                <a:cs typeface="Calibri"/>
                <a:sym typeface="Calibri"/>
              </a:defRPr>
            </a:lvl6pPr>
            <a:lvl7pPr marL="2963920" marR="0" lvl="6" indent="-119139" algn="l" rtl="0">
              <a:lnSpc>
                <a:spcPct val="90000"/>
              </a:lnSpc>
              <a:spcBef>
                <a:spcPts val="500"/>
              </a:spcBef>
              <a:buClr>
                <a:schemeClr val="dk1"/>
              </a:buClr>
              <a:buSzPct val="100000"/>
              <a:buFont typeface="Arial"/>
              <a:buChar char="•"/>
              <a:defRPr sz="1863" b="0" i="0" u="none" strike="noStrike" cap="none">
                <a:solidFill>
                  <a:schemeClr val="dk1"/>
                </a:solidFill>
                <a:latin typeface="Calibri"/>
                <a:ea typeface="Calibri"/>
                <a:cs typeface="Calibri"/>
                <a:sym typeface="Calibri"/>
              </a:defRPr>
            </a:lvl7pPr>
            <a:lvl8pPr marL="3419911" marR="0" lvl="7" indent="-114486" algn="l" rtl="0">
              <a:lnSpc>
                <a:spcPct val="90000"/>
              </a:lnSpc>
              <a:spcBef>
                <a:spcPts val="500"/>
              </a:spcBef>
              <a:buClr>
                <a:schemeClr val="dk1"/>
              </a:buClr>
              <a:buSzPct val="100000"/>
              <a:buFont typeface="Arial"/>
              <a:buChar char="•"/>
              <a:defRPr sz="1863" b="0" i="0" u="none" strike="noStrike" cap="none">
                <a:solidFill>
                  <a:schemeClr val="dk1"/>
                </a:solidFill>
                <a:latin typeface="Calibri"/>
                <a:ea typeface="Calibri"/>
                <a:cs typeface="Calibri"/>
                <a:sym typeface="Calibri"/>
              </a:defRPr>
            </a:lvl8pPr>
            <a:lvl9pPr marL="3875899" marR="0" lvl="8" indent="-109831" algn="l" rtl="0">
              <a:lnSpc>
                <a:spcPct val="90000"/>
              </a:lnSpc>
              <a:spcBef>
                <a:spcPts val="500"/>
              </a:spcBef>
              <a:buClr>
                <a:schemeClr val="dk1"/>
              </a:buClr>
              <a:buSzPct val="100000"/>
              <a:buFont typeface="Arial"/>
              <a:buChar char="•"/>
              <a:defRPr sz="1863"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97927122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9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 (Optional)</a:t>
            </a:r>
          </a:p>
        </p:txBody>
      </p:sp>
      <p:sp>
        <p:nvSpPr>
          <p:cNvPr id="17" name="Text Placeholder 7"/>
          <p:cNvSpPr>
            <a:spLocks noGrp="1"/>
          </p:cNvSpPr>
          <p:nvPr>
            <p:ph type="body" sz="quarter" idx="11" hasCustomPrompt="1"/>
          </p:nvPr>
        </p:nvSpPr>
        <p:spPr>
          <a:xfrm>
            <a:off x="0" y="1243013"/>
            <a:ext cx="12192000" cy="1655829"/>
          </a:xfrm>
        </p:spPr>
        <p:txBody>
          <a:bodyPr lIns="393192" rIns="182880" bIns="91440">
            <a:normAutofit/>
          </a:bodyPr>
          <a:lstStyle>
            <a:lvl1pPr marL="0" indent="0">
              <a:buNone/>
              <a:defRPr sz="2000">
                <a:solidFill>
                  <a:schemeClr val="tx1"/>
                </a:solidFill>
                <a:latin typeface="+mj-lt"/>
              </a:defRPr>
            </a:lvl1pPr>
            <a:lvl2pPr marL="457200" indent="0">
              <a:buNone/>
              <a:defRPr/>
            </a:lvl2pPr>
          </a:lstStyle>
          <a:p>
            <a:pPr lvl="0"/>
            <a:r>
              <a:rPr lang="en-US"/>
              <a:t>Body text</a:t>
            </a:r>
          </a:p>
        </p:txBody>
      </p:sp>
      <p:sp>
        <p:nvSpPr>
          <p:cNvPr id="4" name="Table Placeholder 3"/>
          <p:cNvSpPr>
            <a:spLocks noGrp="1"/>
          </p:cNvSpPr>
          <p:nvPr>
            <p:ph type="tbl" sz="quarter" idx="12"/>
          </p:nvPr>
        </p:nvSpPr>
        <p:spPr>
          <a:xfrm>
            <a:off x="418288" y="2898775"/>
            <a:ext cx="11332725" cy="3959225"/>
          </a:xfrm>
        </p:spPr>
        <p:txBody>
          <a:bodyPr>
            <a:normAutofit/>
          </a:bodyPr>
          <a:lstStyle>
            <a:lvl1pPr marL="0" indent="0">
              <a:buNone/>
              <a:defRPr sz="1600"/>
            </a:lvl1pPr>
          </a:lstStyle>
          <a:p>
            <a:endParaRPr lang="en-US"/>
          </a:p>
        </p:txBody>
      </p:sp>
    </p:spTree>
    <p:extLst>
      <p:ext uri="{BB962C8B-B14F-4D97-AF65-F5344CB8AC3E}">
        <p14:creationId xmlns:p14="http://schemas.microsoft.com/office/powerpoint/2010/main" val="4086536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41982286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6589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1"/>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5"/>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1"/>
            <a:ext cx="8964185" cy="1178282"/>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5354151"/>
            <a:ext cx="8964186" cy="959071"/>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6"/>
            <a:ext cx="1993362" cy="701889"/>
          </a:xfrm>
          <a:prstGeom prst="rect">
            <a:avLst/>
          </a:prstGeom>
        </p:spPr>
      </p:pic>
    </p:spTree>
    <p:extLst>
      <p:ext uri="{BB962C8B-B14F-4D97-AF65-F5344CB8AC3E}">
        <p14:creationId xmlns:p14="http://schemas.microsoft.com/office/powerpoint/2010/main" val="3399687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CFB6E9-1184-4787-B58D-221C4DB0CF5D}"/>
              </a:ext>
            </a:extLst>
          </p:cNvPr>
          <p:cNvSpPr>
            <a:spLocks noGrp="1"/>
          </p:cNvSpPr>
          <p:nvPr>
            <p:ph type="dt" sz="half" idx="10"/>
          </p:nvPr>
        </p:nvSpPr>
        <p:spPr/>
        <p:txBody>
          <a:bodyPr/>
          <a:lstStyle/>
          <a:p>
            <a:fld id="{190AE570-F204-4AC2-A518-E4BFDCD8FCB4}" type="datetimeFigureOut">
              <a:rPr lang="en-US" smtClean="0"/>
              <a:t>12/4/2018</a:t>
            </a:fld>
            <a:endParaRPr lang="en-US"/>
          </a:p>
        </p:txBody>
      </p:sp>
      <p:sp>
        <p:nvSpPr>
          <p:cNvPr id="3" name="Footer Placeholder 2">
            <a:extLst>
              <a:ext uri="{FF2B5EF4-FFF2-40B4-BE49-F238E27FC236}">
                <a16:creationId xmlns:a16="http://schemas.microsoft.com/office/drawing/2014/main" id="{72393C34-3D91-466F-9171-F70834A9B6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7FE77EA-10F8-44AB-AD61-35CEBD85D407}"/>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277798940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33277404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25231595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3201966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497509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519459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a:t>Click to edit Master text styles</a:t>
            </a:r>
          </a:p>
        </p:txBody>
      </p:sp>
    </p:spTree>
    <p:extLst>
      <p:ext uri="{BB962C8B-B14F-4D97-AF65-F5344CB8AC3E}">
        <p14:creationId xmlns:p14="http://schemas.microsoft.com/office/powerpoint/2010/main" val="46534736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43195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67738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40971975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892773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177C9-101E-40DE-9BAA-173289680D3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71A1E18-0195-4486-9EFE-6865DAC6F1B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E46759B-5B84-40C4-9725-55F6650883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33B0461-78CF-4E6C-A3F2-3F601BC64E5D}"/>
              </a:ext>
            </a:extLst>
          </p:cNvPr>
          <p:cNvSpPr>
            <a:spLocks noGrp="1"/>
          </p:cNvSpPr>
          <p:nvPr>
            <p:ph type="dt" sz="half" idx="10"/>
          </p:nvPr>
        </p:nvSpPr>
        <p:spPr/>
        <p:txBody>
          <a:bodyPr/>
          <a:lstStyle/>
          <a:p>
            <a:fld id="{190AE570-F204-4AC2-A518-E4BFDCD8FCB4}" type="datetimeFigureOut">
              <a:rPr lang="en-US" smtClean="0"/>
              <a:t>12/4/2018</a:t>
            </a:fld>
            <a:endParaRPr lang="en-US"/>
          </a:p>
        </p:txBody>
      </p:sp>
      <p:sp>
        <p:nvSpPr>
          <p:cNvPr id="6" name="Footer Placeholder 5">
            <a:extLst>
              <a:ext uri="{FF2B5EF4-FFF2-40B4-BE49-F238E27FC236}">
                <a16:creationId xmlns:a16="http://schemas.microsoft.com/office/drawing/2014/main" id="{791B5A07-A05A-49AE-A932-25DE8566DA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4DA90C1-445A-4B32-8C0A-3FD265FB136E}"/>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9584599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661614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409171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10363648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68658116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a:t>Click to edit Master text styles</a:t>
            </a:r>
          </a:p>
        </p:txBody>
      </p:sp>
    </p:spTree>
    <p:extLst>
      <p:ext uri="{BB962C8B-B14F-4D97-AF65-F5344CB8AC3E}">
        <p14:creationId xmlns:p14="http://schemas.microsoft.com/office/powerpoint/2010/main" val="150365416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06415749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05852460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7307106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63836300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338464649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C5B98A-54D2-4AA2-9D99-72510D3B75F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C6A22C4-4651-4E35-BE07-2A2AA9771B5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F43D36C-E5B1-4082-8383-6D89DAF611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94896A8-0343-434E-BEEC-855332FACD97}"/>
              </a:ext>
            </a:extLst>
          </p:cNvPr>
          <p:cNvSpPr>
            <a:spLocks noGrp="1"/>
          </p:cNvSpPr>
          <p:nvPr>
            <p:ph type="dt" sz="half" idx="10"/>
          </p:nvPr>
        </p:nvSpPr>
        <p:spPr/>
        <p:txBody>
          <a:bodyPr/>
          <a:lstStyle/>
          <a:p>
            <a:fld id="{190AE570-F204-4AC2-A518-E4BFDCD8FCB4}" type="datetimeFigureOut">
              <a:rPr lang="en-US" smtClean="0"/>
              <a:t>12/4/2018</a:t>
            </a:fld>
            <a:endParaRPr lang="en-US"/>
          </a:p>
        </p:txBody>
      </p:sp>
      <p:sp>
        <p:nvSpPr>
          <p:cNvPr id="6" name="Footer Placeholder 5">
            <a:extLst>
              <a:ext uri="{FF2B5EF4-FFF2-40B4-BE49-F238E27FC236}">
                <a16:creationId xmlns:a16="http://schemas.microsoft.com/office/drawing/2014/main" id="{B771EF1B-18D1-44CD-A44F-055A52A24D5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74161F-4E37-4BE2-9714-B76E1DF4756F}"/>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201606501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737535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200446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83610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179985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a:t>Thank you</a:t>
            </a:r>
          </a:p>
        </p:txBody>
      </p:sp>
    </p:spTree>
    <p:extLst>
      <p:ext uri="{BB962C8B-B14F-4D97-AF65-F5344CB8AC3E}">
        <p14:creationId xmlns:p14="http://schemas.microsoft.com/office/powerpoint/2010/main" val="403563064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2184808"/>
          </a:xfrm>
        </p:spPr>
        <p:txBody>
          <a:bodyPr wrap="square">
            <a:spAutoFit/>
          </a:bodyPr>
          <a:lstStyle>
            <a:lvl1pPr marL="0" indent="0">
              <a:buNone/>
              <a:defRPr/>
            </a:lvl1pPr>
            <a:lvl2pPr marL="228512" indent="0">
              <a:buNone/>
              <a:defRPr/>
            </a:lvl2pPr>
            <a:lvl3pPr marL="457025" indent="0">
              <a:buNone/>
              <a:defRPr/>
            </a:lvl3pPr>
            <a:lvl4pPr marL="685537" indent="0">
              <a:buNone/>
              <a:defRPr/>
            </a:lvl4pPr>
            <a:lvl5pPr marL="91404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78497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1848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2553098"/>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2" y="585790"/>
            <a:ext cx="1366245" cy="292608"/>
          </a:xfrm>
          <a:prstGeom prst="rect">
            <a:avLst/>
          </a:prstGeom>
        </p:spPr>
      </p:pic>
      <p:sp>
        <p:nvSpPr>
          <p:cNvPr id="9" name="Title 1"/>
          <p:cNvSpPr>
            <a:spLocks noGrp="1"/>
          </p:cNvSpPr>
          <p:nvPr>
            <p:ph type="title" hasCustomPrompt="1"/>
          </p:nvPr>
        </p:nvSpPr>
        <p:spPr>
          <a:xfrm>
            <a:off x="584200" y="3035102"/>
            <a:ext cx="6675120" cy="498674"/>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2"/>
            <a:ext cx="667512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810979"/>
            <a:ext cx="3017520" cy="458060"/>
          </a:xfrm>
        </p:spPr>
        <p:txBody>
          <a:bodyPr anchor="b"/>
          <a:lstStyle>
            <a:lvl1pPr marL="0" indent="0" algn="r">
              <a:buFont typeface="Arial" panose="020B0604020202020204" pitchFamily="34" charset="0"/>
              <a:buNone/>
              <a:defRPr sz="2000">
                <a:latin typeface="+mn-lt"/>
              </a:defRPr>
            </a:lvl1pPr>
            <a:lvl2pPr marL="228512" indent="0">
              <a:buNone/>
              <a:defRPr/>
            </a:lvl2pPr>
          </a:lstStyle>
          <a:p>
            <a:pPr lvl="0"/>
            <a:r>
              <a:rPr lang="en-US"/>
              <a:t>Session code here</a:t>
            </a:r>
          </a:p>
        </p:txBody>
      </p:sp>
    </p:spTree>
    <p:extLst>
      <p:ext uri="{BB962C8B-B14F-4D97-AF65-F5344CB8AC3E}">
        <p14:creationId xmlns:p14="http://schemas.microsoft.com/office/powerpoint/2010/main" val="1175086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6938330"/>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86491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4.xml"/><Relationship Id="rId3" Type="http://schemas.openxmlformats.org/officeDocument/2006/relationships/slideLayout" Target="../slideLayouts/slideLayout219.xml"/><Relationship Id="rId7" Type="http://schemas.openxmlformats.org/officeDocument/2006/relationships/slideLayout" Target="../slideLayouts/slideLayout223.xml"/><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5" Type="http://schemas.openxmlformats.org/officeDocument/2006/relationships/slideLayout" Target="../slideLayouts/slideLayout221.xml"/><Relationship Id="rId10" Type="http://schemas.openxmlformats.org/officeDocument/2006/relationships/theme" Target="../theme/theme10.xml"/><Relationship Id="rId4" Type="http://schemas.openxmlformats.org/officeDocument/2006/relationships/slideLayout" Target="../slideLayouts/slideLayout220.xml"/><Relationship Id="rId9" Type="http://schemas.openxmlformats.org/officeDocument/2006/relationships/slideLayout" Target="../slideLayouts/slideLayout22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3" Type="http://schemas.openxmlformats.org/officeDocument/2006/relationships/slideLayout" Target="../slideLayouts/slideLayout228.xml"/><Relationship Id="rId7" Type="http://schemas.openxmlformats.org/officeDocument/2006/relationships/slideLayout" Target="../slideLayouts/slideLayout232.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0" Type="http://schemas.openxmlformats.org/officeDocument/2006/relationships/image" Target="../media/image32.emf"/><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5" Type="http://schemas.openxmlformats.org/officeDocument/2006/relationships/slideLayout" Target="../slideLayouts/slideLayout230.xml"/><Relationship Id="rId15" Type="http://schemas.openxmlformats.org/officeDocument/2006/relationships/slideLayout" Target="../slideLayouts/slideLayout240.xml"/><Relationship Id="rId10" Type="http://schemas.openxmlformats.org/officeDocument/2006/relationships/slideLayout" Target="../slideLayouts/slideLayout235.xml"/><Relationship Id="rId19" Type="http://schemas.openxmlformats.org/officeDocument/2006/relationships/theme" Target="../theme/theme11.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slideLayout" Target="../slideLayouts/slideLayout23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3" Type="http://schemas.openxmlformats.org/officeDocument/2006/relationships/slideLayout" Target="../slideLayouts/slideLayout246.xml"/><Relationship Id="rId21" Type="http://schemas.openxmlformats.org/officeDocument/2006/relationships/theme" Target="../theme/theme12.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image" Target="../media/image3.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slideLayout" Target="../slideLayouts/slideLayout276.xml"/><Relationship Id="rId18" Type="http://schemas.openxmlformats.org/officeDocument/2006/relationships/slideLayout" Target="../slideLayouts/slideLayout281.xml"/><Relationship Id="rId26" Type="http://schemas.openxmlformats.org/officeDocument/2006/relationships/slideLayout" Target="../slideLayouts/slideLayout289.xml"/><Relationship Id="rId3" Type="http://schemas.openxmlformats.org/officeDocument/2006/relationships/slideLayout" Target="../slideLayouts/slideLayout266.xml"/><Relationship Id="rId21" Type="http://schemas.openxmlformats.org/officeDocument/2006/relationships/slideLayout" Target="../slideLayouts/slideLayout284.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17" Type="http://schemas.openxmlformats.org/officeDocument/2006/relationships/slideLayout" Target="../slideLayouts/slideLayout280.xml"/><Relationship Id="rId25" Type="http://schemas.openxmlformats.org/officeDocument/2006/relationships/slideLayout" Target="../slideLayouts/slideLayout288.xml"/><Relationship Id="rId2" Type="http://schemas.openxmlformats.org/officeDocument/2006/relationships/slideLayout" Target="../slideLayouts/slideLayout265.xml"/><Relationship Id="rId16" Type="http://schemas.openxmlformats.org/officeDocument/2006/relationships/slideLayout" Target="../slideLayouts/slideLayout279.xml"/><Relationship Id="rId20" Type="http://schemas.openxmlformats.org/officeDocument/2006/relationships/slideLayout" Target="../slideLayouts/slideLayout283.xml"/><Relationship Id="rId29" Type="http://schemas.openxmlformats.org/officeDocument/2006/relationships/theme" Target="../theme/theme13.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24" Type="http://schemas.openxmlformats.org/officeDocument/2006/relationships/slideLayout" Target="../slideLayouts/slideLayout287.xml"/><Relationship Id="rId5" Type="http://schemas.openxmlformats.org/officeDocument/2006/relationships/slideLayout" Target="../slideLayouts/slideLayout268.xml"/><Relationship Id="rId15" Type="http://schemas.openxmlformats.org/officeDocument/2006/relationships/slideLayout" Target="../slideLayouts/slideLayout278.xml"/><Relationship Id="rId23" Type="http://schemas.openxmlformats.org/officeDocument/2006/relationships/slideLayout" Target="../slideLayouts/slideLayout286.xml"/><Relationship Id="rId28" Type="http://schemas.openxmlformats.org/officeDocument/2006/relationships/slideLayout" Target="../slideLayouts/slideLayout291.xml"/><Relationship Id="rId10" Type="http://schemas.openxmlformats.org/officeDocument/2006/relationships/slideLayout" Target="../slideLayouts/slideLayout273.xml"/><Relationship Id="rId19" Type="http://schemas.openxmlformats.org/officeDocument/2006/relationships/slideLayout" Target="../slideLayouts/slideLayout282.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slideLayout" Target="../slideLayouts/slideLayout277.xml"/><Relationship Id="rId22" Type="http://schemas.openxmlformats.org/officeDocument/2006/relationships/slideLayout" Target="../slideLayouts/slideLayout285.xml"/><Relationship Id="rId27" Type="http://schemas.openxmlformats.org/officeDocument/2006/relationships/slideLayout" Target="../slideLayouts/slideLayout290.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3" Type="http://schemas.openxmlformats.org/officeDocument/2006/relationships/slideLayout" Target="../slideLayouts/slideLayout294.xml"/><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image" Target="../media/image3.emf"/><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10" Type="http://schemas.openxmlformats.org/officeDocument/2006/relationships/slideLayout" Target="../slideLayouts/slideLayout301.xml"/><Relationship Id="rId19" Type="http://schemas.openxmlformats.org/officeDocument/2006/relationships/theme" Target="../theme/theme14.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image" Target="../media/image3.emf"/><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image" Target="../media/image3.emf"/><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theme" Target="../theme/theme3.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theme" Target="../theme/theme4.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theme" Target="../theme/theme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slideLayout" Target="../slideLayouts/slideLayout155.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32" Type="http://schemas.openxmlformats.org/officeDocument/2006/relationships/theme" Target="../theme/theme6.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slideLayout" Target="../slideLayouts/slideLayout15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30" Type="http://schemas.openxmlformats.org/officeDocument/2006/relationships/slideLayout" Target="../slideLayouts/slideLayout15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29" Type="http://schemas.openxmlformats.org/officeDocument/2006/relationships/slideLayout" Target="../slideLayouts/slideLayout186.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32" Type="http://schemas.openxmlformats.org/officeDocument/2006/relationships/theme" Target="../theme/theme7.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31" Type="http://schemas.openxmlformats.org/officeDocument/2006/relationships/slideLayout" Target="../slideLayouts/slideLayout18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slideLayout" Target="../slideLayouts/slideLayout18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image" Target="../media/image31.png"/><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theme" Target="../theme/theme8.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slideLayout" Target="../slideLayouts/slideLayout215.xml"/><Relationship Id="rId30" Type="http://schemas.openxmlformats.org/officeDocument/2006/relationships/image" Target="../media/image32.emf"/></Relationships>
</file>

<file path=ppt/slideMasters/_rels/slideMaster9.xml.rels><?xml version="1.0" encoding="UTF-8" standalone="yes"?>
<Relationships xmlns="http://schemas.openxmlformats.org/package/2006/relationships"><Relationship Id="rId2" Type="http://schemas.openxmlformats.org/officeDocument/2006/relationships/theme" Target="../theme/theme9.xml"/><Relationship Id="rId1" Type="http://schemas.openxmlformats.org/officeDocument/2006/relationships/slideLayout" Target="../slideLayouts/slideLayout2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B1F3339-F6D9-4288-B588-F0EC17A665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9DE1636-ED5B-405B-AE8B-E31D0EEF30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CB1B5D-7460-4806-AE9E-A8C6833B8B6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0AE570-F204-4AC2-A518-E4BFDCD8FCB4}" type="datetimeFigureOut">
              <a:rPr lang="en-US" smtClean="0"/>
              <a:t>12/4/2018</a:t>
            </a:fld>
            <a:endParaRPr lang="en-US"/>
          </a:p>
        </p:txBody>
      </p:sp>
      <p:sp>
        <p:nvSpPr>
          <p:cNvPr id="5" name="Footer Placeholder 4">
            <a:extLst>
              <a:ext uri="{FF2B5EF4-FFF2-40B4-BE49-F238E27FC236}">
                <a16:creationId xmlns:a16="http://schemas.microsoft.com/office/drawing/2014/main" id="{1AF8B844-71B2-4FB5-9569-F10C63565F3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C91E611-B712-4FC9-94A3-5D9FC455C96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97571E-14A7-43AD-9AFC-ABEA48FD2DB7}" type="slidenum">
              <a:rPr lang="en-US" smtClean="0"/>
              <a:t>‹#›</a:t>
            </a:fld>
            <a:endParaRPr lang="en-US"/>
          </a:p>
        </p:txBody>
      </p:sp>
    </p:spTree>
    <p:extLst>
      <p:ext uri="{BB962C8B-B14F-4D97-AF65-F5344CB8AC3E}">
        <p14:creationId xmlns:p14="http://schemas.microsoft.com/office/powerpoint/2010/main" val="18964549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33" r:id="rId12"/>
    <p:sldLayoutId id="214748393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6193963"/>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1" r:id="rId6"/>
    <p:sldLayoutId id="2147483882" r:id="rId7"/>
    <p:sldLayoutId id="2147483884" r:id="rId8"/>
    <p:sldLayoutId id="2147483885" r:id="rId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32965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513016863"/>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3902" r:id="rId15"/>
    <p:sldLayoutId id="2147483903" r:id="rId16"/>
    <p:sldLayoutId id="2147483904" r:id="rId17"/>
    <p:sldLayoutId id="2147483905" r:id="rId18"/>
  </p:sldLayoutIdLst>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54569698"/>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 id="2147483923" r:id="rId16"/>
    <p:sldLayoutId id="2147483924" r:id="rId17"/>
    <p:sldLayoutId id="2147483925" r:id="rId18"/>
    <p:sldLayoutId id="2147483926" r:id="rId19"/>
    <p:sldLayoutId id="2147483966" r:id="rId20"/>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841753232"/>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2" r:id="rId7"/>
    <p:sldLayoutId id="2147483943" r:id="rId8"/>
    <p:sldLayoutId id="2147483944" r:id="rId9"/>
    <p:sldLayoutId id="2147483945" r:id="rId10"/>
    <p:sldLayoutId id="2147483946" r:id="rId11"/>
    <p:sldLayoutId id="2147483947" r:id="rId12"/>
    <p:sldLayoutId id="2147483948" r:id="rId13"/>
    <p:sldLayoutId id="2147483949" r:id="rId14"/>
    <p:sldLayoutId id="2147483950" r:id="rId15"/>
    <p:sldLayoutId id="2147483951" r:id="rId16"/>
    <p:sldLayoutId id="2147483952" r:id="rId17"/>
    <p:sldLayoutId id="2147483953" r:id="rId18"/>
    <p:sldLayoutId id="2147483954" r:id="rId19"/>
    <p:sldLayoutId id="2147483955" r:id="rId20"/>
    <p:sldLayoutId id="2147483956" r:id="rId21"/>
    <p:sldLayoutId id="2147483957" r:id="rId22"/>
    <p:sldLayoutId id="2147483958" r:id="rId23"/>
    <p:sldLayoutId id="2147483959" r:id="rId24"/>
    <p:sldLayoutId id="2147483960" r:id="rId25"/>
    <p:sldLayoutId id="2147483961" r:id="rId26"/>
    <p:sldLayoutId id="2147483962" r:id="rId27"/>
    <p:sldLayoutId id="2147483963" r:id="rId28"/>
  </p:sldLayoutIdLst>
  <p:transition>
    <p:fade/>
  </p:transition>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5976111"/>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980" r:id="rId13"/>
    <p:sldLayoutId id="2147483981" r:id="rId14"/>
    <p:sldLayoutId id="2147483982" r:id="rId15"/>
    <p:sldLayoutId id="2147483983" r:id="rId16"/>
    <p:sldLayoutId id="2147483984" r:id="rId17"/>
    <p:sldLayoutId id="2147483985"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593428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5"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1349058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 id="2147483714" r:id="rId28"/>
    <p:sldLayoutId id="2147483715" r:id="rId29"/>
    <p:sldLayoutId id="2147483746" r:id="rId30"/>
    <p:sldLayoutId id="2147483989"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94669054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965" r:id="rId30"/>
    <p:sldLayoutId id="2147483988" r:id="rId31"/>
  </p:sldLayoutIdLst>
  <p:transition>
    <p:fade/>
  </p:transition>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45076218"/>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5" r:id="rId27"/>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2" y="-8232"/>
            <a:ext cx="936855" cy="5662634"/>
            <a:chOff x="12618967" y="-8396"/>
            <a:chExt cx="955641" cy="5775362"/>
          </a:xfrm>
        </p:grpSpPr>
        <p:grpSp>
          <p:nvGrpSpPr>
            <p:cNvPr id="18" name="Group 17"/>
            <p:cNvGrpSpPr/>
            <p:nvPr userDrawn="1"/>
          </p:nvGrpSpPr>
          <p:grpSpPr>
            <a:xfrm>
              <a:off x="12618967" y="-8396"/>
              <a:ext cx="955641" cy="5775362"/>
              <a:chOff x="12618967" y="-8396"/>
              <a:chExt cx="955641" cy="5775362"/>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3927"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a:gradFill>
                        <a:gsLst>
                          <a:gs pos="92035">
                            <a:srgbClr val="505050"/>
                          </a:gs>
                          <a:gs pos="27000">
                            <a:srgbClr val="505050"/>
                          </a:gs>
                        </a:gsLst>
                        <a:lin ang="5400000" scaled="0"/>
                      </a:gradFill>
                      <a:ea typeface="Segoe UI" pitchFamily="34" charset="0"/>
                      <a:cs typeface="Segoe UI" pitchFamily="34" charset="0"/>
                    </a:rPr>
                    <a:t>R:</a:t>
                  </a:r>
                  <a:r>
                    <a:rPr lang="en-US" sz="490" baseline="0">
                      <a:gradFill>
                        <a:gsLst>
                          <a:gs pos="92035">
                            <a:srgbClr val="505050"/>
                          </a:gs>
                          <a:gs pos="27000">
                            <a:srgbClr val="505050"/>
                          </a:gs>
                        </a:gsLst>
                        <a:lin ang="5400000" scaled="0"/>
                      </a:gradFill>
                      <a:ea typeface="Segoe UI" pitchFamily="34" charset="0"/>
                      <a:cs typeface="Segoe UI" pitchFamily="34" charset="0"/>
                    </a:rPr>
                    <a:t>210 G:210 B:210</a:t>
                  </a:r>
                  <a:endParaRPr lang="en-US" sz="49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927"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92</a:t>
                  </a:r>
                  <a:r>
                    <a:rPr lang="en-US" sz="490" baseline="0">
                      <a:gradFill>
                        <a:gsLst>
                          <a:gs pos="0">
                            <a:srgbClr val="FFFFFF"/>
                          </a:gs>
                          <a:gs pos="100000">
                            <a:srgbClr val="FFFFFF"/>
                          </a:gs>
                        </a:gsLst>
                        <a:lin ang="5400000" scaled="0"/>
                      </a:gradFill>
                      <a:ea typeface="Segoe UI" pitchFamily="34" charset="0"/>
                      <a:cs typeface="Segoe UI" pitchFamily="34" charset="0"/>
                    </a:rPr>
                    <a:t> G:45 B:145</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3927"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solidFill>
                        <a:srgbClr val="000000"/>
                      </a:solidFill>
                      <a:latin typeface="+mn-lt"/>
                      <a:ea typeface="Segoe UI" pitchFamily="34" charset="0"/>
                      <a:cs typeface="Segoe UI" pitchFamily="34" charset="0"/>
                    </a:rPr>
                    <a:t>Yellow</a:t>
                  </a:r>
                </a:p>
                <a:p>
                  <a:pPr marL="0" algn="l" defTabSz="913927" rtl="0" eaLnBrk="1" fontAlgn="base" latinLnBrk="0" hangingPunct="1">
                    <a:lnSpc>
                      <a:spcPct val="100000"/>
                    </a:lnSpc>
                    <a:spcBef>
                      <a:spcPct val="0"/>
                    </a:spcBef>
                    <a:spcAft>
                      <a:spcPct val="0"/>
                    </a:spcAft>
                  </a:pPr>
                  <a:r>
                    <a:rPr lang="en-US" sz="490" kern="1200">
                      <a:solidFill>
                        <a:srgbClr val="000000"/>
                      </a:solidFill>
                      <a:latin typeface="+mn-lt"/>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Teal</a:t>
                  </a:r>
                </a:p>
                <a:p>
                  <a:pPr algn="l" defTabSz="913927"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a:t>
                  </a:r>
                  <a:r>
                    <a:rPr lang="en-US" sz="490" baseline="0">
                      <a:gradFill>
                        <a:gsLst>
                          <a:gs pos="2092">
                            <a:srgbClr val="F8F8F8"/>
                          </a:gs>
                          <a:gs pos="10042">
                            <a:srgbClr val="F8F8F8"/>
                          </a:gs>
                        </a:gsLst>
                        <a:lin ang="5400000" scaled="0"/>
                      </a:gradFill>
                      <a:ea typeface="Segoe UI" pitchFamily="34" charset="0"/>
                      <a:cs typeface="Segoe UI" pitchFamily="34" charset="0"/>
                    </a:rPr>
                    <a:t> G:130 B:114</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3927"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25095548"/>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 id="2147483806" r:id="rId29"/>
    <p:sldLayoutId id="2147483807" r:id="rId30"/>
    <p:sldLayoutId id="2147483808" r:id="rId3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19"/>
            <a:chOff x="12618967" y="-221"/>
            <a:chExt cx="954235" cy="5767187"/>
          </a:xfrm>
        </p:grpSpPr>
        <p:grpSp>
          <p:nvGrpSpPr>
            <p:cNvPr id="18" name="Group 17"/>
            <p:cNvGrpSpPr/>
            <p:nvPr userDrawn="1"/>
          </p:nvGrpSpPr>
          <p:grpSpPr>
            <a:xfrm>
              <a:off x="12618967" y="-221"/>
              <a:ext cx="954235" cy="5767187"/>
              <a:chOff x="12618967" y="-221"/>
              <a:chExt cx="954235" cy="5767187"/>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92035">
                            <a:srgbClr val="505050"/>
                          </a:gs>
                          <a:gs pos="27000">
                            <a:srgbClr val="505050"/>
                          </a:gs>
                        </a:gsLst>
                        <a:lin ang="5400000" scaled="0"/>
                      </a:gradFill>
                      <a:ea typeface="Segoe UI" pitchFamily="34" charset="0"/>
                      <a:cs typeface="Segoe UI" pitchFamily="34" charset="0"/>
                    </a:rPr>
                    <a:t>R:</a:t>
                  </a:r>
                  <a:r>
                    <a:rPr lang="en-US" sz="490" baseline="0">
                      <a:gradFill>
                        <a:gsLst>
                          <a:gs pos="92035">
                            <a:srgbClr val="505050"/>
                          </a:gs>
                          <a:gs pos="27000">
                            <a:srgbClr val="505050"/>
                          </a:gs>
                        </a:gsLst>
                        <a:lin ang="5400000" scaled="0"/>
                      </a:gradFill>
                      <a:ea typeface="Segoe UI" pitchFamily="34" charset="0"/>
                      <a:cs typeface="Segoe UI" pitchFamily="34" charset="0"/>
                    </a:rPr>
                    <a:t>210 G:210 B:210</a:t>
                  </a:r>
                  <a:endParaRPr lang="en-US" sz="49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92</a:t>
                  </a:r>
                  <a:r>
                    <a:rPr lang="en-US" sz="490" baseline="0">
                      <a:gradFill>
                        <a:gsLst>
                          <a:gs pos="0">
                            <a:srgbClr val="FFFFFF"/>
                          </a:gs>
                          <a:gs pos="100000">
                            <a:srgbClr val="FFFFFF"/>
                          </a:gs>
                        </a:gsLst>
                        <a:lin ang="5400000" scaled="0"/>
                      </a:gradFill>
                      <a:ea typeface="Segoe UI" pitchFamily="34" charset="0"/>
                      <a:cs typeface="Segoe UI" pitchFamily="34" charset="0"/>
                    </a:rPr>
                    <a:t> G:45 B:145</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solidFill>
                        <a:srgbClr val="000000"/>
                      </a:soli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a:solidFill>
                        <a:srgbClr val="000000"/>
                      </a:solidFill>
                      <a:latin typeface="+mn-lt"/>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Teal</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a:t>
                  </a:r>
                  <a:r>
                    <a:rPr lang="en-US" sz="490" baseline="0">
                      <a:gradFill>
                        <a:gsLst>
                          <a:gs pos="2092">
                            <a:srgbClr val="F8F8F8"/>
                          </a:gs>
                          <a:gs pos="10042">
                            <a:srgbClr val="F8F8F8"/>
                          </a:gs>
                        </a:gsLst>
                        <a:lin ang="5400000" scaled="0"/>
                      </a:gradFill>
                      <a:ea typeface="Segoe UI" pitchFamily="34" charset="0"/>
                      <a:cs typeface="Segoe UI" pitchFamily="34" charset="0"/>
                    </a:rPr>
                    <a:t> G:130 B:114</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03870008"/>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 id="2147483827" r:id="rId18"/>
    <p:sldLayoutId id="2147483828" r:id="rId19"/>
    <p:sldLayoutId id="2147483829" r:id="rId20"/>
    <p:sldLayoutId id="2147483830" r:id="rId21"/>
    <p:sldLayoutId id="2147483831" r:id="rId22"/>
    <p:sldLayoutId id="2147483832" r:id="rId23"/>
    <p:sldLayoutId id="2147483833" r:id="rId24"/>
    <p:sldLayoutId id="2147483834" r:id="rId25"/>
    <p:sldLayoutId id="2147483835" r:id="rId26"/>
    <p:sldLayoutId id="2147483836" r:id="rId27"/>
    <p:sldLayoutId id="2147483837" r:id="rId28"/>
    <p:sldLayoutId id="2147483838" r:id="rId29"/>
    <p:sldLayoutId id="2147483839" r:id="rId30"/>
    <p:sldLayoutId id="2147483840" r:id="rId3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9"/>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1997786313"/>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 id="2147483864" r:id="rId23"/>
    <p:sldLayoutId id="2147483865" r:id="rId24"/>
    <p:sldLayoutId id="2147483866" r:id="rId25"/>
    <p:sldLayoutId id="2147483867" r:id="rId26"/>
    <p:sldLayoutId id="2147483991" r:id="rId27"/>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457200" y="1866900"/>
            <a:ext cx="11277600" cy="45339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th Level</a:t>
            </a:r>
          </a:p>
        </p:txBody>
      </p:sp>
      <p:sp>
        <p:nvSpPr>
          <p:cNvPr id="3" name="Title Placeholder 2"/>
          <p:cNvSpPr>
            <a:spLocks noGrp="1"/>
          </p:cNvSpPr>
          <p:nvPr>
            <p:ph type="title"/>
          </p:nvPr>
        </p:nvSpPr>
        <p:spPr>
          <a:xfrm>
            <a:off x="457200" y="457200"/>
            <a:ext cx="11277599" cy="712379"/>
          </a:xfrm>
          <a:prstGeom prst="rect">
            <a:avLst/>
          </a:prstGeom>
        </p:spPr>
        <p:txBody>
          <a:bodyPr vert="horz" lIns="0" tIns="0" rIns="0" bIns="0" rtlCol="0" anchor="t">
            <a:normAutofit/>
          </a:bodyPr>
          <a:lstStyle/>
          <a:p>
            <a:r>
              <a:rPr lang="en-US"/>
              <a:t>Click to edit Master title style</a:t>
            </a:r>
          </a:p>
        </p:txBody>
      </p:sp>
      <p:sp>
        <p:nvSpPr>
          <p:cNvPr id="28" name="Slide Number Placeholder 27">
            <a:extLst>
              <a:ext uri="{FF2B5EF4-FFF2-40B4-BE49-F238E27FC236}">
                <a16:creationId xmlns:a16="http://schemas.microsoft.com/office/drawing/2014/main" id="{5CFBB3EC-AC91-8E45-9E42-0DA1434795C3}"/>
              </a:ext>
            </a:extLst>
          </p:cNvPr>
          <p:cNvSpPr>
            <a:spLocks noGrp="1"/>
          </p:cNvSpPr>
          <p:nvPr>
            <p:ph type="sldNum" sz="quarter" idx="4"/>
          </p:nvPr>
        </p:nvSpPr>
        <p:spPr>
          <a:xfrm>
            <a:off x="11010899" y="6442502"/>
            <a:ext cx="1180135" cy="415498"/>
          </a:xfrm>
          <a:prstGeom prst="rect">
            <a:avLst/>
          </a:prstGeom>
        </p:spPr>
        <p:txBody>
          <a:bodyPr vert="horz" lIns="91440" tIns="45720" rIns="182880" bIns="182880" rtlCol="0" anchor="b" anchorCtr="0">
            <a:spAutoFit/>
          </a:bodyPr>
          <a:lstStyle>
            <a:lvl1pPr algn="r">
              <a:defRPr sz="1200">
                <a:solidFill>
                  <a:schemeClr val="accent6"/>
                </a:solidFill>
              </a:defRPr>
            </a:lvl1pPr>
          </a:lstStyle>
          <a:p>
            <a:fld id="{529AFA16-AEC4-7D4A-82F3-BDAE8E49079E}" type="slidenum">
              <a:rPr lang="en-US" smtClean="0"/>
              <a:pPr/>
              <a:t>‹#›</a:t>
            </a:fld>
            <a:endParaRPr lang="en-US"/>
          </a:p>
        </p:txBody>
      </p:sp>
      <p:sp>
        <p:nvSpPr>
          <p:cNvPr id="66" name="Text Placeholder 16">
            <a:extLst>
              <a:ext uri="{FF2B5EF4-FFF2-40B4-BE49-F238E27FC236}">
                <a16:creationId xmlns:a16="http://schemas.microsoft.com/office/drawing/2014/main" id="{64E687F7-ADFB-431B-BFAD-ECA70B8FBAA9}"/>
              </a:ext>
            </a:extLst>
          </p:cNvPr>
          <p:cNvSpPr txBox="1">
            <a:spLocks/>
          </p:cNvSpPr>
          <p:nvPr userDrawn="1"/>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600"/>
              </a:spcBef>
              <a:spcAft>
                <a:spcPts val="600"/>
              </a:spcAft>
              <a:buClr>
                <a:srgbClr val="414241"/>
              </a:buClr>
              <a:buSzPct val="120000"/>
              <a:buFontTx/>
              <a:buNone/>
              <a:tabLst/>
              <a:defRPr/>
            </a:pPr>
            <a:r>
              <a:rPr kumimoji="0" lang="en-US" sz="1100" b="0" i="0" u="none" strike="noStrike" kern="1200" cap="none" spc="0" normalizeH="0" baseline="0" noProof="0">
                <a:ln>
                  <a:noFill/>
                </a:ln>
                <a:solidFill>
                  <a:srgbClr val="FFFFFF"/>
                </a:solidFill>
                <a:effectLst/>
                <a:uLnTx/>
                <a:uFillTx/>
                <a:latin typeface="Segoe UI" charset="0"/>
                <a:cs typeface="Segoe UI" charset="0"/>
              </a:rPr>
              <a:t>Chart Colors</a:t>
            </a:r>
          </a:p>
        </p:txBody>
      </p:sp>
      <p:grpSp>
        <p:nvGrpSpPr>
          <p:cNvPr id="34" name="Group 33"/>
          <p:cNvGrpSpPr/>
          <p:nvPr userDrawn="1"/>
        </p:nvGrpSpPr>
        <p:grpSpPr>
          <a:xfrm>
            <a:off x="12478437" y="16476"/>
            <a:ext cx="1054899" cy="6900254"/>
            <a:chOff x="12478437" y="16476"/>
            <a:chExt cx="1054899" cy="6900254"/>
          </a:xfrm>
        </p:grpSpPr>
        <p:grpSp>
          <p:nvGrpSpPr>
            <p:cNvPr id="35" name="Group 34"/>
            <p:cNvGrpSpPr/>
            <p:nvPr userDrawn="1"/>
          </p:nvGrpSpPr>
          <p:grpSpPr>
            <a:xfrm>
              <a:off x="12481674" y="2825291"/>
              <a:ext cx="899599" cy="830046"/>
              <a:chOff x="12481674" y="567"/>
              <a:chExt cx="899599" cy="830046"/>
            </a:xfrm>
          </p:grpSpPr>
          <p:sp>
            <p:nvSpPr>
              <p:cNvPr id="65" name="Rectangle 64"/>
              <p:cNvSpPr/>
              <p:nvPr userDrawn="1"/>
            </p:nvSpPr>
            <p:spPr>
              <a:xfrm>
                <a:off x="12481674" y="567"/>
                <a:ext cx="899599" cy="830046"/>
              </a:xfrm>
              <a:prstGeom prst="rect">
                <a:avLst/>
              </a:prstGeom>
              <a:solidFill>
                <a:srgbClr val="42424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94" name="Content Placeholder 17"/>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BACKGROUND 1</a:t>
                </a:r>
              </a:p>
              <a:p>
                <a:pPr>
                  <a:spcBef>
                    <a:spcPts val="0"/>
                  </a:spcBef>
                  <a:spcAft>
                    <a:spcPts val="0"/>
                  </a:spcAft>
                </a:pPr>
                <a:r>
                  <a:rPr lang="en-US" sz="700" b="1" i="0">
                    <a:solidFill>
                      <a:schemeClr val="bg2"/>
                    </a:solidFill>
                    <a:latin typeface="Segoe UI Semibold" charset="0"/>
                    <a:ea typeface="Segoe UI Semibold" charset="0"/>
                    <a:cs typeface="Segoe UI Semibold" charset="0"/>
                  </a:rPr>
                  <a:t>R66 G66 B66</a:t>
                </a:r>
                <a:br>
                  <a:rPr lang="en-US" sz="700" b="1" i="0">
                    <a:solidFill>
                      <a:schemeClr val="bg2"/>
                    </a:solidFill>
                    <a:latin typeface="Segoe UI Semibold" charset="0"/>
                    <a:ea typeface="Segoe UI Semibold" charset="0"/>
                    <a:cs typeface="Segoe UI Semibold" charset="0"/>
                  </a:rPr>
                </a:br>
                <a:r>
                  <a:rPr lang="tr-TR" sz="700" b="1" i="0">
                    <a:solidFill>
                      <a:schemeClr val="bg2"/>
                    </a:solidFill>
                    <a:latin typeface="Segoe UI Semibold" charset="0"/>
                    <a:ea typeface="Segoe UI Semibold" charset="0"/>
                    <a:cs typeface="Segoe UI Semibold" charset="0"/>
                  </a:rPr>
                  <a:t>424242</a:t>
                </a:r>
                <a:endParaRPr lang="en-US" sz="700" b="1" i="0">
                  <a:solidFill>
                    <a:schemeClr val="bg2"/>
                  </a:solidFill>
                  <a:latin typeface="Segoe UI Semibold" charset="0"/>
                  <a:ea typeface="Segoe UI Semibold" charset="0"/>
                  <a:cs typeface="Segoe UI Semibold" charset="0"/>
                </a:endParaRPr>
              </a:p>
            </p:txBody>
          </p:sp>
        </p:grpSp>
        <p:sp>
          <p:nvSpPr>
            <p:cNvPr id="36" name="Text Placeholder 16"/>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sz="1100">
                  <a:solidFill>
                    <a:schemeClr val="tx1"/>
                  </a:solidFill>
                </a:rPr>
                <a:t>Chart Colors</a:t>
              </a:r>
            </a:p>
          </p:txBody>
        </p:sp>
        <p:grpSp>
          <p:nvGrpSpPr>
            <p:cNvPr id="37" name="Group 36"/>
            <p:cNvGrpSpPr/>
            <p:nvPr userDrawn="1"/>
          </p:nvGrpSpPr>
          <p:grpSpPr>
            <a:xfrm>
              <a:off x="12481674" y="174765"/>
              <a:ext cx="899599" cy="830046"/>
              <a:chOff x="12481674" y="1038535"/>
              <a:chExt cx="899599" cy="830046"/>
            </a:xfrm>
          </p:grpSpPr>
          <p:sp>
            <p:nvSpPr>
              <p:cNvPr id="63" name="Rectangle 62"/>
              <p:cNvSpPr/>
              <p:nvPr/>
            </p:nvSpPr>
            <p:spPr>
              <a:xfrm>
                <a:off x="12481674" y="1038535"/>
                <a:ext cx="899599" cy="830046"/>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64" name="Content Placeholder 17"/>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AZURE Blue</a:t>
                </a:r>
              </a:p>
              <a:p>
                <a:pPr>
                  <a:spcBef>
                    <a:spcPts val="0"/>
                  </a:spcBef>
                  <a:spcAft>
                    <a:spcPts val="0"/>
                  </a:spcAft>
                </a:pPr>
                <a:r>
                  <a:rPr lang="en-US" sz="700" b="1" i="0">
                    <a:solidFill>
                      <a:schemeClr val="bg2"/>
                    </a:solidFill>
                    <a:latin typeface="Segoe UI Semibold" charset="0"/>
                    <a:ea typeface="Segoe UI Semibold" charset="0"/>
                    <a:cs typeface="Segoe UI Semibold" charset="0"/>
                  </a:rPr>
                  <a:t>R0 G120 B215</a:t>
                </a:r>
                <a:br>
                  <a:rPr lang="en-US" sz="700" b="1" i="0">
                    <a:solidFill>
                      <a:schemeClr val="bg2"/>
                    </a:solidFill>
                    <a:latin typeface="Segoe UI Semibold" charset="0"/>
                    <a:ea typeface="Segoe UI Semibold" charset="0"/>
                    <a:cs typeface="Segoe UI Semibold" charset="0"/>
                  </a:rPr>
                </a:br>
                <a:r>
                  <a:rPr lang="tr-TR" sz="700" b="1" i="0">
                    <a:solidFill>
                      <a:schemeClr val="bg2"/>
                    </a:solidFill>
                    <a:latin typeface="Segoe UI Semibold" charset="0"/>
                    <a:ea typeface="Segoe UI Semibold" charset="0"/>
                    <a:cs typeface="Segoe UI Semibold" charset="0"/>
                  </a:rPr>
                  <a:t>0078D7</a:t>
                </a:r>
                <a:endParaRPr lang="en-US" sz="700" b="1" i="0">
                  <a:solidFill>
                    <a:schemeClr val="bg2"/>
                  </a:solidFill>
                  <a:latin typeface="Segoe UI Semibold" charset="0"/>
                  <a:ea typeface="Segoe UI Semibold" charset="0"/>
                  <a:cs typeface="Segoe UI Semibold" charset="0"/>
                </a:endParaRPr>
              </a:p>
            </p:txBody>
          </p:sp>
        </p:grpSp>
        <p:grpSp>
          <p:nvGrpSpPr>
            <p:cNvPr id="38" name="Group 37">
              <a:extLst>
                <a:ext uri="{FF2B5EF4-FFF2-40B4-BE49-F238E27FC236}">
                  <a16:creationId xmlns:a16="http://schemas.microsoft.com/office/drawing/2014/main" id="{DCDFBAE3-68D9-4F23-BC09-995958797A9A}"/>
                </a:ext>
              </a:extLst>
            </p:cNvPr>
            <p:cNvGrpSpPr/>
            <p:nvPr userDrawn="1"/>
          </p:nvGrpSpPr>
          <p:grpSpPr>
            <a:xfrm>
              <a:off x="12482262" y="5456419"/>
              <a:ext cx="896684" cy="324884"/>
              <a:chOff x="12442099" y="7665719"/>
              <a:chExt cx="896684" cy="324884"/>
            </a:xfrm>
          </p:grpSpPr>
          <p:sp>
            <p:nvSpPr>
              <p:cNvPr id="61" name="Rectangle 60"/>
              <p:cNvSpPr/>
              <p:nvPr/>
            </p:nvSpPr>
            <p:spPr>
              <a:xfrm>
                <a:off x="12442099" y="7665719"/>
                <a:ext cx="896684" cy="308780"/>
              </a:xfrm>
              <a:prstGeom prst="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62" name="Content Placeholder 17"/>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0 G138 B249</a:t>
                </a:r>
                <a:br>
                  <a:rPr lang="en-US" sz="700" b="1" i="0">
                    <a:solidFill>
                      <a:schemeClr val="bg2"/>
                    </a:solidFill>
                    <a:latin typeface="Segoe UI Semibold" charset="0"/>
                    <a:ea typeface="Segoe UI Semibold" charset="0"/>
                    <a:cs typeface="Segoe UI Semibold" charset="0"/>
                  </a:rPr>
                </a:br>
                <a:r>
                  <a:rPr lang="is-IS" sz="700" b="1" i="0">
                    <a:solidFill>
                      <a:schemeClr val="bg2"/>
                    </a:solidFill>
                    <a:latin typeface="Segoe UI Semibold" charset="0"/>
                    <a:ea typeface="Segoe UI Semibold" charset="0"/>
                    <a:cs typeface="Segoe UI Semibold" charset="0"/>
                  </a:rPr>
                  <a:t>008AF9</a:t>
                </a:r>
                <a:endParaRPr lang="en-US" sz="700" b="1" i="0">
                  <a:solidFill>
                    <a:schemeClr val="bg2"/>
                  </a:solidFill>
                  <a:latin typeface="Segoe UI Semibold" charset="0"/>
                  <a:ea typeface="Segoe UI Semibold" charset="0"/>
                  <a:cs typeface="Segoe UI Semibold" charset="0"/>
                </a:endParaRPr>
              </a:p>
            </p:txBody>
          </p:sp>
        </p:grpSp>
        <p:grpSp>
          <p:nvGrpSpPr>
            <p:cNvPr id="39" name="Group 38"/>
            <p:cNvGrpSpPr/>
            <p:nvPr userDrawn="1"/>
          </p:nvGrpSpPr>
          <p:grpSpPr>
            <a:xfrm>
              <a:off x="12481674" y="1058688"/>
              <a:ext cx="896685" cy="830046"/>
              <a:chOff x="12481674" y="1905452"/>
              <a:chExt cx="896685" cy="830046"/>
            </a:xfrm>
          </p:grpSpPr>
          <p:sp>
            <p:nvSpPr>
              <p:cNvPr id="59" name="Rectangle 58"/>
              <p:cNvSpPr/>
              <p:nvPr/>
            </p:nvSpPr>
            <p:spPr>
              <a:xfrm>
                <a:off x="12481674" y="1905452"/>
                <a:ext cx="896685" cy="830046"/>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60" name="Content Placeholder 17"/>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Medium Blue</a:t>
                </a:r>
              </a:p>
              <a:p>
                <a:pPr>
                  <a:spcBef>
                    <a:spcPts val="0"/>
                  </a:spcBef>
                  <a:spcAft>
                    <a:spcPts val="0"/>
                  </a:spcAft>
                </a:pPr>
                <a:r>
                  <a:rPr lang="en-US" sz="700" b="1" i="0">
                    <a:solidFill>
                      <a:schemeClr val="tx2"/>
                    </a:solidFill>
                    <a:latin typeface="Segoe UI Semibold" charset="0"/>
                    <a:ea typeface="Segoe UI Semibold" charset="0"/>
                    <a:cs typeface="Segoe UI Semibold" charset="0"/>
                  </a:rPr>
                  <a:t>R77 G176 B255</a:t>
                </a:r>
                <a:br>
                  <a:rPr lang="en-US" sz="700" b="1" i="0">
                    <a:solidFill>
                      <a:schemeClr val="tx2"/>
                    </a:solidFill>
                    <a:latin typeface="Segoe UI Semibold" charset="0"/>
                    <a:ea typeface="Segoe UI Semibold" charset="0"/>
                    <a:cs typeface="Segoe UI Semibold" charset="0"/>
                  </a:rPr>
                </a:br>
                <a:r>
                  <a:rPr lang="cs-CZ" sz="700" b="1" i="0">
                    <a:solidFill>
                      <a:schemeClr val="tx2"/>
                    </a:solidFill>
                    <a:latin typeface="Segoe UI Semibold" charset="0"/>
                    <a:ea typeface="Segoe UI Semibold" charset="0"/>
                    <a:cs typeface="Segoe UI Semibold" charset="0"/>
                  </a:rPr>
                  <a:t>4DB0FF</a:t>
                </a:r>
                <a:endParaRPr lang="en-US" sz="700" b="1" i="0">
                  <a:solidFill>
                    <a:schemeClr val="tx2"/>
                  </a:solidFill>
                  <a:latin typeface="Segoe UI Semibold" charset="0"/>
                  <a:ea typeface="Segoe UI Semibold" charset="0"/>
                  <a:cs typeface="Segoe UI Semibold" charset="0"/>
                </a:endParaRPr>
              </a:p>
            </p:txBody>
          </p:sp>
        </p:grpSp>
        <p:grpSp>
          <p:nvGrpSpPr>
            <p:cNvPr id="40" name="Group 39">
              <a:extLst>
                <a:ext uri="{FF2B5EF4-FFF2-40B4-BE49-F238E27FC236}">
                  <a16:creationId xmlns:a16="http://schemas.microsoft.com/office/drawing/2014/main" id="{DC330CFF-4FDE-4352-9D1C-62BD69F6DBA6}"/>
                </a:ext>
              </a:extLst>
            </p:cNvPr>
            <p:cNvGrpSpPr/>
            <p:nvPr userDrawn="1"/>
          </p:nvGrpSpPr>
          <p:grpSpPr>
            <a:xfrm rot="5400000">
              <a:off x="12753338" y="5555171"/>
              <a:ext cx="354532" cy="896684"/>
              <a:chOff x="12516568" y="4568745"/>
              <a:chExt cx="354532" cy="896684"/>
            </a:xfrm>
          </p:grpSpPr>
          <p:sp>
            <p:nvSpPr>
              <p:cNvPr id="57" name="Rectangle 56"/>
              <p:cNvSpPr/>
              <p:nvPr/>
            </p:nvSpPr>
            <p:spPr>
              <a:xfrm rot="16200000">
                <a:off x="12222616" y="4862697"/>
                <a:ext cx="896684" cy="308780"/>
              </a:xfrm>
              <a:prstGeom prst="rect">
                <a:avLst/>
              </a:prstGeom>
              <a:solidFill>
                <a:srgbClr val="94D0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8" name="Content Placeholder 17"/>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R148 G208 B255</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94D0FF</a:t>
                </a:r>
              </a:p>
            </p:txBody>
          </p:sp>
        </p:grpSp>
        <p:sp>
          <p:nvSpPr>
            <p:cNvPr id="41" name="Rectangle 40"/>
            <p:cNvSpPr/>
            <p:nvPr/>
          </p:nvSpPr>
          <p:spPr>
            <a:xfrm>
              <a:off x="12481674" y="1941403"/>
              <a:ext cx="890209" cy="830046"/>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42" name="Content Placeholder 17"/>
            <p:cNvSpPr txBox="1">
              <a:spLocks/>
            </p:cNvSpPr>
            <p:nvPr/>
          </p:nvSpPr>
          <p:spPr>
            <a:xfrm>
              <a:off x="12538855" y="198921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Light Blue</a:t>
              </a:r>
            </a:p>
            <a:p>
              <a:pPr>
                <a:spcBef>
                  <a:spcPts val="0"/>
                </a:spcBef>
                <a:spcAft>
                  <a:spcPts val="0"/>
                </a:spcAft>
              </a:pPr>
              <a:r>
                <a:rPr lang="en-US" sz="700" b="1" i="0">
                  <a:solidFill>
                    <a:schemeClr val="tx2"/>
                  </a:solidFill>
                  <a:latin typeface="Segoe UI Semibold" charset="0"/>
                  <a:ea typeface="Segoe UI Semibold" charset="0"/>
                  <a:cs typeface="Segoe UI Semibold" charset="0"/>
                </a:rPr>
                <a:t>R177 G214 B242</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B1D6F2</a:t>
              </a:r>
            </a:p>
          </p:txBody>
        </p:sp>
        <p:sp>
          <p:nvSpPr>
            <p:cNvPr id="43" name="Content Placeholder 17"/>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Secondary (Chart) Colors</a:t>
              </a:r>
            </a:p>
          </p:txBody>
        </p:sp>
        <p:grpSp>
          <p:nvGrpSpPr>
            <p:cNvPr id="44" name="Group 43">
              <a:extLst>
                <a:ext uri="{FF2B5EF4-FFF2-40B4-BE49-F238E27FC236}">
                  <a16:creationId xmlns:a16="http://schemas.microsoft.com/office/drawing/2014/main" id="{5555B8AF-F664-4114-91EF-FDD01AB85822}"/>
                </a:ext>
              </a:extLst>
            </p:cNvPr>
            <p:cNvGrpSpPr/>
            <p:nvPr userDrawn="1"/>
          </p:nvGrpSpPr>
          <p:grpSpPr>
            <a:xfrm rot="5400000">
              <a:off x="12751547" y="6295566"/>
              <a:ext cx="354531" cy="887798"/>
              <a:chOff x="12516569" y="1875457"/>
              <a:chExt cx="354531" cy="911749"/>
            </a:xfrm>
          </p:grpSpPr>
          <p:sp>
            <p:nvSpPr>
              <p:cNvPr id="55" name="Rectangle 54"/>
              <p:cNvSpPr/>
              <p:nvPr userDrawn="1"/>
            </p:nvSpPr>
            <p:spPr>
              <a:xfrm rot="16200000">
                <a:off x="12215084" y="2176942"/>
                <a:ext cx="911749" cy="30878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6" name="Content Placeholder 17"/>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R217 G217 B217</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D9D9D9</a:t>
                </a:r>
              </a:p>
            </p:txBody>
          </p:sp>
        </p:grpSp>
        <p:grpSp>
          <p:nvGrpSpPr>
            <p:cNvPr id="45" name="Group 44">
              <a:extLst>
                <a:ext uri="{FF2B5EF4-FFF2-40B4-BE49-F238E27FC236}">
                  <a16:creationId xmlns:a16="http://schemas.microsoft.com/office/drawing/2014/main" id="{3371ED8C-D29F-4855-89B3-9562BCBD74AF}"/>
                </a:ext>
              </a:extLst>
            </p:cNvPr>
            <p:cNvGrpSpPr/>
            <p:nvPr userDrawn="1"/>
          </p:nvGrpSpPr>
          <p:grpSpPr>
            <a:xfrm rot="5400000">
              <a:off x="12749513" y="4819221"/>
              <a:ext cx="354532" cy="896684"/>
              <a:chOff x="12494037" y="985248"/>
              <a:chExt cx="354532" cy="896684"/>
            </a:xfrm>
          </p:grpSpPr>
          <p:sp>
            <p:nvSpPr>
              <p:cNvPr id="53" name="Rectangle 52"/>
              <p:cNvSpPr/>
              <p:nvPr userDrawn="1"/>
            </p:nvSpPr>
            <p:spPr>
              <a:xfrm rot="16200000">
                <a:off x="12200085" y="1279200"/>
                <a:ext cx="896684" cy="30878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4" name="Content Placeholder 17"/>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3 G90 B160</a:t>
                </a:r>
                <a:br>
                  <a:rPr lang="en-US" sz="700" b="1" i="0">
                    <a:solidFill>
                      <a:schemeClr val="bg2"/>
                    </a:solidFill>
                    <a:latin typeface="Segoe UI Semibold" charset="0"/>
                    <a:ea typeface="Segoe UI Semibold" charset="0"/>
                    <a:cs typeface="Segoe UI Semibold" charset="0"/>
                  </a:rPr>
                </a:br>
                <a:r>
                  <a:rPr lang="en-US" sz="700" b="1" i="0">
                    <a:solidFill>
                      <a:schemeClr val="bg2"/>
                    </a:solidFill>
                    <a:latin typeface="Segoe UI Semibold" charset="0"/>
                    <a:ea typeface="Segoe UI Semibold" charset="0"/>
                    <a:cs typeface="Segoe UI Semibold" charset="0"/>
                  </a:rPr>
                  <a:t>0359A0</a:t>
                </a:r>
              </a:p>
            </p:txBody>
          </p:sp>
        </p:grpSp>
        <p:grpSp>
          <p:nvGrpSpPr>
            <p:cNvPr id="46" name="Group 45">
              <a:extLst>
                <a:ext uri="{FF2B5EF4-FFF2-40B4-BE49-F238E27FC236}">
                  <a16:creationId xmlns:a16="http://schemas.microsoft.com/office/drawing/2014/main" id="{B6F8C03F-B065-4D7E-A94A-2F3C1CB6E429}"/>
                </a:ext>
              </a:extLst>
            </p:cNvPr>
            <p:cNvGrpSpPr/>
            <p:nvPr userDrawn="1"/>
          </p:nvGrpSpPr>
          <p:grpSpPr>
            <a:xfrm rot="5400000">
              <a:off x="12749513" y="5928237"/>
              <a:ext cx="354531" cy="890209"/>
              <a:chOff x="12516569" y="100392"/>
              <a:chExt cx="354531" cy="890209"/>
            </a:xfrm>
          </p:grpSpPr>
          <p:sp>
            <p:nvSpPr>
              <p:cNvPr id="51" name="Rectangle 50"/>
              <p:cNvSpPr/>
              <p:nvPr userDrawn="1"/>
            </p:nvSpPr>
            <p:spPr>
              <a:xfrm rot="16200000">
                <a:off x="12225854" y="391107"/>
                <a:ext cx="890209" cy="308780"/>
              </a:xfrm>
              <a:prstGeom prst="rect">
                <a:avLst/>
              </a:pr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2" name="Content Placeholder 17"/>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121 G121 B121</a:t>
                </a:r>
                <a:br>
                  <a:rPr lang="en-US" sz="700" b="1" i="0">
                    <a:solidFill>
                      <a:schemeClr val="bg2"/>
                    </a:solidFill>
                    <a:latin typeface="Segoe UI Semibold" charset="0"/>
                    <a:ea typeface="Segoe UI Semibold" charset="0"/>
                    <a:cs typeface="Segoe UI Semibold" charset="0"/>
                  </a:rPr>
                </a:br>
                <a:r>
                  <a:rPr lang="fi-FI" sz="700" b="1" i="0">
                    <a:solidFill>
                      <a:schemeClr val="bg2"/>
                    </a:solidFill>
                    <a:latin typeface="Segoe UI Semibold" charset="0"/>
                    <a:ea typeface="Segoe UI Semibold" charset="0"/>
                    <a:cs typeface="Segoe UI Semibold" charset="0"/>
                  </a:rPr>
                  <a:t>797979</a:t>
                </a:r>
                <a:endParaRPr lang="en-US" sz="700" b="1" i="0">
                  <a:solidFill>
                    <a:schemeClr val="bg2"/>
                  </a:solidFill>
                  <a:latin typeface="Segoe UI Semibold" charset="0"/>
                  <a:ea typeface="Segoe UI Semibold" charset="0"/>
                  <a:cs typeface="Segoe UI Semibold" charset="0"/>
                </a:endParaRPr>
              </a:p>
            </p:txBody>
          </p:sp>
        </p:grpSp>
        <p:grpSp>
          <p:nvGrpSpPr>
            <p:cNvPr id="47" name="Group 46"/>
            <p:cNvGrpSpPr/>
            <p:nvPr userDrawn="1"/>
          </p:nvGrpSpPr>
          <p:grpSpPr>
            <a:xfrm>
              <a:off x="12481674" y="3709179"/>
              <a:ext cx="890209" cy="830046"/>
              <a:chOff x="12481674" y="2772369"/>
              <a:chExt cx="890209" cy="830046"/>
            </a:xfrm>
          </p:grpSpPr>
          <p:sp>
            <p:nvSpPr>
              <p:cNvPr id="49" name="Rectangle 48"/>
              <p:cNvSpPr/>
              <p:nvPr/>
            </p:nvSpPr>
            <p:spPr>
              <a:xfrm>
                <a:off x="12481674" y="2772369"/>
                <a:ext cx="890209" cy="830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50" name="Content Placeholder 17"/>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BACKGROUND 2</a:t>
                </a:r>
              </a:p>
              <a:p>
                <a:pPr>
                  <a:spcBef>
                    <a:spcPts val="0"/>
                  </a:spcBef>
                  <a:spcAft>
                    <a:spcPts val="0"/>
                  </a:spcAft>
                </a:pPr>
                <a:r>
                  <a:rPr lang="en-US" sz="700" b="1" i="0">
                    <a:solidFill>
                      <a:schemeClr val="tx2"/>
                    </a:solidFill>
                    <a:latin typeface="Segoe UI Semibold" charset="0"/>
                    <a:ea typeface="Segoe UI Semibold" charset="0"/>
                    <a:cs typeface="Segoe UI Semibold" charset="0"/>
                  </a:rPr>
                  <a:t>R233 G233 B233</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E9E9E9</a:t>
                </a:r>
              </a:p>
            </p:txBody>
          </p:sp>
        </p:grpSp>
        <p:sp>
          <p:nvSpPr>
            <p:cNvPr id="48" name="Content Placeholder 17"/>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Primary Colors</a:t>
              </a:r>
            </a:p>
          </p:txBody>
        </p:sp>
      </p:grpSp>
    </p:spTree>
    <p:extLst>
      <p:ext uri="{BB962C8B-B14F-4D97-AF65-F5344CB8AC3E}">
        <p14:creationId xmlns:p14="http://schemas.microsoft.com/office/powerpoint/2010/main" val="84879747"/>
      </p:ext>
    </p:extLst>
  </p:cSld>
  <p:clrMap bg1="dk1" tx1="lt1" bg2="dk2" tx2="lt2" accent1="accent1" accent2="accent2" accent3="accent3" accent4="accent4" accent5="accent5" accent6="accent6" hlink="hlink" folHlink="folHlink"/>
  <p:sldLayoutIdLst>
    <p:sldLayoutId id="2147483886" r:id="rId1"/>
  </p:sldLayoutIdLst>
  <p:hf sldNum="0" hdr="0" ftr="0" dt="0"/>
  <p:txStyles>
    <p:titleStyle>
      <a:lvl1pPr marL="0" indent="0" algn="l" defTabSz="914132" rtl="0" eaLnBrk="1" latinLnBrk="0" hangingPunct="1">
        <a:lnSpc>
          <a:spcPct val="90000"/>
        </a:lnSpc>
        <a:spcBef>
          <a:spcPct val="0"/>
        </a:spcBef>
        <a:buFont typeface="Arial" charset="0"/>
        <a:buNone/>
        <a:defRPr lang="en-US" sz="4400" b="1" i="0" kern="1200" spc="-100" baseline="0">
          <a:solidFill>
            <a:schemeClr val="tx1"/>
          </a:solidFill>
          <a:latin typeface="Segoe UI Semibold" charset="0"/>
          <a:ea typeface="Segoe UI Semibold" charset="0"/>
          <a:cs typeface="Segoe UI Semibold" charset="0"/>
        </a:defRPr>
      </a:lvl1pPr>
    </p:titleStyle>
    <p:bodyStyle>
      <a:lvl1pPr marL="0" indent="0" algn="l" defTabSz="914132" rtl="0" eaLnBrk="1" latinLnBrk="0" hangingPunct="1">
        <a:lnSpc>
          <a:spcPct val="110000"/>
        </a:lnSpc>
        <a:spcBef>
          <a:spcPts val="1200"/>
        </a:spcBef>
        <a:spcAft>
          <a:spcPts val="600"/>
        </a:spcAft>
        <a:buClr>
          <a:schemeClr val="bg1"/>
        </a:buClr>
        <a:buSzPct val="120000"/>
        <a:buFontTx/>
        <a:buNone/>
        <a:defRPr lang="en-US" sz="2800" b="1" i="0" kern="1200" dirty="0" smtClean="0">
          <a:solidFill>
            <a:schemeClr val="tx1"/>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132" rtl="0" eaLnBrk="1" latinLnBrk="0" hangingPunct="1">
        <a:defRPr sz="1900" kern="1200">
          <a:solidFill>
            <a:schemeClr val="tx1"/>
          </a:solidFill>
          <a:latin typeface="+mn-lt"/>
          <a:ea typeface="+mn-ea"/>
          <a:cs typeface="+mn-cs"/>
        </a:defRPr>
      </a:lvl1pPr>
      <a:lvl2pPr marL="457065" algn="l" defTabSz="914132" rtl="0" eaLnBrk="1" latinLnBrk="0" hangingPunct="1">
        <a:defRPr sz="1900" kern="1200">
          <a:solidFill>
            <a:schemeClr val="tx1"/>
          </a:solidFill>
          <a:latin typeface="+mn-lt"/>
          <a:ea typeface="+mn-ea"/>
          <a:cs typeface="+mn-cs"/>
        </a:defRPr>
      </a:lvl2pPr>
      <a:lvl3pPr marL="914132" algn="l" defTabSz="914132" rtl="0" eaLnBrk="1" latinLnBrk="0" hangingPunct="1">
        <a:defRPr sz="1900" kern="1200">
          <a:solidFill>
            <a:schemeClr val="tx1"/>
          </a:solidFill>
          <a:latin typeface="+mn-lt"/>
          <a:ea typeface="+mn-ea"/>
          <a:cs typeface="+mn-cs"/>
        </a:defRPr>
      </a:lvl3pPr>
      <a:lvl4pPr marL="1371197" algn="l" defTabSz="914132" rtl="0" eaLnBrk="1" latinLnBrk="0" hangingPunct="1">
        <a:defRPr sz="1900" kern="1200">
          <a:solidFill>
            <a:schemeClr val="tx1"/>
          </a:solidFill>
          <a:latin typeface="+mn-lt"/>
          <a:ea typeface="+mn-ea"/>
          <a:cs typeface="+mn-cs"/>
        </a:defRPr>
      </a:lvl4pPr>
      <a:lvl5pPr marL="1828262" algn="l" defTabSz="914132" rtl="0" eaLnBrk="1" latinLnBrk="0" hangingPunct="1">
        <a:defRPr sz="1900" kern="1200">
          <a:solidFill>
            <a:schemeClr val="tx1"/>
          </a:solidFill>
          <a:latin typeface="+mn-lt"/>
          <a:ea typeface="+mn-ea"/>
          <a:cs typeface="+mn-cs"/>
        </a:defRPr>
      </a:lvl5pPr>
      <a:lvl6pPr marL="2285328" algn="l" defTabSz="914132" rtl="0" eaLnBrk="1" latinLnBrk="0" hangingPunct="1">
        <a:defRPr sz="1900" kern="1200">
          <a:solidFill>
            <a:schemeClr val="tx1"/>
          </a:solidFill>
          <a:latin typeface="+mn-lt"/>
          <a:ea typeface="+mn-ea"/>
          <a:cs typeface="+mn-cs"/>
        </a:defRPr>
      </a:lvl6pPr>
      <a:lvl7pPr marL="2742394" algn="l" defTabSz="914132" rtl="0" eaLnBrk="1" latinLnBrk="0" hangingPunct="1">
        <a:defRPr sz="1900" kern="1200">
          <a:solidFill>
            <a:schemeClr val="tx1"/>
          </a:solidFill>
          <a:latin typeface="+mn-lt"/>
          <a:ea typeface="+mn-ea"/>
          <a:cs typeface="+mn-cs"/>
        </a:defRPr>
      </a:lvl7pPr>
      <a:lvl8pPr marL="3199459" algn="l" defTabSz="914132" rtl="0" eaLnBrk="1" latinLnBrk="0" hangingPunct="1">
        <a:defRPr sz="1900" kern="1200">
          <a:solidFill>
            <a:schemeClr val="tx1"/>
          </a:solidFill>
          <a:latin typeface="+mn-lt"/>
          <a:ea typeface="+mn-ea"/>
          <a:cs typeface="+mn-cs"/>
        </a:defRPr>
      </a:lvl8pPr>
      <a:lvl9pPr marL="3656524" algn="l" defTabSz="914132"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392">
          <p15:clr>
            <a:srgbClr val="F26B43"/>
          </p15:clr>
        </p15:guide>
        <p15:guide id="3" orient="horz" pos="288">
          <p15:clr>
            <a:srgbClr val="F26B43"/>
          </p15:clr>
        </p15:guide>
        <p15:guide id="4" orient="horz" pos="3840">
          <p15:clr>
            <a:srgbClr val="F26B43"/>
          </p15:clr>
        </p15:guide>
        <p15:guide id="7" pos="744">
          <p15:clr>
            <a:srgbClr val="C35EA4"/>
          </p15:clr>
        </p15:guide>
        <p15:guide id="8" pos="1176">
          <p15:clr>
            <a:srgbClr val="C35EA4"/>
          </p15:clr>
        </p15:guide>
        <p15:guide id="10" pos="1632">
          <p15:clr>
            <a:srgbClr val="C35EA4"/>
          </p15:clr>
        </p15:guide>
        <p15:guide id="13" pos="2520">
          <p15:clr>
            <a:srgbClr val="C35EA4"/>
          </p15:clr>
        </p15:guide>
        <p15:guide id="15" pos="2952">
          <p15:clr>
            <a:srgbClr val="C35EA4"/>
          </p15:clr>
        </p15:guide>
        <p15:guide id="16" pos="3408">
          <p15:clr>
            <a:srgbClr val="C35EA4"/>
          </p15:clr>
        </p15:guide>
        <p15:guide id="20" pos="4296">
          <p15:clr>
            <a:srgbClr val="C35EA4"/>
          </p15:clr>
        </p15:guide>
        <p15:guide id="22" pos="4728">
          <p15:clr>
            <a:srgbClr val="C35EA4"/>
          </p15:clr>
        </p15:guide>
        <p15:guide id="23" pos="5184">
          <p15:clr>
            <a:srgbClr val="C35EA4"/>
          </p15:clr>
        </p15:guide>
        <p15:guide id="24" pos="5616">
          <p15:clr>
            <a:srgbClr val="C35EA4"/>
          </p15:clr>
        </p15:guide>
        <p15:guide id="25" pos="6048">
          <p15:clr>
            <a:srgbClr val="C35EA4"/>
          </p15:clr>
        </p15:guide>
        <p15:guide id="28" pos="6504">
          <p15:clr>
            <a:srgbClr val="C35EA4"/>
          </p15:clr>
        </p15:guide>
        <p15:guide id="30" pos="6936">
          <p15:clr>
            <a:srgbClr val="C35EA4"/>
          </p15:clr>
        </p15:guide>
        <p15:guide id="32" pos="2064">
          <p15:clr>
            <a:srgbClr val="C35EA4"/>
          </p15:clr>
        </p15:guide>
        <p15:guide id="33" pos="3840">
          <p15:clr>
            <a:srgbClr val="C35EA4"/>
          </p15:clr>
        </p15:guide>
        <p15:guide id="38" orient="horz" pos="744">
          <p15:clr>
            <a:srgbClr val="F26B43"/>
          </p15:clr>
        </p15:guide>
        <p15:guide id="40" orient="horz" pos="1176">
          <p15:clr>
            <a:srgbClr val="F26B43"/>
          </p15:clr>
        </p15:guide>
        <p15:guide id="41" orient="horz" pos="1632">
          <p15:clr>
            <a:srgbClr val="F26B43"/>
          </p15:clr>
        </p15:guide>
        <p15:guide id="42" orient="horz" pos="2064">
          <p15:clr>
            <a:srgbClr val="F26B43"/>
          </p15:clr>
        </p15:guide>
        <p15:guide id="45" orient="horz" pos="2520">
          <p15:clr>
            <a:srgbClr val="F26B43"/>
          </p15:clr>
        </p15:guide>
        <p15:guide id="46" orient="horz" pos="2952">
          <p15:clr>
            <a:srgbClr val="F26B43"/>
          </p15:clr>
        </p15:guide>
        <p15:guide id="47" orient="horz" pos="4272">
          <p15:clr>
            <a:srgbClr val="F26B43"/>
          </p15:clr>
        </p15:guide>
        <p15:guide id="48" orient="horz" pos="3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57.jpg"/></Relationships>
</file>

<file path=ppt/slides/_rels/slide10.xml.rels><?xml version="1.0" encoding="UTF-8" standalone="yes"?>
<Relationships xmlns="http://schemas.openxmlformats.org/package/2006/relationships"><Relationship Id="rId8" Type="http://schemas.openxmlformats.org/officeDocument/2006/relationships/hyperlink" Target="https://www.datadoghq.com/docker-adoption/index.html" TargetMode="External"/><Relationship Id="rId3" Type="http://schemas.openxmlformats.org/officeDocument/2006/relationships/chart" Target="../charts/chart1.xml"/><Relationship Id="rId7" Type="http://schemas.openxmlformats.org/officeDocument/2006/relationships/image" Target="../media/image60.png"/><Relationship Id="rId2" Type="http://schemas.openxmlformats.org/officeDocument/2006/relationships/notesSlide" Target="../notesSlides/notesSlide10.xml"/><Relationship Id="rId1" Type="http://schemas.openxmlformats.org/officeDocument/2006/relationships/slideLayout" Target="../slideLayouts/slideLayout41.xml"/><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chart" Target="../charts/chart2.xml"/><Relationship Id="rId9" Type="http://schemas.openxmlformats.org/officeDocument/2006/relationships/hyperlink" Target="https://www.cncf.io/blog/2017/12/06/cloud-native-technologies-scaling-production-applications/"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7.xml"/></Relationships>
</file>

<file path=ppt/slides/_rels/slide1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3.xml"/><Relationship Id="rId1" Type="http://schemas.openxmlformats.org/officeDocument/2006/relationships/slideLayout" Target="../slideLayouts/slideLayout67.xml"/><Relationship Id="rId4" Type="http://schemas.openxmlformats.org/officeDocument/2006/relationships/image" Target="../media/image62.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7.xml"/></Relationships>
</file>

<file path=ppt/slides/_rels/slide1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15.xml"/><Relationship Id="rId1" Type="http://schemas.openxmlformats.org/officeDocument/2006/relationships/slideLayout" Target="../slideLayouts/slideLayout67.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64.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19.xml"/><Relationship Id="rId1" Type="http://schemas.openxmlformats.org/officeDocument/2006/relationships/slideLayout" Target="../slideLayouts/slideLayout45.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3" Type="http://schemas.openxmlformats.org/officeDocument/2006/relationships/image" Target="../media/image75.png"/><Relationship Id="rId7" Type="http://schemas.openxmlformats.org/officeDocument/2006/relationships/image" Target="../media/image79.png"/><Relationship Id="rId12" Type="http://schemas.openxmlformats.org/officeDocument/2006/relationships/image" Target="../media/image84.png"/><Relationship Id="rId2" Type="http://schemas.openxmlformats.org/officeDocument/2006/relationships/notesSlide" Target="../notesSlides/notesSlide20.xml"/><Relationship Id="rId1" Type="http://schemas.openxmlformats.org/officeDocument/2006/relationships/slideLayout" Target="../slideLayouts/slideLayout45.xml"/><Relationship Id="rId6" Type="http://schemas.openxmlformats.org/officeDocument/2006/relationships/image" Target="../media/image78.svg"/><Relationship Id="rId11" Type="http://schemas.openxmlformats.org/officeDocument/2006/relationships/image" Target="../media/image83.png"/><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svg"/><Relationship Id="rId9" Type="http://schemas.openxmlformats.org/officeDocument/2006/relationships/image" Target="../media/image81.png"/></Relationships>
</file>

<file path=ppt/slides/_rels/slide2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1.xml"/><Relationship Id="rId1" Type="http://schemas.openxmlformats.org/officeDocument/2006/relationships/slideLayout" Target="../slideLayouts/slideLayout68.xml"/></Relationships>
</file>

<file path=ppt/slides/_rels/slide22.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image" Target="../media/image87.png"/><Relationship Id="rId7" Type="http://schemas.openxmlformats.org/officeDocument/2006/relationships/image" Target="../media/image91.png"/><Relationship Id="rId2" Type="http://schemas.openxmlformats.org/officeDocument/2006/relationships/notesSlide" Target="../notesSlides/notesSlide22.xml"/><Relationship Id="rId1" Type="http://schemas.openxmlformats.org/officeDocument/2006/relationships/slideLayout" Target="../slideLayouts/slideLayout67.xml"/><Relationship Id="rId6" Type="http://schemas.openxmlformats.org/officeDocument/2006/relationships/image" Target="../media/image90.svg"/><Relationship Id="rId5" Type="http://schemas.openxmlformats.org/officeDocument/2006/relationships/image" Target="../media/image89.png"/><Relationship Id="rId4" Type="http://schemas.openxmlformats.org/officeDocument/2006/relationships/image" Target="../media/image88.sv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5.xml"/></Relationships>
</file>

<file path=ppt/slides/_rels/slide24.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24.xml"/><Relationship Id="rId1" Type="http://schemas.openxmlformats.org/officeDocument/2006/relationships/slideLayout" Target="../slideLayouts/slideLayout83.xml"/><Relationship Id="rId6" Type="http://schemas.openxmlformats.org/officeDocument/2006/relationships/image" Target="../media/image96.svg"/><Relationship Id="rId5" Type="http://schemas.openxmlformats.org/officeDocument/2006/relationships/image" Target="../media/image95.png"/><Relationship Id="rId4" Type="http://schemas.openxmlformats.org/officeDocument/2006/relationships/image" Target="../media/image94.svg"/></Relationships>
</file>

<file path=ppt/slides/_rels/slide25.xml.rels><?xml version="1.0" encoding="UTF-8" standalone="yes"?>
<Relationships xmlns="http://schemas.openxmlformats.org/package/2006/relationships"><Relationship Id="rId3" Type="http://schemas.openxmlformats.org/officeDocument/2006/relationships/image" Target="../media/image99.tiff"/><Relationship Id="rId2" Type="http://schemas.openxmlformats.org/officeDocument/2006/relationships/notesSlide" Target="../notesSlides/notesSlide25.xml"/><Relationship Id="rId1" Type="http://schemas.openxmlformats.org/officeDocument/2006/relationships/slideLayout" Target="../slideLayouts/slideLayout83.xml"/><Relationship Id="rId4" Type="http://schemas.openxmlformats.org/officeDocument/2006/relationships/image" Target="../media/image100.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3.xml"/></Relationships>
</file>

<file path=ppt/slides/_rels/slide29.xml.rels><?xml version="1.0" encoding="UTF-8" standalone="yes"?>
<Relationships xmlns="http://schemas.openxmlformats.org/package/2006/relationships"><Relationship Id="rId8" Type="http://schemas.openxmlformats.org/officeDocument/2006/relationships/image" Target="../media/image106.svg"/><Relationship Id="rId13" Type="http://schemas.openxmlformats.org/officeDocument/2006/relationships/image" Target="../media/image111.png"/><Relationship Id="rId18" Type="http://schemas.openxmlformats.org/officeDocument/2006/relationships/image" Target="../media/image116.png"/><Relationship Id="rId3" Type="http://schemas.openxmlformats.org/officeDocument/2006/relationships/image" Target="../media/image101.png"/><Relationship Id="rId21" Type="http://schemas.openxmlformats.org/officeDocument/2006/relationships/image" Target="../media/image119.png"/><Relationship Id="rId7" Type="http://schemas.openxmlformats.org/officeDocument/2006/relationships/image" Target="../media/image105.png"/><Relationship Id="rId12" Type="http://schemas.openxmlformats.org/officeDocument/2006/relationships/image" Target="../media/image110.svg"/><Relationship Id="rId17" Type="http://schemas.openxmlformats.org/officeDocument/2006/relationships/image" Target="../media/image115.png"/><Relationship Id="rId2" Type="http://schemas.openxmlformats.org/officeDocument/2006/relationships/notesSlide" Target="../notesSlides/notesSlide29.xml"/><Relationship Id="rId16" Type="http://schemas.openxmlformats.org/officeDocument/2006/relationships/image" Target="../media/image114.svg"/><Relationship Id="rId20" Type="http://schemas.openxmlformats.org/officeDocument/2006/relationships/image" Target="../media/image118.svg"/><Relationship Id="rId1" Type="http://schemas.openxmlformats.org/officeDocument/2006/relationships/slideLayout" Target="../slideLayouts/slideLayout99.xml"/><Relationship Id="rId6" Type="http://schemas.openxmlformats.org/officeDocument/2006/relationships/image" Target="../media/image104.svg"/><Relationship Id="rId11" Type="http://schemas.openxmlformats.org/officeDocument/2006/relationships/image" Target="../media/image109.png"/><Relationship Id="rId5" Type="http://schemas.openxmlformats.org/officeDocument/2006/relationships/image" Target="../media/image103.png"/><Relationship Id="rId15" Type="http://schemas.openxmlformats.org/officeDocument/2006/relationships/image" Target="../media/image113.png"/><Relationship Id="rId23" Type="http://schemas.openxmlformats.org/officeDocument/2006/relationships/image" Target="../media/image121.svg"/><Relationship Id="rId10" Type="http://schemas.openxmlformats.org/officeDocument/2006/relationships/image" Target="../media/image108.svg"/><Relationship Id="rId19" Type="http://schemas.openxmlformats.org/officeDocument/2006/relationships/image" Target="../media/image117.png"/><Relationship Id="rId4" Type="http://schemas.openxmlformats.org/officeDocument/2006/relationships/image" Target="../media/image102.svg"/><Relationship Id="rId9" Type="http://schemas.openxmlformats.org/officeDocument/2006/relationships/image" Target="../media/image107.png"/><Relationship Id="rId14" Type="http://schemas.openxmlformats.org/officeDocument/2006/relationships/image" Target="../media/image112.svg"/><Relationship Id="rId22" Type="http://schemas.openxmlformats.org/officeDocument/2006/relationships/image" Target="../media/image12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5.xml"/></Relationships>
</file>

<file path=ppt/slides/_rels/slide30.xml.rels><?xml version="1.0" encoding="UTF-8" standalone="yes"?>
<Relationships xmlns="http://schemas.openxmlformats.org/package/2006/relationships"><Relationship Id="rId8" Type="http://schemas.openxmlformats.org/officeDocument/2006/relationships/image" Target="../media/image121.svg"/><Relationship Id="rId3" Type="http://schemas.openxmlformats.org/officeDocument/2006/relationships/image" Target="../media/image122.png"/><Relationship Id="rId7" Type="http://schemas.openxmlformats.org/officeDocument/2006/relationships/image" Target="../media/image120.png"/><Relationship Id="rId2" Type="http://schemas.openxmlformats.org/officeDocument/2006/relationships/notesSlide" Target="../notesSlides/notesSlide30.xml"/><Relationship Id="rId1" Type="http://schemas.openxmlformats.org/officeDocument/2006/relationships/slideLayout" Target="../slideLayouts/slideLayout99.xml"/><Relationship Id="rId6" Type="http://schemas.openxmlformats.org/officeDocument/2006/relationships/image" Target="../media/image118.svg"/><Relationship Id="rId5" Type="http://schemas.openxmlformats.org/officeDocument/2006/relationships/image" Target="../media/image117.png"/><Relationship Id="rId4" Type="http://schemas.openxmlformats.org/officeDocument/2006/relationships/image" Target="../media/image123.svg"/></Relationships>
</file>

<file path=ppt/slides/_rels/slide31.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4.png"/><Relationship Id="rId7" Type="http://schemas.microsoft.com/office/2007/relationships/hdphoto" Target="../media/hdphoto2.wdp"/><Relationship Id="rId2" Type="http://schemas.openxmlformats.org/officeDocument/2006/relationships/notesSlide" Target="../notesSlides/notesSlide31.xml"/><Relationship Id="rId1" Type="http://schemas.openxmlformats.org/officeDocument/2006/relationships/slideLayout" Target="../slideLayouts/slideLayout99.xml"/><Relationship Id="rId6" Type="http://schemas.openxmlformats.org/officeDocument/2006/relationships/image" Target="../media/image127.png"/><Relationship Id="rId11" Type="http://schemas.openxmlformats.org/officeDocument/2006/relationships/image" Target="../media/image123.svg"/><Relationship Id="rId5" Type="http://schemas.openxmlformats.org/officeDocument/2006/relationships/image" Target="../media/image126.svg"/><Relationship Id="rId10" Type="http://schemas.openxmlformats.org/officeDocument/2006/relationships/image" Target="../media/image122.png"/><Relationship Id="rId4" Type="http://schemas.openxmlformats.org/officeDocument/2006/relationships/image" Target="../media/image125.png"/><Relationship Id="rId9" Type="http://schemas.microsoft.com/office/2007/relationships/hdphoto" Target="../media/hdphoto3.wdp"/></Relationships>
</file>

<file path=ppt/slides/_rels/slide32.xml.rels><?xml version="1.0" encoding="UTF-8" standalone="yes"?>
<Relationships xmlns="http://schemas.openxmlformats.org/package/2006/relationships"><Relationship Id="rId8" Type="http://schemas.openxmlformats.org/officeDocument/2006/relationships/image" Target="../media/image134.svg"/><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32.xml"/><Relationship Id="rId1" Type="http://schemas.openxmlformats.org/officeDocument/2006/relationships/slideLayout" Target="../slideLayouts/slideLayout95.xml"/><Relationship Id="rId6" Type="http://schemas.openxmlformats.org/officeDocument/2006/relationships/image" Target="../media/image132.svg"/><Relationship Id="rId5" Type="http://schemas.openxmlformats.org/officeDocument/2006/relationships/image" Target="../media/image131.png"/><Relationship Id="rId10" Type="http://schemas.openxmlformats.org/officeDocument/2006/relationships/image" Target="../media/image136.svg"/><Relationship Id="rId4" Type="http://schemas.openxmlformats.org/officeDocument/2006/relationships/image" Target="../media/image130.svg"/><Relationship Id="rId9" Type="http://schemas.openxmlformats.org/officeDocument/2006/relationships/image" Target="../media/image135.png"/></Relationships>
</file>

<file path=ppt/slides/_rels/slide33.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3.xml"/><Relationship Id="rId1" Type="http://schemas.openxmlformats.org/officeDocument/2006/relationships/slideLayout" Target="../slideLayouts/slideLayout298.xml"/><Relationship Id="rId6" Type="http://schemas.openxmlformats.org/officeDocument/2006/relationships/image" Target="../media/image140.svg"/><Relationship Id="rId5" Type="http://schemas.openxmlformats.org/officeDocument/2006/relationships/image" Target="../media/image139.png"/><Relationship Id="rId4" Type="http://schemas.openxmlformats.org/officeDocument/2006/relationships/image" Target="../media/image138.png"/></Relationships>
</file>

<file path=ppt/slides/_rels/slide34.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7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7.xml"/></Relationships>
</file>

<file path=ppt/slides/_rels/slide9.xml.rels><?xml version="1.0" encoding="UTF-8" standalone="yes"?>
<Relationships xmlns="http://schemas.openxmlformats.org/package/2006/relationships"><Relationship Id="rId3" Type="http://schemas.openxmlformats.org/officeDocument/2006/relationships/hyperlink" Target="https://www.datadoghq.com/docker-adoption/index.html" TargetMode="External"/><Relationship Id="rId2" Type="http://schemas.openxmlformats.org/officeDocument/2006/relationships/notesSlide" Target="../notesSlides/notesSlide9.xml"/><Relationship Id="rId1" Type="http://schemas.openxmlformats.org/officeDocument/2006/relationships/slideLayout" Target="../slideLayouts/slideLayout41.xml"/><Relationship Id="rId4" Type="http://schemas.openxmlformats.org/officeDocument/2006/relationships/hyperlink" Target="https://puppet.com/resources/whitepaper/state-of-devops-repor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A304928-0F5A-4725-A164-3CEEC03A4BE0}"/>
              </a:ext>
            </a:extLst>
          </p:cNvPr>
          <p:cNvSpPr txBox="1"/>
          <p:nvPr/>
        </p:nvSpPr>
        <p:spPr>
          <a:xfrm>
            <a:off x="5014055" y="4527443"/>
            <a:ext cx="2402430" cy="307777"/>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2000">
                <a:solidFill>
                  <a:schemeClr val="bg1"/>
                </a:solidFill>
              </a:rPr>
              <a:t>#</a:t>
            </a:r>
            <a:r>
              <a:rPr lang="en-US" sz="2000" err="1">
                <a:solidFill>
                  <a:schemeClr val="bg1"/>
                </a:solidFill>
              </a:rPr>
              <a:t>Azuredevdays</a:t>
            </a:r>
            <a:endParaRPr lang="en-US" sz="2000">
              <a:solidFill>
                <a:schemeClr val="bg1"/>
              </a:solidFill>
            </a:endParaRPr>
          </a:p>
        </p:txBody>
      </p:sp>
      <p:sp>
        <p:nvSpPr>
          <p:cNvPr id="3" name="TextBox 2">
            <a:extLst>
              <a:ext uri="{FF2B5EF4-FFF2-40B4-BE49-F238E27FC236}">
                <a16:creationId xmlns:a16="http://schemas.microsoft.com/office/drawing/2014/main" id="{DA3A6571-265C-4622-B7E7-2763AA4E9195}"/>
              </a:ext>
            </a:extLst>
          </p:cNvPr>
          <p:cNvSpPr txBox="1"/>
          <p:nvPr/>
        </p:nvSpPr>
        <p:spPr>
          <a:xfrm>
            <a:off x="7491350" y="140189"/>
            <a:ext cx="4771306" cy="1037207"/>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bg1"/>
                </a:solidFill>
              </a:rPr>
              <a:t>Content: aka.ms/</a:t>
            </a:r>
            <a:r>
              <a:rPr lang="en-US" sz="2400" dirty="0" err="1">
                <a:solidFill>
                  <a:schemeClr val="bg1"/>
                </a:solidFill>
              </a:rPr>
              <a:t>omahadevdays</a:t>
            </a:r>
            <a:endParaRPr lang="en-US" sz="2400" dirty="0">
              <a:solidFill>
                <a:schemeClr val="bg1"/>
              </a:solidFill>
            </a:endParaRPr>
          </a:p>
          <a:p>
            <a:pPr>
              <a:lnSpc>
                <a:spcPct val="90000"/>
              </a:lnSpc>
              <a:spcAft>
                <a:spcPts val="600"/>
              </a:spcAft>
            </a:pPr>
            <a:r>
              <a:rPr lang="en-US" sz="2400" dirty="0">
                <a:solidFill>
                  <a:schemeClr val="bg1"/>
                </a:solidFill>
              </a:rPr>
              <a:t>Survey: aka.ms/</a:t>
            </a:r>
            <a:r>
              <a:rPr lang="en-US" sz="2400" dirty="0" err="1">
                <a:solidFill>
                  <a:schemeClr val="bg1"/>
                </a:solidFill>
              </a:rPr>
              <a:t>ncrdevdayssurvey</a:t>
            </a:r>
            <a:endParaRPr lang="en-US" sz="1400" dirty="0">
              <a:solidFill>
                <a:schemeClr val="bg1"/>
              </a:solidFill>
            </a:endParaRPr>
          </a:p>
        </p:txBody>
      </p:sp>
      <p:pic>
        <p:nvPicPr>
          <p:cNvPr id="4" name="Picture 3" descr="A close up of a sign&#10;&#10;Description automatically generated">
            <a:extLst>
              <a:ext uri="{FF2B5EF4-FFF2-40B4-BE49-F238E27FC236}">
                <a16:creationId xmlns:a16="http://schemas.microsoft.com/office/drawing/2014/main" id="{B86F27E3-D0CD-4D6A-B365-7ECABEE047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563" y="5706662"/>
            <a:ext cx="3142946" cy="817166"/>
          </a:xfrm>
          <a:prstGeom prst="rect">
            <a:avLst/>
          </a:prstGeom>
        </p:spPr>
      </p:pic>
      <p:pic>
        <p:nvPicPr>
          <p:cNvPr id="5" name="Picture 4" descr="A picture containing clipart&#10;&#10;Description automatically generated">
            <a:extLst>
              <a:ext uri="{FF2B5EF4-FFF2-40B4-BE49-F238E27FC236}">
                <a16:creationId xmlns:a16="http://schemas.microsoft.com/office/drawing/2014/main" id="{67783CE1-37BA-4347-BE39-196566A01DF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9589" y="4789000"/>
            <a:ext cx="1872384" cy="895693"/>
          </a:xfrm>
          <a:prstGeom prst="rect">
            <a:avLst/>
          </a:prstGeom>
        </p:spPr>
      </p:pic>
    </p:spTree>
    <p:extLst>
      <p:ext uri="{BB962C8B-B14F-4D97-AF65-F5344CB8AC3E}">
        <p14:creationId xmlns:p14="http://schemas.microsoft.com/office/powerpoint/2010/main" val="65329486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6">
            <a:extLst>
              <a:ext uri="{FF2B5EF4-FFF2-40B4-BE49-F238E27FC236}">
                <a16:creationId xmlns:a16="http://schemas.microsoft.com/office/drawing/2014/main" id="{25BDE386-8551-407F-9D11-05D3620181B4}"/>
              </a:ext>
            </a:extLst>
          </p:cNvPr>
          <p:cNvSpPr txBox="1">
            <a:spLocks/>
          </p:cNvSpPr>
          <p:nvPr/>
        </p:nvSpPr>
        <p:spPr>
          <a:xfrm>
            <a:off x="588263" y="217501"/>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Light" panose="020B0502040204020203" pitchFamily="34" charset="0"/>
                <a:ea typeface="+mn-ea"/>
                <a:cs typeface="Segoe UI Light" panose="020B0502040204020203" pitchFamily="34" charset="0"/>
              </a:rPr>
              <a:t>Containers </a:t>
            </a:r>
            <a:r>
              <a:rPr kumimoji="0" lang="en-US" sz="3600" b="0" i="0" u="none" strike="noStrike" kern="1200" cap="none" spc="-50" normalizeH="0" baseline="0" noProof="0">
                <a:ln w="3175">
                  <a:noFill/>
                </a:ln>
                <a:solidFill>
                  <a:srgbClr val="0078D4"/>
                </a:solidFill>
                <a:effectLst/>
                <a:uLnTx/>
                <a:uFillTx/>
                <a:latin typeface="Segoe UI Semibold" panose="020B0702040204020203" pitchFamily="34" charset="0"/>
                <a:ea typeface="+mn-ea"/>
                <a:cs typeface="Segoe UI Semibold" panose="020B0702040204020203" pitchFamily="34" charset="0"/>
              </a:rPr>
              <a:t>momentum</a:t>
            </a:r>
          </a:p>
        </p:txBody>
      </p:sp>
      <p:grpSp>
        <p:nvGrpSpPr>
          <p:cNvPr id="17" name="Group 16">
            <a:extLst>
              <a:ext uri="{FF2B5EF4-FFF2-40B4-BE49-F238E27FC236}">
                <a16:creationId xmlns:a16="http://schemas.microsoft.com/office/drawing/2014/main" id="{27B84F3E-7035-4D9B-9EF4-270F65C7DB45}"/>
              </a:ext>
            </a:extLst>
          </p:cNvPr>
          <p:cNvGrpSpPr/>
          <p:nvPr/>
        </p:nvGrpSpPr>
        <p:grpSpPr>
          <a:xfrm>
            <a:off x="6079590" y="3942086"/>
            <a:ext cx="5329280" cy="2288272"/>
            <a:chOff x="6096000" y="3841086"/>
            <a:chExt cx="5329280" cy="2288272"/>
          </a:xfrm>
        </p:grpSpPr>
        <p:sp>
          <p:nvSpPr>
            <p:cNvPr id="38" name="Rectangle 37">
              <a:extLst>
                <a:ext uri="{FF2B5EF4-FFF2-40B4-BE49-F238E27FC236}">
                  <a16:creationId xmlns:a16="http://schemas.microsoft.com/office/drawing/2014/main" id="{050DE615-DD93-4112-9B5E-84ED254DC054}"/>
                </a:ext>
              </a:extLst>
            </p:cNvPr>
            <p:cNvSpPr/>
            <p:nvPr/>
          </p:nvSpPr>
          <p:spPr bwMode="auto">
            <a:xfrm>
              <a:off x="6096000" y="3841086"/>
              <a:ext cx="5313113" cy="2288272"/>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err="1">
                <a:ln>
                  <a:noFill/>
                </a:ln>
                <a:solidFill>
                  <a:srgbClr val="505050"/>
                </a:solidFill>
                <a:effectLst/>
                <a:uLnTx/>
                <a:uFillTx/>
                <a:latin typeface="Segoe UI"/>
                <a:ea typeface="+mn-ea"/>
                <a:cs typeface="Segoe UI" pitchFamily="34" charset="0"/>
              </a:endParaRPr>
            </a:p>
          </p:txBody>
        </p:sp>
        <p:graphicFrame>
          <p:nvGraphicFramePr>
            <p:cNvPr id="39" name="Chart 38">
              <a:extLst>
                <a:ext uri="{FF2B5EF4-FFF2-40B4-BE49-F238E27FC236}">
                  <a16:creationId xmlns:a16="http://schemas.microsoft.com/office/drawing/2014/main" id="{C23C8A72-ED16-4054-8D55-E9160EFAB4B3}"/>
                </a:ext>
              </a:extLst>
            </p:cNvPr>
            <p:cNvGraphicFramePr/>
            <p:nvPr>
              <p:extLst/>
            </p:nvPr>
          </p:nvGraphicFramePr>
          <p:xfrm>
            <a:off x="9181735" y="3968521"/>
            <a:ext cx="2243545" cy="1914995"/>
          </p:xfrm>
          <a:graphic>
            <a:graphicData uri="http://schemas.openxmlformats.org/drawingml/2006/chart">
              <c:chart xmlns:c="http://schemas.openxmlformats.org/drawingml/2006/chart" xmlns:r="http://schemas.openxmlformats.org/officeDocument/2006/relationships" r:id="rId3"/>
            </a:graphicData>
          </a:graphic>
        </p:graphicFrame>
        <p:sp>
          <p:nvSpPr>
            <p:cNvPr id="40" name="Rectangle 39">
              <a:extLst>
                <a:ext uri="{FF2B5EF4-FFF2-40B4-BE49-F238E27FC236}">
                  <a16:creationId xmlns:a16="http://schemas.microsoft.com/office/drawing/2014/main" id="{1C5D5880-0EBC-45C8-AEAA-CD534E6FBE80}"/>
                </a:ext>
              </a:extLst>
            </p:cNvPr>
            <p:cNvSpPr/>
            <p:nvPr/>
          </p:nvSpPr>
          <p:spPr>
            <a:xfrm>
              <a:off x="6477810" y="5187549"/>
              <a:ext cx="2125331" cy="64633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Nearly </a:t>
              </a:r>
              <a: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50%</a:t>
              </a:r>
              <a:r>
                <a:rPr kumimoji="0" lang="en-US" sz="12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 </a:t>
              </a:r>
              <a:r>
                <a:rPr kumimoji="0" lang="en-US" sz="1200" b="0" i="0" u="none" strike="noStrike" kern="1200" cap="none" spc="0" normalizeH="0" baseline="0" noProof="0">
                  <a:ln>
                    <a:noFill/>
                  </a:ln>
                  <a:solidFill>
                    <a:srgbClr val="000000"/>
                  </a:solidFill>
                  <a:effectLst/>
                  <a:uLnTx/>
                  <a:uFillTx/>
                  <a:latin typeface="Segoe UI"/>
                  <a:ea typeface="+mn-ea"/>
                  <a:cs typeface="+mn-cs"/>
                </a:rPr>
                <a:t>of organizations</a:t>
              </a:r>
              <a:r>
                <a:rPr kumimoji="0" lang="en-US" sz="1200" b="0" i="0" u="none" strike="noStrike" kern="1200" cap="none" spc="0" normalizeH="0" baseline="3000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1</a:t>
              </a:r>
              <a:r>
                <a:rPr kumimoji="0" lang="en-US" sz="1200" b="0" i="0" u="none" strike="noStrike" kern="1200" cap="none" spc="0" normalizeH="0" baseline="0" noProof="0">
                  <a:ln>
                    <a:noFill/>
                  </a:ln>
                  <a:solidFill>
                    <a:srgbClr val="000000"/>
                  </a:solidFill>
                  <a:effectLst/>
                  <a:uLnTx/>
                  <a:uFillTx/>
                  <a:latin typeface="Segoe UI"/>
                  <a:ea typeface="+mn-ea"/>
                  <a:cs typeface="+mn-cs"/>
                </a:rPr>
                <a:t> running 1000 or more hosts have adopted containers.</a:t>
              </a:r>
            </a:p>
          </p:txBody>
        </p:sp>
        <p:sp>
          <p:nvSpPr>
            <p:cNvPr id="41" name="TextBox 40">
              <a:extLst>
                <a:ext uri="{FF2B5EF4-FFF2-40B4-BE49-F238E27FC236}">
                  <a16:creationId xmlns:a16="http://schemas.microsoft.com/office/drawing/2014/main" id="{2446F351-DBEE-4ED4-A0CE-3C57522C8643}"/>
                </a:ext>
              </a:extLst>
            </p:cNvPr>
            <p:cNvSpPr txBox="1"/>
            <p:nvPr/>
          </p:nvSpPr>
          <p:spPr>
            <a:xfrm>
              <a:off x="6477810" y="4124808"/>
              <a:ext cx="2052450" cy="747897"/>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Larger companies</a:t>
              </a:r>
              <a:b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re leading the</a:t>
              </a:r>
              <a:b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doption.</a:t>
              </a:r>
              <a:r>
                <a:rPr kumimoji="0" lang="en-US" sz="1800" b="0" i="0" u="none" strike="noStrike" kern="1200" cap="none" spc="0" normalizeH="0" baseline="3000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1</a:t>
              </a:r>
              <a:endPar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42" name="Rectangle 41">
              <a:extLst>
                <a:ext uri="{FF2B5EF4-FFF2-40B4-BE49-F238E27FC236}">
                  <a16:creationId xmlns:a16="http://schemas.microsoft.com/office/drawing/2014/main" id="{398978EA-AA01-49E1-950A-EF739140F932}"/>
                </a:ext>
              </a:extLst>
            </p:cNvPr>
            <p:cNvSpPr/>
            <p:nvPr/>
          </p:nvSpPr>
          <p:spPr>
            <a:xfrm>
              <a:off x="9556524" y="4537665"/>
              <a:ext cx="1493966" cy="707886"/>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n-ea"/>
                  <a:cs typeface="+mn-cs"/>
                </a:rPr>
                <a:t>50</a:t>
              </a:r>
              <a:r>
                <a:rPr kumimoji="0" lang="en-US" sz="3600" b="0" i="0" u="none" strike="noStrike" kern="1200" cap="none" spc="0" normalizeH="0" baseline="0" noProof="0">
                  <a:ln>
                    <a:noFill/>
                  </a:ln>
                  <a:solidFill>
                    <a:srgbClr val="000000"/>
                  </a:solidFill>
                  <a:effectLst/>
                  <a:uLnTx/>
                  <a:uFillTx/>
                  <a:latin typeface="Segoe UI"/>
                  <a:ea typeface="+mn-ea"/>
                  <a:cs typeface="+mn-cs"/>
                </a:rPr>
                <a:t>%</a:t>
              </a:r>
              <a:endParaRPr kumimoji="0" lang="en-US" sz="40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 name="Group 8">
            <a:extLst>
              <a:ext uri="{FF2B5EF4-FFF2-40B4-BE49-F238E27FC236}">
                <a16:creationId xmlns:a16="http://schemas.microsoft.com/office/drawing/2014/main" id="{A621347A-7F89-4FB4-8401-A9BFF080AB7A}"/>
              </a:ext>
            </a:extLst>
          </p:cNvPr>
          <p:cNvGrpSpPr/>
          <p:nvPr/>
        </p:nvGrpSpPr>
        <p:grpSpPr>
          <a:xfrm>
            <a:off x="6079590" y="1399142"/>
            <a:ext cx="5313113" cy="2389606"/>
            <a:chOff x="6096000" y="1263671"/>
            <a:chExt cx="5313113" cy="2389606"/>
          </a:xfrm>
        </p:grpSpPr>
        <p:sp>
          <p:nvSpPr>
            <p:cNvPr id="33" name="Rectangle 32">
              <a:extLst>
                <a:ext uri="{FF2B5EF4-FFF2-40B4-BE49-F238E27FC236}">
                  <a16:creationId xmlns:a16="http://schemas.microsoft.com/office/drawing/2014/main" id="{2B66E8F9-822F-4AF7-AB71-3B1D71885955}"/>
                </a:ext>
              </a:extLst>
            </p:cNvPr>
            <p:cNvSpPr/>
            <p:nvPr/>
          </p:nvSpPr>
          <p:spPr bwMode="auto">
            <a:xfrm>
              <a:off x="6096000" y="1263671"/>
              <a:ext cx="5313113" cy="2389606"/>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err="1">
                <a:ln>
                  <a:noFill/>
                </a:ln>
                <a:solidFill>
                  <a:srgbClr val="505050"/>
                </a:solidFill>
                <a:effectLst/>
                <a:uLnTx/>
                <a:uFillTx/>
                <a:latin typeface="Segoe UI"/>
                <a:ea typeface="+mn-ea"/>
                <a:cs typeface="Segoe UI" pitchFamily="34" charset="0"/>
              </a:endParaRPr>
            </a:p>
          </p:txBody>
        </p:sp>
        <p:sp>
          <p:nvSpPr>
            <p:cNvPr id="51" name="TextBox 50">
              <a:extLst>
                <a:ext uri="{FF2B5EF4-FFF2-40B4-BE49-F238E27FC236}">
                  <a16:creationId xmlns:a16="http://schemas.microsoft.com/office/drawing/2014/main" id="{7B57E686-CC4A-42D4-AF37-45BE0B773BA5}"/>
                </a:ext>
              </a:extLst>
            </p:cNvPr>
            <p:cNvSpPr txBox="1"/>
            <p:nvPr/>
          </p:nvSpPr>
          <p:spPr>
            <a:xfrm>
              <a:off x="6477810" y="1548027"/>
              <a:ext cx="1725695" cy="997196"/>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Half of container environment is orchestrated.</a:t>
              </a:r>
              <a:r>
                <a:rPr kumimoji="0" lang="en-US" sz="1800" b="0" i="0" u="none" strike="noStrike" kern="1200" cap="none" spc="0" normalizeH="0" baseline="3000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1</a:t>
              </a:r>
              <a:endPar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graphicFrame>
          <p:nvGraphicFramePr>
            <p:cNvPr id="52" name="Chart 51">
              <a:extLst>
                <a:ext uri="{FF2B5EF4-FFF2-40B4-BE49-F238E27FC236}">
                  <a16:creationId xmlns:a16="http://schemas.microsoft.com/office/drawing/2014/main" id="{6DC436C8-CF67-4F30-9165-4C805ACD2A9A}"/>
                </a:ext>
              </a:extLst>
            </p:cNvPr>
            <p:cNvGraphicFramePr/>
            <p:nvPr>
              <p:extLst/>
            </p:nvPr>
          </p:nvGraphicFramePr>
          <p:xfrm>
            <a:off x="9129780" y="1492857"/>
            <a:ext cx="2243545" cy="1914995"/>
          </p:xfrm>
          <a:graphic>
            <a:graphicData uri="http://schemas.openxmlformats.org/drawingml/2006/chart">
              <c:chart xmlns:c="http://schemas.openxmlformats.org/drawingml/2006/chart" xmlns:r="http://schemas.openxmlformats.org/officeDocument/2006/relationships" r:id="rId4"/>
            </a:graphicData>
          </a:graphic>
        </p:graphicFrame>
        <p:sp>
          <p:nvSpPr>
            <p:cNvPr id="53" name="Rectangle 52">
              <a:extLst>
                <a:ext uri="{FF2B5EF4-FFF2-40B4-BE49-F238E27FC236}">
                  <a16:creationId xmlns:a16="http://schemas.microsoft.com/office/drawing/2014/main" id="{0CA4B141-85FF-4AB1-8482-302F73CCB657}"/>
                </a:ext>
              </a:extLst>
            </p:cNvPr>
            <p:cNvSpPr/>
            <p:nvPr/>
          </p:nvSpPr>
          <p:spPr>
            <a:xfrm>
              <a:off x="9504569" y="2085388"/>
              <a:ext cx="1493966" cy="707886"/>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n-ea"/>
                  <a:cs typeface="+mn-cs"/>
                </a:rPr>
                <a:t>77</a:t>
              </a:r>
              <a:r>
                <a:rPr kumimoji="0" lang="en-US" sz="3600" b="0" i="0" u="none" strike="noStrike" kern="1200" cap="none" spc="0" normalizeH="0" baseline="0" noProof="0">
                  <a:ln>
                    <a:noFill/>
                  </a:ln>
                  <a:solidFill>
                    <a:srgbClr val="000000"/>
                  </a:solidFill>
                  <a:effectLst/>
                  <a:uLnTx/>
                  <a:uFillTx/>
                  <a:latin typeface="Segoe UI"/>
                  <a:ea typeface="+mn-ea"/>
                  <a:cs typeface="+mn-cs"/>
                </a:rPr>
                <a:t>%</a:t>
              </a:r>
              <a:endParaRPr kumimoji="0" lang="en-US" sz="40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Rectangle 53">
              <a:extLst>
                <a:ext uri="{FF2B5EF4-FFF2-40B4-BE49-F238E27FC236}">
                  <a16:creationId xmlns:a16="http://schemas.microsoft.com/office/drawing/2014/main" id="{DF2C837A-3DCE-4408-8199-6E3F47DEFE2C}"/>
                </a:ext>
              </a:extLst>
            </p:cNvPr>
            <p:cNvSpPr/>
            <p:nvPr/>
          </p:nvSpPr>
          <p:spPr>
            <a:xfrm>
              <a:off x="6477810" y="2755174"/>
              <a:ext cx="2352770" cy="64633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77%</a:t>
              </a:r>
              <a:r>
                <a:rPr kumimoji="0" lang="en-US" sz="1200" b="0" i="0" u="none" strike="noStrike" kern="1200" cap="none" spc="0" normalizeH="0" baseline="3000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 </a:t>
              </a:r>
              <a:r>
                <a:rPr kumimoji="0" lang="en-US" sz="1200" b="0" i="0" u="none" strike="noStrike" kern="1200" cap="none" spc="0" normalizeH="0" baseline="0" noProof="0">
                  <a:ln>
                    <a:noFill/>
                  </a:ln>
                  <a:solidFill>
                    <a:srgbClr val="000000"/>
                  </a:solidFill>
                  <a:effectLst/>
                  <a:uLnTx/>
                  <a:uFillTx/>
                  <a:latin typeface="Segoe UI"/>
                  <a:ea typeface="+mn-ea"/>
                  <a:cs typeface="+mn-cs"/>
                </a:rPr>
                <a:t>of companies</a:t>
              </a:r>
              <a:r>
                <a:rPr kumimoji="0" lang="en-US" sz="1200" b="0" i="0" u="none" strike="noStrike" kern="1200" cap="none" spc="0" normalizeH="0" baseline="3000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2</a:t>
              </a:r>
              <a:r>
                <a:rPr kumimoji="0" lang="en-US" sz="1200" b="0" i="0" u="none" strike="noStrike" kern="1200" cap="none" spc="0" normalizeH="0" baseline="0" noProof="0">
                  <a:ln>
                    <a:noFill/>
                  </a:ln>
                  <a:solidFill>
                    <a:srgbClr val="000000"/>
                  </a:solidFill>
                  <a:effectLst/>
                  <a:uLnTx/>
                  <a:uFillTx/>
                  <a:latin typeface="Segoe UI"/>
                  <a:ea typeface="+mn-ea"/>
                  <a:cs typeface="+mn-cs"/>
                </a:rPr>
                <a:t> who use container orchestrators choose Kubernetes.</a:t>
              </a:r>
            </a:p>
          </p:txBody>
        </p:sp>
      </p:grpSp>
      <p:grpSp>
        <p:nvGrpSpPr>
          <p:cNvPr id="24" name="Group 23">
            <a:extLst>
              <a:ext uri="{FF2B5EF4-FFF2-40B4-BE49-F238E27FC236}">
                <a16:creationId xmlns:a16="http://schemas.microsoft.com/office/drawing/2014/main" id="{7D38B18C-DDB3-414C-AA53-DC84BE0A7AB0}"/>
              </a:ext>
            </a:extLst>
          </p:cNvPr>
          <p:cNvGrpSpPr/>
          <p:nvPr/>
        </p:nvGrpSpPr>
        <p:grpSpPr>
          <a:xfrm>
            <a:off x="783131" y="3942086"/>
            <a:ext cx="5147059" cy="2280238"/>
            <a:chOff x="631761" y="3849119"/>
            <a:chExt cx="5147059" cy="2280238"/>
          </a:xfrm>
        </p:grpSpPr>
        <p:sp>
          <p:nvSpPr>
            <p:cNvPr id="34" name="Rectangle 33">
              <a:extLst>
                <a:ext uri="{FF2B5EF4-FFF2-40B4-BE49-F238E27FC236}">
                  <a16:creationId xmlns:a16="http://schemas.microsoft.com/office/drawing/2014/main" id="{44D6D69D-C7C0-4290-904D-BC9AD1D390F7}"/>
                </a:ext>
              </a:extLst>
            </p:cNvPr>
            <p:cNvSpPr/>
            <p:nvPr/>
          </p:nvSpPr>
          <p:spPr bwMode="auto">
            <a:xfrm>
              <a:off x="631761" y="3849119"/>
              <a:ext cx="5147059" cy="2280238"/>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err="1">
                <a:ln>
                  <a:noFill/>
                </a:ln>
                <a:solidFill>
                  <a:srgbClr val="505050"/>
                </a:solidFill>
                <a:effectLst/>
                <a:uLnTx/>
                <a:uFillTx/>
                <a:latin typeface="Segoe UI"/>
                <a:ea typeface="+mn-ea"/>
                <a:cs typeface="Segoe UI" pitchFamily="34" charset="0"/>
              </a:endParaRPr>
            </a:p>
          </p:txBody>
        </p:sp>
        <p:sp>
          <p:nvSpPr>
            <p:cNvPr id="35" name="Rectangle 34">
              <a:extLst>
                <a:ext uri="{FF2B5EF4-FFF2-40B4-BE49-F238E27FC236}">
                  <a16:creationId xmlns:a16="http://schemas.microsoft.com/office/drawing/2014/main" id="{C212F2F2-43F3-45A1-BBE4-F9C4DF538214}"/>
                </a:ext>
              </a:extLst>
            </p:cNvPr>
            <p:cNvSpPr/>
            <p:nvPr/>
          </p:nvSpPr>
          <p:spPr>
            <a:xfrm>
              <a:off x="4369821" y="4502988"/>
              <a:ext cx="1177588" cy="707886"/>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78D4"/>
                  </a:solidFill>
                  <a:effectLst/>
                  <a:uLnTx/>
                  <a:uFillTx/>
                  <a:latin typeface="Segoe UI"/>
                  <a:ea typeface="+mn-ea"/>
                  <a:cs typeface="+mn-cs"/>
                </a:rPr>
                <a:t>75%</a:t>
              </a:r>
            </a:p>
          </p:txBody>
        </p:sp>
        <p:sp>
          <p:nvSpPr>
            <p:cNvPr id="36" name="TextBox 35">
              <a:extLst>
                <a:ext uri="{FF2B5EF4-FFF2-40B4-BE49-F238E27FC236}">
                  <a16:creationId xmlns:a16="http://schemas.microsoft.com/office/drawing/2014/main" id="{8FC52F60-FDAB-44A9-8365-8EB353745BC8}"/>
                </a:ext>
              </a:extLst>
            </p:cNvPr>
            <p:cNvSpPr txBox="1"/>
            <p:nvPr/>
          </p:nvSpPr>
          <p:spPr>
            <a:xfrm>
              <a:off x="1014177" y="4132860"/>
              <a:ext cx="1731838" cy="1246495"/>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The average size of a container deployment </a:t>
              </a:r>
              <a:b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has grown 75% in one year. </a:t>
              </a:r>
              <a:r>
                <a:rPr kumimoji="0" lang="en-US" sz="1600" b="0" i="0" u="none" strike="noStrike" kern="1200" cap="none" spc="0" normalizeH="0" baseline="3000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1</a:t>
              </a:r>
              <a:endParaRPr kumimoji="0" lang="en-US" sz="1700" b="0" i="0" u="none" strike="noStrike" kern="1200" cap="none" spc="0" normalizeH="0" baseline="0" noProof="0">
                <a:ln>
                  <a:noFill/>
                </a:ln>
                <a:solidFill>
                  <a:srgbClr val="000000"/>
                </a:solidFill>
                <a:effectLst/>
                <a:uLnTx/>
                <a:uFillTx/>
                <a:latin typeface="Segoe UI Light"/>
                <a:ea typeface="+mn-ea"/>
                <a:cs typeface="Segoe UI" panose="020B0502040204020203" pitchFamily="34" charset="0"/>
              </a:endParaRPr>
            </a:p>
          </p:txBody>
        </p:sp>
        <p:pic>
          <p:nvPicPr>
            <p:cNvPr id="37" name="Graphic 36">
              <a:extLst>
                <a:ext uri="{FF2B5EF4-FFF2-40B4-BE49-F238E27FC236}">
                  <a16:creationId xmlns:a16="http://schemas.microsoft.com/office/drawing/2014/main" id="{AC61C202-855F-4717-87E4-7D66004F92C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50531" y="4353411"/>
              <a:ext cx="941759" cy="1467392"/>
            </a:xfrm>
            <a:prstGeom prst="rect">
              <a:avLst/>
            </a:prstGeom>
          </p:spPr>
        </p:pic>
        <p:sp>
          <p:nvSpPr>
            <p:cNvPr id="58" name="Arrow: Down 57">
              <a:extLst>
                <a:ext uri="{FF2B5EF4-FFF2-40B4-BE49-F238E27FC236}">
                  <a16:creationId xmlns:a16="http://schemas.microsoft.com/office/drawing/2014/main" id="{702417C7-B206-4BAB-B6F5-A578D74DD5E4}"/>
                </a:ext>
              </a:extLst>
            </p:cNvPr>
            <p:cNvSpPr/>
            <p:nvPr/>
          </p:nvSpPr>
          <p:spPr bwMode="auto">
            <a:xfrm rot="10800000">
              <a:off x="4275326" y="4354011"/>
              <a:ext cx="90934" cy="1005840"/>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24" name="Group 1023">
            <a:extLst>
              <a:ext uri="{FF2B5EF4-FFF2-40B4-BE49-F238E27FC236}">
                <a16:creationId xmlns:a16="http://schemas.microsoft.com/office/drawing/2014/main" id="{70712578-8D5F-48F9-A36A-C65879FF2397}"/>
              </a:ext>
            </a:extLst>
          </p:cNvPr>
          <p:cNvGrpSpPr/>
          <p:nvPr/>
        </p:nvGrpSpPr>
        <p:grpSpPr>
          <a:xfrm>
            <a:off x="783132" y="1399142"/>
            <a:ext cx="5147059" cy="2389606"/>
            <a:chOff x="783132" y="1399142"/>
            <a:chExt cx="5147059" cy="2389606"/>
          </a:xfrm>
        </p:grpSpPr>
        <p:sp>
          <p:nvSpPr>
            <p:cNvPr id="55" name="Rectangle 54">
              <a:extLst>
                <a:ext uri="{FF2B5EF4-FFF2-40B4-BE49-F238E27FC236}">
                  <a16:creationId xmlns:a16="http://schemas.microsoft.com/office/drawing/2014/main" id="{2A0048E4-9A70-4553-A58B-79AB18D176B7}"/>
                </a:ext>
              </a:extLst>
            </p:cNvPr>
            <p:cNvSpPr/>
            <p:nvPr/>
          </p:nvSpPr>
          <p:spPr bwMode="auto">
            <a:xfrm>
              <a:off x="783132" y="1399142"/>
              <a:ext cx="5147059" cy="2389606"/>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err="1">
                <a:ln>
                  <a:noFill/>
                </a:ln>
                <a:solidFill>
                  <a:srgbClr val="505050"/>
                </a:solidFill>
                <a:effectLst/>
                <a:uLnTx/>
                <a:uFillTx/>
                <a:latin typeface="Segoe UI"/>
                <a:ea typeface="+mn-ea"/>
                <a:cs typeface="Segoe UI" pitchFamily="34" charset="0"/>
              </a:endParaRPr>
            </a:p>
          </p:txBody>
        </p:sp>
        <p:sp>
          <p:nvSpPr>
            <p:cNvPr id="56" name="Rectangle 55">
              <a:extLst>
                <a:ext uri="{FF2B5EF4-FFF2-40B4-BE49-F238E27FC236}">
                  <a16:creationId xmlns:a16="http://schemas.microsoft.com/office/drawing/2014/main" id="{153A3CB8-4553-4F1F-8685-EB6CD23D789C}"/>
                </a:ext>
              </a:extLst>
            </p:cNvPr>
            <p:cNvSpPr/>
            <p:nvPr/>
          </p:nvSpPr>
          <p:spPr>
            <a:xfrm>
              <a:off x="1165547" y="1610635"/>
              <a:ext cx="4469885" cy="923330"/>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24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t>
              </a:r>
              <a:r>
                <a:rPr kumimoji="0" lang="en-US" sz="1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By 2020, more than </a:t>
              </a:r>
              <a:r>
                <a:rPr kumimoji="0" lang="en-US" sz="1800" b="1"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50%</a:t>
              </a:r>
              <a:r>
                <a:rPr kumimoji="0" lang="en-US" sz="1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of enterprises will run </a:t>
              </a:r>
              <a:r>
                <a:rPr kumimoji="0" lang="en-US" sz="18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ission-critical, containerized cloud-native applications</a:t>
              </a:r>
              <a:r>
                <a:rPr kumimoji="0" lang="en-US" sz="1800" b="1"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a:t>
              </a:r>
              <a:r>
                <a:rPr kumimoji="0" lang="en-US" sz="1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in production</a:t>
              </a: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t>
              </a:r>
            </a:p>
          </p:txBody>
        </p:sp>
        <p:pic>
          <p:nvPicPr>
            <p:cNvPr id="1026" name="Picture 2" descr="Image result for GARTNER LOGO png black">
              <a:extLst>
                <a:ext uri="{FF2B5EF4-FFF2-40B4-BE49-F238E27FC236}">
                  <a16:creationId xmlns:a16="http://schemas.microsoft.com/office/drawing/2014/main" id="{B7D0A211-5DA1-49E4-82DB-A8FC6B9F053D}"/>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4213076" y="3124089"/>
              <a:ext cx="1290415" cy="407119"/>
            </a:xfrm>
            <a:prstGeom prst="rect">
              <a:avLst/>
            </a:prstGeom>
            <a:noFill/>
            <a:extLst>
              <a:ext uri="{909E8E84-426E-40DD-AFC4-6F175D3DCCD1}">
                <a14:hiddenFill xmlns:a14="http://schemas.microsoft.com/office/drawing/2010/main">
                  <a:solidFill>
                    <a:srgbClr val="FFFFFF"/>
                  </a:solidFill>
                </a14:hiddenFill>
              </a:ext>
            </a:extLst>
          </p:spPr>
        </p:pic>
      </p:grpSp>
      <p:sp>
        <p:nvSpPr>
          <p:cNvPr id="67" name="Rectangle 66">
            <a:extLst>
              <a:ext uri="{FF2B5EF4-FFF2-40B4-BE49-F238E27FC236}">
                <a16:creationId xmlns:a16="http://schemas.microsoft.com/office/drawing/2014/main" id="{D7DA27EF-B855-4284-BCCA-7BB0FE175D60}"/>
              </a:ext>
            </a:extLst>
          </p:cNvPr>
          <p:cNvSpPr/>
          <p:nvPr/>
        </p:nvSpPr>
        <p:spPr>
          <a:xfrm>
            <a:off x="44224" y="6468994"/>
            <a:ext cx="6096000" cy="338554"/>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noFill/>
                </a:ln>
                <a:solidFill>
                  <a:srgbClr val="000000"/>
                </a:solidFill>
                <a:effectLst/>
                <a:uLnTx/>
                <a:uFillTx/>
                <a:latin typeface="Segoe UI"/>
                <a:ea typeface="+mn-ea"/>
                <a:cs typeface="Segoe UI Semibold" panose="020B0702040204020203" pitchFamily="34" charset="0"/>
              </a:rPr>
              <a:t>1</a:t>
            </a:r>
            <a:r>
              <a:rPr kumimoji="0" lang="en-US" sz="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Datadog </a:t>
            </a:r>
            <a:r>
              <a:rPr kumimoji="0" lang="en-US" sz="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hlinkClick r:id="rId8">
                  <a:extLst>
                    <a:ext uri="{A12FA001-AC4F-418D-AE19-62706E023703}">
                      <ahyp:hlinkClr xmlns:ahyp="http://schemas.microsoft.com/office/drawing/2018/hyperlinkcolor" val="tx"/>
                    </a:ext>
                  </a:extLst>
                </a:hlinkClick>
              </a:rPr>
              <a:t>report</a:t>
            </a:r>
            <a:r>
              <a:rPr kumimoji="0" lang="en-US" sz="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8 Surprising Facts About Real Docker Adop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noFill/>
                </a:ln>
                <a:solidFill>
                  <a:srgbClr val="000000"/>
                </a:solidFill>
                <a:effectLst/>
                <a:uLnTx/>
                <a:uFillTx/>
                <a:latin typeface="Segoe UI"/>
                <a:ea typeface="+mn-ea"/>
                <a:cs typeface="Segoe UI Semibold" panose="020B0702040204020203" pitchFamily="34" charset="0"/>
              </a:rPr>
              <a:t>2</a:t>
            </a:r>
            <a:r>
              <a:rPr kumimoji="0" lang="en-US" sz="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CNCF </a:t>
            </a:r>
            <a:r>
              <a:rPr kumimoji="0" lang="en-US" sz="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hlinkClick r:id="rId9">
                  <a:extLst>
                    <a:ext uri="{A12FA001-AC4F-418D-AE19-62706E023703}">
                      <ahyp:hlinkClr xmlns:ahyp="http://schemas.microsoft.com/office/drawing/2018/hyperlinkcolor" val="tx"/>
                    </a:ext>
                  </a:extLst>
                </a:hlinkClick>
              </a:rPr>
              <a:t>survey</a:t>
            </a:r>
            <a:r>
              <a:rPr kumimoji="0" lang="en-US" sz="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a:t>
            </a:r>
            <a:r>
              <a:rPr kumimoji="0" lang="en-US" sz="800" b="0" i="0" u="none" strike="noStrike" kern="1200" cap="none" spc="0" normalizeH="0" baseline="0" noProof="0">
                <a:ln>
                  <a:noFill/>
                </a:ln>
                <a:solidFill>
                  <a:srgbClr val="000000"/>
                </a:solidFill>
                <a:effectLst/>
                <a:uLnTx/>
                <a:uFillTx/>
                <a:latin typeface="Segoe UI"/>
                <a:ea typeface="+mn-ea"/>
                <a:cs typeface="+mn-cs"/>
              </a:rPr>
              <a:t>cloud-native-technologies-scaling-production-applications</a:t>
            </a:r>
          </a:p>
        </p:txBody>
      </p:sp>
    </p:spTree>
    <p:extLst>
      <p:ext uri="{BB962C8B-B14F-4D97-AF65-F5344CB8AC3E}">
        <p14:creationId xmlns:p14="http://schemas.microsoft.com/office/powerpoint/2010/main" val="1172891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6"/>
            <a:ext cx="11655840" cy="724044"/>
          </a:xfrm>
        </p:spPr>
        <p:txBody>
          <a:bodyPr/>
          <a:lstStyle/>
          <a:p>
            <a:pPr algn="ctr"/>
            <a:r>
              <a:rPr lang="en-US" sz="4705">
                <a:solidFill>
                  <a:schemeClr val="tx1"/>
                </a:solidFill>
              </a:rPr>
              <a:t>What we hear from </a:t>
            </a:r>
            <a:r>
              <a:rPr lang="en-US" sz="4705">
                <a:solidFill>
                  <a:schemeClr val="accent1"/>
                </a:solidFill>
                <a:latin typeface="Segoe UI Semibold" panose="020B0702040204020203" pitchFamily="34" charset="0"/>
                <a:cs typeface="Segoe UI Semibold" panose="020B0702040204020203" pitchFamily="34" charset="0"/>
              </a:rPr>
              <a:t>developers</a:t>
            </a:r>
            <a:endParaRPr lang="en-US" sz="4705">
              <a:solidFill>
                <a:schemeClr val="tx1"/>
              </a:solidFill>
            </a:endParaRPr>
          </a:p>
        </p:txBody>
      </p:sp>
      <p:grpSp>
        <p:nvGrpSpPr>
          <p:cNvPr id="3" name="Group 2">
            <a:extLst>
              <a:ext uri="{FF2B5EF4-FFF2-40B4-BE49-F238E27FC236}">
                <a16:creationId xmlns:a16="http://schemas.microsoft.com/office/drawing/2014/main" id="{7490D45C-EF9B-4DC7-9E98-62717BCC7BB6}"/>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I need to create applications at a competitive rate without worrying about IT</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New applications run smoothly on my machine but malfunction on traditional IT serv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My productivity and application innovation become suspended when I have to wait on IT</a:t>
              </a:r>
            </a:p>
          </p:txBody>
        </p:sp>
      </p:grpSp>
      <p:grpSp>
        <p:nvGrpSpPr>
          <p:cNvPr id="33" name="Group 32">
            <a:extLst>
              <a:ext uri="{FF2B5EF4-FFF2-40B4-BE49-F238E27FC236}">
                <a16:creationId xmlns:a16="http://schemas.microsoft.com/office/drawing/2014/main" id="{2C469041-B182-45F7-A5BC-B82336319CCA}"/>
              </a:ext>
            </a:extLst>
          </p:cNvPr>
          <p:cNvGrpSpPr/>
          <p:nvPr/>
        </p:nvGrpSpPr>
        <p:grpSpPr>
          <a:xfrm>
            <a:off x="1779765" y="2572817"/>
            <a:ext cx="1079905" cy="872386"/>
            <a:chOff x="-1338263" y="-414337"/>
            <a:chExt cx="850900" cy="687388"/>
          </a:xfrm>
        </p:grpSpPr>
        <p:sp>
          <p:nvSpPr>
            <p:cNvPr id="26" name="Freeform 5">
              <a:extLst>
                <a:ext uri="{FF2B5EF4-FFF2-40B4-BE49-F238E27FC236}">
                  <a16:creationId xmlns:a16="http://schemas.microsoft.com/office/drawing/2014/main" id="{77E6DBAC-BD7A-4651-A90E-13CF81850249}"/>
                </a:ext>
              </a:extLst>
            </p:cNvPr>
            <p:cNvSpPr>
              <a:spLocks/>
            </p:cNvSpPr>
            <p:nvPr/>
          </p:nvSpPr>
          <p:spPr bwMode="auto">
            <a:xfrm>
              <a:off x="-1338263" y="-414337"/>
              <a:ext cx="850900" cy="687388"/>
            </a:xfrm>
            <a:custGeom>
              <a:avLst/>
              <a:gdLst>
                <a:gd name="T0" fmla="*/ 298 w 301"/>
                <a:gd name="T1" fmla="*/ 243 h 243"/>
                <a:gd name="T2" fmla="*/ 2 w 301"/>
                <a:gd name="T3" fmla="*/ 243 h 243"/>
                <a:gd name="T4" fmla="*/ 0 w 301"/>
                <a:gd name="T5" fmla="*/ 240 h 243"/>
                <a:gd name="T6" fmla="*/ 0 w 301"/>
                <a:gd name="T7" fmla="*/ 3 h 243"/>
                <a:gd name="T8" fmla="*/ 2 w 301"/>
                <a:gd name="T9" fmla="*/ 0 h 243"/>
                <a:gd name="T10" fmla="*/ 298 w 301"/>
                <a:gd name="T11" fmla="*/ 0 h 243"/>
                <a:gd name="T12" fmla="*/ 301 w 301"/>
                <a:gd name="T13" fmla="*/ 3 h 243"/>
                <a:gd name="T14" fmla="*/ 301 w 301"/>
                <a:gd name="T15" fmla="*/ 240 h 243"/>
                <a:gd name="T16" fmla="*/ 298 w 3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243">
                  <a:moveTo>
                    <a:pt x="298" y="243"/>
                  </a:moveTo>
                  <a:cubicBezTo>
                    <a:pt x="2" y="243"/>
                    <a:pt x="2" y="243"/>
                    <a:pt x="2" y="243"/>
                  </a:cubicBezTo>
                  <a:cubicBezTo>
                    <a:pt x="1" y="243"/>
                    <a:pt x="0" y="242"/>
                    <a:pt x="0" y="240"/>
                  </a:cubicBezTo>
                  <a:cubicBezTo>
                    <a:pt x="0" y="3"/>
                    <a:pt x="0" y="3"/>
                    <a:pt x="0" y="3"/>
                  </a:cubicBezTo>
                  <a:cubicBezTo>
                    <a:pt x="0" y="1"/>
                    <a:pt x="1" y="0"/>
                    <a:pt x="2" y="0"/>
                  </a:cubicBezTo>
                  <a:cubicBezTo>
                    <a:pt x="298" y="0"/>
                    <a:pt x="298" y="0"/>
                    <a:pt x="298" y="0"/>
                  </a:cubicBezTo>
                  <a:cubicBezTo>
                    <a:pt x="300" y="0"/>
                    <a:pt x="301" y="1"/>
                    <a:pt x="301" y="3"/>
                  </a:cubicBezTo>
                  <a:cubicBezTo>
                    <a:pt x="301" y="240"/>
                    <a:pt x="301" y="240"/>
                    <a:pt x="301" y="240"/>
                  </a:cubicBezTo>
                  <a:cubicBezTo>
                    <a:pt x="301" y="242"/>
                    <a:pt x="300" y="243"/>
                    <a:pt x="298" y="24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7" name="Line 6">
              <a:extLst>
                <a:ext uri="{FF2B5EF4-FFF2-40B4-BE49-F238E27FC236}">
                  <a16:creationId xmlns:a16="http://schemas.microsoft.com/office/drawing/2014/main" id="{DC256CD2-089E-4971-8B26-1CBBE29A8FB4}"/>
                </a:ext>
              </a:extLst>
            </p:cNvPr>
            <p:cNvSpPr>
              <a:spLocks noChangeShapeType="1"/>
            </p:cNvSpPr>
            <p:nvPr/>
          </p:nvSpPr>
          <p:spPr bwMode="auto">
            <a:xfrm>
              <a:off x="-1338263" y="-242887"/>
              <a:ext cx="8509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8" name="Oval 7">
              <a:extLst>
                <a:ext uri="{FF2B5EF4-FFF2-40B4-BE49-F238E27FC236}">
                  <a16:creationId xmlns:a16="http://schemas.microsoft.com/office/drawing/2014/main" id="{CF19BEAA-3810-4D41-A1FC-098B36AE114B}"/>
                </a:ext>
              </a:extLst>
            </p:cNvPr>
            <p:cNvSpPr>
              <a:spLocks noChangeArrowheads="1"/>
            </p:cNvSpPr>
            <p:nvPr/>
          </p:nvSpPr>
          <p:spPr bwMode="auto">
            <a:xfrm>
              <a:off x="-788988" y="-347662"/>
              <a:ext cx="41275"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9" name="Oval 8">
              <a:extLst>
                <a:ext uri="{FF2B5EF4-FFF2-40B4-BE49-F238E27FC236}">
                  <a16:creationId xmlns:a16="http://schemas.microsoft.com/office/drawing/2014/main" id="{513E6E35-5DA1-4501-BF4A-D34E26D1C7D9}"/>
                </a:ext>
              </a:extLst>
            </p:cNvPr>
            <p:cNvSpPr>
              <a:spLocks noChangeArrowheads="1"/>
            </p:cNvSpPr>
            <p:nvPr/>
          </p:nvSpPr>
          <p:spPr bwMode="auto">
            <a:xfrm>
              <a:off x="-696913" y="-347662"/>
              <a:ext cx="42863"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30" name="Oval 9">
              <a:extLst>
                <a:ext uri="{FF2B5EF4-FFF2-40B4-BE49-F238E27FC236}">
                  <a16:creationId xmlns:a16="http://schemas.microsoft.com/office/drawing/2014/main" id="{7433F87D-EA5E-4208-BAE9-968FD74AEC6A}"/>
                </a:ext>
              </a:extLst>
            </p:cNvPr>
            <p:cNvSpPr>
              <a:spLocks noChangeArrowheads="1"/>
            </p:cNvSpPr>
            <p:nvPr/>
          </p:nvSpPr>
          <p:spPr bwMode="auto">
            <a:xfrm>
              <a:off x="-600075" y="-347662"/>
              <a:ext cx="39688"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31" name="Line 10">
              <a:extLst>
                <a:ext uri="{FF2B5EF4-FFF2-40B4-BE49-F238E27FC236}">
                  <a16:creationId xmlns:a16="http://schemas.microsoft.com/office/drawing/2014/main" id="{3A54E36D-5840-4806-9A2D-8C8496D6FB4F}"/>
                </a:ext>
              </a:extLst>
            </p:cNvPr>
            <p:cNvSpPr>
              <a:spLocks noChangeShapeType="1"/>
            </p:cNvSpPr>
            <p:nvPr/>
          </p:nvSpPr>
          <p:spPr bwMode="auto">
            <a:xfrm>
              <a:off x="-1189038" y="69850"/>
              <a:ext cx="5016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32" name="Line 11">
              <a:extLst>
                <a:ext uri="{FF2B5EF4-FFF2-40B4-BE49-F238E27FC236}">
                  <a16:creationId xmlns:a16="http://schemas.microsoft.com/office/drawing/2014/main" id="{55C5FD7C-4B6D-4D9B-AAC7-D895C3AB51B5}"/>
                </a:ext>
              </a:extLst>
            </p:cNvPr>
            <p:cNvSpPr>
              <a:spLocks noChangeShapeType="1"/>
            </p:cNvSpPr>
            <p:nvPr/>
          </p:nvSpPr>
          <p:spPr bwMode="auto">
            <a:xfrm>
              <a:off x="-1189038" y="-49212"/>
              <a:ext cx="3111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52" name="Group 51">
            <a:extLst>
              <a:ext uri="{FF2B5EF4-FFF2-40B4-BE49-F238E27FC236}">
                <a16:creationId xmlns:a16="http://schemas.microsoft.com/office/drawing/2014/main" id="{9D07F0BD-27AD-48E9-BBF8-E383C138D40F}"/>
              </a:ext>
            </a:extLst>
          </p:cNvPr>
          <p:cNvGrpSpPr/>
          <p:nvPr/>
        </p:nvGrpSpPr>
        <p:grpSpPr>
          <a:xfrm>
            <a:off x="9370045" y="2485660"/>
            <a:ext cx="1004478" cy="1006443"/>
            <a:chOff x="-1630363" y="3768726"/>
            <a:chExt cx="811213" cy="812800"/>
          </a:xfrm>
        </p:grpSpPr>
        <p:sp>
          <p:nvSpPr>
            <p:cNvPr id="46" name="Oval 21">
              <a:extLst>
                <a:ext uri="{FF2B5EF4-FFF2-40B4-BE49-F238E27FC236}">
                  <a16:creationId xmlns:a16="http://schemas.microsoft.com/office/drawing/2014/main" id="{EF300483-D64E-4798-95CE-36B6F01D85F7}"/>
                </a:ext>
              </a:extLst>
            </p:cNvPr>
            <p:cNvSpPr>
              <a:spLocks noChangeArrowheads="1"/>
            </p:cNvSpPr>
            <p:nvPr/>
          </p:nvSpPr>
          <p:spPr bwMode="auto">
            <a:xfrm>
              <a:off x="-1630363" y="3768726"/>
              <a:ext cx="811213" cy="81280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7" name="Freeform 22">
              <a:extLst>
                <a:ext uri="{FF2B5EF4-FFF2-40B4-BE49-F238E27FC236}">
                  <a16:creationId xmlns:a16="http://schemas.microsoft.com/office/drawing/2014/main" id="{8049B76C-D720-453C-B682-E627E8DF2B24}"/>
                </a:ext>
              </a:extLst>
            </p:cNvPr>
            <p:cNvSpPr>
              <a:spLocks/>
            </p:cNvSpPr>
            <p:nvPr/>
          </p:nvSpPr>
          <p:spPr bwMode="auto">
            <a:xfrm>
              <a:off x="-1339850" y="3951288"/>
              <a:ext cx="328613" cy="249238"/>
            </a:xfrm>
            <a:custGeom>
              <a:avLst/>
              <a:gdLst>
                <a:gd name="T0" fmla="*/ 207 w 207"/>
                <a:gd name="T1" fmla="*/ 0 h 157"/>
                <a:gd name="T2" fmla="*/ 71 w 207"/>
                <a:gd name="T3" fmla="*/ 157 h 157"/>
                <a:gd name="T4" fmla="*/ 0 w 207"/>
                <a:gd name="T5" fmla="*/ 65 h 157"/>
              </a:gdLst>
              <a:ahLst/>
              <a:cxnLst>
                <a:cxn ang="0">
                  <a:pos x="T0" y="T1"/>
                </a:cxn>
                <a:cxn ang="0">
                  <a:pos x="T2" y="T3"/>
                </a:cxn>
                <a:cxn ang="0">
                  <a:pos x="T4" y="T5"/>
                </a:cxn>
              </a:cxnLst>
              <a:rect l="0" t="0" r="r" b="b"/>
              <a:pathLst>
                <a:path w="207" h="157">
                  <a:moveTo>
                    <a:pt x="207" y="0"/>
                  </a:moveTo>
                  <a:lnTo>
                    <a:pt x="71" y="157"/>
                  </a:lnTo>
                  <a:lnTo>
                    <a:pt x="0" y="65"/>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8" name="Line 23">
              <a:extLst>
                <a:ext uri="{FF2B5EF4-FFF2-40B4-BE49-F238E27FC236}">
                  <a16:creationId xmlns:a16="http://schemas.microsoft.com/office/drawing/2014/main" id="{9D9EC4B1-C3FC-4F48-AC1D-4DA479064A53}"/>
                </a:ext>
              </a:extLst>
            </p:cNvPr>
            <p:cNvSpPr>
              <a:spLocks noChangeShapeType="1"/>
            </p:cNvSpPr>
            <p:nvPr/>
          </p:nvSpPr>
          <p:spPr bwMode="auto">
            <a:xfrm>
              <a:off x="-1227138" y="3768726"/>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9" name="Line 24">
              <a:extLst>
                <a:ext uri="{FF2B5EF4-FFF2-40B4-BE49-F238E27FC236}">
                  <a16:creationId xmlns:a16="http://schemas.microsoft.com/office/drawing/2014/main" id="{4721B012-0210-4A46-8C01-F92FE3F28C1C}"/>
                </a:ext>
              </a:extLst>
            </p:cNvPr>
            <p:cNvSpPr>
              <a:spLocks noChangeShapeType="1"/>
            </p:cNvSpPr>
            <p:nvPr/>
          </p:nvSpPr>
          <p:spPr bwMode="auto">
            <a:xfrm>
              <a:off x="-1227138" y="4522788"/>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0" name="Line 25">
              <a:extLst>
                <a:ext uri="{FF2B5EF4-FFF2-40B4-BE49-F238E27FC236}">
                  <a16:creationId xmlns:a16="http://schemas.microsoft.com/office/drawing/2014/main" id="{85EFAE26-F1C5-47A0-AACC-433C79599624}"/>
                </a:ext>
              </a:extLst>
            </p:cNvPr>
            <p:cNvSpPr>
              <a:spLocks noChangeShapeType="1"/>
            </p:cNvSpPr>
            <p:nvPr/>
          </p:nvSpPr>
          <p:spPr bwMode="auto">
            <a:xfrm flipH="1">
              <a:off x="-879475" y="4175126"/>
              <a:ext cx="60325"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1" name="Line 26">
              <a:extLst>
                <a:ext uri="{FF2B5EF4-FFF2-40B4-BE49-F238E27FC236}">
                  <a16:creationId xmlns:a16="http://schemas.microsoft.com/office/drawing/2014/main" id="{3C13FC85-8CDE-41BD-A9C1-8DF3B48668CD}"/>
                </a:ext>
              </a:extLst>
            </p:cNvPr>
            <p:cNvSpPr>
              <a:spLocks noChangeShapeType="1"/>
            </p:cNvSpPr>
            <p:nvPr/>
          </p:nvSpPr>
          <p:spPr bwMode="auto">
            <a:xfrm flipH="1">
              <a:off x="-1630363" y="4175126"/>
              <a:ext cx="55563"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026E08DF-A55C-4022-BD22-2C86D6DFB1AF}"/>
              </a:ext>
            </a:extLst>
          </p:cNvPr>
          <p:cNvGrpSpPr/>
          <p:nvPr/>
        </p:nvGrpSpPr>
        <p:grpSpPr>
          <a:xfrm>
            <a:off x="2247705" y="5440442"/>
            <a:ext cx="7696590" cy="144024"/>
            <a:chOff x="2292775" y="5549038"/>
            <a:chExt cx="7850923" cy="146912"/>
          </a:xfrm>
        </p:grpSpPr>
        <p:sp>
          <p:nvSpPr>
            <p:cNvPr id="12" name="Oval 11">
              <a:extLst>
                <a:ext uri="{FF2B5EF4-FFF2-40B4-BE49-F238E27FC236}">
                  <a16:creationId xmlns:a16="http://schemas.microsoft.com/office/drawing/2014/main" id="{54B5E007-9FC0-4116-8652-8C2A7AD60CB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 name="Oval 12">
              <a:extLst>
                <a:ext uri="{FF2B5EF4-FFF2-40B4-BE49-F238E27FC236}">
                  <a16:creationId xmlns:a16="http://schemas.microsoft.com/office/drawing/2014/main" id="{C2BC40BD-1362-4A02-A014-FB72E521291A}"/>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 name="Oval 13">
              <a:extLst>
                <a:ext uri="{FF2B5EF4-FFF2-40B4-BE49-F238E27FC236}">
                  <a16:creationId xmlns:a16="http://schemas.microsoft.com/office/drawing/2014/main" id="{EB5F5268-2882-40BD-9139-1ECAC235D520}"/>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17" name="Straight Connector 16">
              <a:extLst>
                <a:ext uri="{FF2B5EF4-FFF2-40B4-BE49-F238E27FC236}">
                  <a16:creationId xmlns:a16="http://schemas.microsoft.com/office/drawing/2014/main" id="{5E11FBC3-F5F3-4996-BF93-81DD6639226C}"/>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A8DC70D-7276-4128-90BB-D82733871850}"/>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B23C6329-D93D-4601-8122-2072E87FC652}"/>
              </a:ext>
            </a:extLst>
          </p:cNvPr>
          <p:cNvGrpSpPr/>
          <p:nvPr/>
        </p:nvGrpSpPr>
        <p:grpSpPr>
          <a:xfrm>
            <a:off x="5599070" y="2247491"/>
            <a:ext cx="1148712" cy="1284008"/>
            <a:chOff x="2165865" y="-963217"/>
            <a:chExt cx="1137285" cy="1271236"/>
          </a:xfrm>
        </p:grpSpPr>
        <p:grpSp>
          <p:nvGrpSpPr>
            <p:cNvPr id="37" name="Group 36">
              <a:extLst>
                <a:ext uri="{FF2B5EF4-FFF2-40B4-BE49-F238E27FC236}">
                  <a16:creationId xmlns:a16="http://schemas.microsoft.com/office/drawing/2014/main" id="{8BB25CE6-480A-4D0F-A262-F7422327BB0C}"/>
                </a:ext>
              </a:extLst>
            </p:cNvPr>
            <p:cNvGrpSpPr/>
            <p:nvPr/>
          </p:nvGrpSpPr>
          <p:grpSpPr>
            <a:xfrm>
              <a:off x="2165865" y="-662579"/>
              <a:ext cx="933450" cy="970598"/>
              <a:chOff x="5161693" y="3063002"/>
              <a:chExt cx="933450" cy="970598"/>
            </a:xfrm>
          </p:grpSpPr>
          <p:sp>
            <p:nvSpPr>
              <p:cNvPr id="42" name="Freeform: Shape 41">
                <a:extLst>
                  <a:ext uri="{FF2B5EF4-FFF2-40B4-BE49-F238E27FC236}">
                    <a16:creationId xmlns:a16="http://schemas.microsoft.com/office/drawing/2014/main" id="{D1F9C5AC-D2CE-4650-B4FA-BDFABC6F2BD1}"/>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62A0E2E1-9449-4B2D-BE7E-E80EBF97B3CA}"/>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C70D8517-87F7-481C-ABFC-D4979F2BC388}"/>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016251A5-2AF4-4826-B566-E343BF34FA76}"/>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2A77DB14-BDE9-4938-AC74-B23572ECD29A}"/>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3CF0C1FA-9597-430F-A813-9C0D04F0C1A3}"/>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3FA447B5-3BAA-4DAD-8BC5-8B3A5856285B}"/>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D191B0D1-9BDE-4034-A805-E117D320241A}"/>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AE2DBCF5-BAA9-4537-831F-EED26AC9F9A1}"/>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3C24979A-C458-4DF1-9621-998CC66B88FB}"/>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9CD10508-87AC-4410-99A0-1F8CDF2BB28D}"/>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6F431F86-3F2B-41F0-A55F-572EC0C613DD}"/>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391201D1-E3E4-4D1F-95C1-799E298BE577}"/>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5711D90A-0958-4059-9343-F565FD691AB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8BF698F7-28BB-4D63-8D94-32BDA1F5EB6A}"/>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38979654-246D-444E-83A1-FAFE2BCB60E0}"/>
                </a:ext>
              </a:extLst>
            </p:cNvPr>
            <p:cNvGrpSpPr/>
            <p:nvPr/>
          </p:nvGrpSpPr>
          <p:grpSpPr>
            <a:xfrm>
              <a:off x="2693550" y="-963217"/>
              <a:ext cx="609600" cy="533400"/>
              <a:chOff x="4881319" y="-895112"/>
              <a:chExt cx="609600" cy="533400"/>
            </a:xfrm>
          </p:grpSpPr>
          <p:sp>
            <p:nvSpPr>
              <p:cNvPr id="39" name="Freeform: Shape 38">
                <a:extLst>
                  <a:ext uri="{FF2B5EF4-FFF2-40B4-BE49-F238E27FC236}">
                    <a16:creationId xmlns:a16="http://schemas.microsoft.com/office/drawing/2014/main" id="{7BA79CBC-B1EC-4821-92E7-2135DABA1AD9}"/>
                  </a:ext>
                </a:extLst>
              </p:cNvPr>
              <p:cNvSpPr/>
              <p:nvPr/>
            </p:nvSpPr>
            <p:spPr>
              <a:xfrm>
                <a:off x="4881319" y="-895112"/>
                <a:ext cx="609600" cy="533400"/>
              </a:xfrm>
              <a:custGeom>
                <a:avLst/>
                <a:gdLst/>
                <a:ahLst/>
                <a:cxnLst/>
                <a:rect l="0" t="0" r="0" b="0"/>
                <a:pathLst>
                  <a:path w="609600" h="533400">
                    <a:moveTo>
                      <a:pt x="333867" y="37862"/>
                    </a:moveTo>
                    <a:lnTo>
                      <a:pt x="585327" y="465534"/>
                    </a:lnTo>
                    <a:cubicBezTo>
                      <a:pt x="598662" y="488394"/>
                      <a:pt x="583422" y="517922"/>
                      <a:pt x="556752" y="517922"/>
                    </a:cubicBezTo>
                    <a:lnTo>
                      <a:pt x="54785" y="517922"/>
                    </a:lnTo>
                    <a:cubicBezTo>
                      <a:pt x="29067" y="517922"/>
                      <a:pt x="12874" y="488394"/>
                      <a:pt x="26210" y="465534"/>
                    </a:cubicBezTo>
                    <a:lnTo>
                      <a:pt x="277670" y="37862"/>
                    </a:lnTo>
                    <a:cubicBezTo>
                      <a:pt x="291005" y="15954"/>
                      <a:pt x="321485" y="15954"/>
                      <a:pt x="333867" y="37862"/>
                    </a:cubicBezTo>
                    <a:close/>
                  </a:path>
                </a:pathLst>
              </a:custGeom>
              <a:solidFill>
                <a:srgbClr val="FFFFFF"/>
              </a:solid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A650E412-F67C-49D4-820D-72A1FC613613}"/>
                  </a:ext>
                </a:extLst>
              </p:cNvPr>
              <p:cNvSpPr/>
              <p:nvPr/>
            </p:nvSpPr>
            <p:spPr>
              <a:xfrm>
                <a:off x="5159465" y="-728187"/>
                <a:ext cx="38100" cy="219075"/>
              </a:xfrm>
              <a:custGeom>
                <a:avLst/>
                <a:gdLst/>
                <a:ahLst/>
                <a:cxnLst/>
                <a:rect l="0" t="0" r="0" b="0"/>
                <a:pathLst>
                  <a:path w="38100" h="219075">
                    <a:moveTo>
                      <a:pt x="21431" y="201454"/>
                    </a:moveTo>
                    <a:lnTo>
                      <a:pt x="21431"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F0D3E472-C1C3-4072-8A1C-BB6D5D926AD8}"/>
                  </a:ext>
                </a:extLst>
              </p:cNvPr>
              <p:cNvSpPr/>
              <p:nvPr/>
            </p:nvSpPr>
            <p:spPr>
              <a:xfrm>
                <a:off x="5159465" y="-484347"/>
                <a:ext cx="38100" cy="38100"/>
              </a:xfrm>
              <a:custGeom>
                <a:avLst/>
                <a:gdLst/>
                <a:ahLst/>
                <a:cxnLst/>
                <a:rect l="0" t="0" r="0" b="0"/>
                <a:pathLst>
                  <a:path w="38100" h="38100">
                    <a:moveTo>
                      <a:pt x="21431" y="24289"/>
                    </a:moveTo>
                    <a:lnTo>
                      <a:pt x="21431"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66" name="Text Placeholder 2">
            <a:extLst>
              <a:ext uri="{FF2B5EF4-FFF2-40B4-BE49-F238E27FC236}">
                <a16:creationId xmlns:a16="http://schemas.microsoft.com/office/drawing/2014/main" id="{D579979A-2E18-8248-88A2-4C8B563F3B29}"/>
              </a:ext>
            </a:extLst>
          </p:cNvPr>
          <p:cNvSpPr txBox="1">
            <a:spLocks/>
          </p:cNvSpPr>
          <p:nvPr/>
        </p:nvSpPr>
        <p:spPr>
          <a:xfrm>
            <a:off x="0" y="6611779"/>
            <a:ext cx="4709694"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hristi3k   @zdeptawa</a:t>
            </a:r>
          </a:p>
        </p:txBody>
      </p:sp>
    </p:spTree>
    <p:extLst>
      <p:ext uri="{BB962C8B-B14F-4D97-AF65-F5344CB8AC3E}">
        <p14:creationId xmlns:p14="http://schemas.microsoft.com/office/powerpoint/2010/main" val="9172260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1000" fill="hold"/>
                                        <p:tgtEl>
                                          <p:spTgt spid="33"/>
                                        </p:tgtEl>
                                        <p:attrNameLst>
                                          <p:attrName>ppt_x</p:attrName>
                                        </p:attrNameLst>
                                      </p:cBhvr>
                                      <p:tavLst>
                                        <p:tav tm="0">
                                          <p:val>
                                            <p:strVal val="#ppt_x"/>
                                          </p:val>
                                        </p:tav>
                                        <p:tav tm="100000">
                                          <p:val>
                                            <p:strVal val="#ppt_x"/>
                                          </p:val>
                                        </p:tav>
                                      </p:tavLst>
                                    </p:anim>
                                    <p:anim calcmode="lin" valueType="num">
                                      <p:cBhvr additive="base">
                                        <p:cTn id="8" dur="1000" fill="hold"/>
                                        <p:tgtEl>
                                          <p:spTgt spid="33"/>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1000" fill="hold"/>
                                        <p:tgtEl>
                                          <p:spTgt spid="36"/>
                                        </p:tgtEl>
                                        <p:attrNameLst>
                                          <p:attrName>ppt_x</p:attrName>
                                        </p:attrNameLst>
                                      </p:cBhvr>
                                      <p:tavLst>
                                        <p:tav tm="0">
                                          <p:val>
                                            <p:strVal val="#ppt_x"/>
                                          </p:val>
                                        </p:tav>
                                        <p:tav tm="100000">
                                          <p:val>
                                            <p:strVal val="#ppt_x"/>
                                          </p:val>
                                        </p:tav>
                                      </p:tavLst>
                                    </p:anim>
                                    <p:anim calcmode="lin" valueType="num">
                                      <p:cBhvr additive="base">
                                        <p:cTn id="12" dur="1000" fill="hold"/>
                                        <p:tgtEl>
                                          <p:spTgt spid="3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1000" fill="hold"/>
                                        <p:tgtEl>
                                          <p:spTgt spid="52"/>
                                        </p:tgtEl>
                                        <p:attrNameLst>
                                          <p:attrName>ppt_x</p:attrName>
                                        </p:attrNameLst>
                                      </p:cBhvr>
                                      <p:tavLst>
                                        <p:tav tm="0">
                                          <p:val>
                                            <p:strVal val="#ppt_x"/>
                                          </p:val>
                                        </p:tav>
                                        <p:tav tm="100000">
                                          <p:val>
                                            <p:strVal val="#ppt_x"/>
                                          </p:val>
                                        </p:tav>
                                      </p:tavLst>
                                    </p:anim>
                                    <p:anim calcmode="lin" valueType="num">
                                      <p:cBhvr additive="base">
                                        <p:cTn id="16" dur="1000" fill="hold"/>
                                        <p:tgtEl>
                                          <p:spTgt spid="52"/>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barn(outVertical)">
                                      <p:cBhvr>
                                        <p:cTn id="2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6"/>
            <a:ext cx="11655840" cy="724044"/>
          </a:xfrm>
        </p:spPr>
        <p:txBody>
          <a:bodyPr/>
          <a:lstStyle/>
          <a:p>
            <a:pPr algn="ctr"/>
            <a:r>
              <a:rPr lang="en-US" sz="4705">
                <a:solidFill>
                  <a:schemeClr val="tx1"/>
                </a:solidFill>
              </a:rPr>
              <a:t>What we hear from </a:t>
            </a:r>
            <a:r>
              <a:rPr lang="en-US" sz="4705">
                <a:solidFill>
                  <a:schemeClr val="accent1"/>
                </a:solidFill>
                <a:latin typeface="Segoe UI Semibold" panose="020B0702040204020203" pitchFamily="34" charset="0"/>
                <a:cs typeface="Segoe UI Semibold" panose="020B0702040204020203" pitchFamily="34" charset="0"/>
              </a:rPr>
              <a:t>IT</a:t>
            </a:r>
            <a:endParaRPr lang="en-US" sz="4705">
              <a:solidFill>
                <a:schemeClr val="tx1"/>
              </a:solidFill>
            </a:endParaRPr>
          </a:p>
        </p:txBody>
      </p:sp>
      <p:grpSp>
        <p:nvGrpSpPr>
          <p:cNvPr id="4" name="Group 3">
            <a:extLst>
              <a:ext uri="{FF2B5EF4-FFF2-40B4-BE49-F238E27FC236}">
                <a16:creationId xmlns:a16="http://schemas.microsoft.com/office/drawing/2014/main" id="{F419B3FC-707B-489A-A7B9-DE08B8E70644}"/>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I need to manage servers and maintain compliance with little disruption</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I’m unsure of how to integrate unfamiliar applications, and I require help from develop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I’m unable to focus on both server protection and application compliance</a:t>
              </a:r>
            </a:p>
          </p:txBody>
        </p:sp>
      </p:grpSp>
      <p:grpSp>
        <p:nvGrpSpPr>
          <p:cNvPr id="84" name="Group 83">
            <a:extLst>
              <a:ext uri="{FF2B5EF4-FFF2-40B4-BE49-F238E27FC236}">
                <a16:creationId xmlns:a16="http://schemas.microsoft.com/office/drawing/2014/main" id="{263928D3-EE13-4DBD-8945-8835DC5D9669}"/>
              </a:ext>
            </a:extLst>
          </p:cNvPr>
          <p:cNvGrpSpPr/>
          <p:nvPr/>
        </p:nvGrpSpPr>
        <p:grpSpPr>
          <a:xfrm>
            <a:off x="5565843" y="2497491"/>
            <a:ext cx="1060317" cy="982777"/>
            <a:chOff x="-1584325" y="2674938"/>
            <a:chExt cx="868363" cy="804862"/>
          </a:xfrm>
        </p:grpSpPr>
        <p:sp>
          <p:nvSpPr>
            <p:cNvPr id="85" name="Freeform 5">
              <a:extLst>
                <a:ext uri="{FF2B5EF4-FFF2-40B4-BE49-F238E27FC236}">
                  <a16:creationId xmlns:a16="http://schemas.microsoft.com/office/drawing/2014/main" id="{A9DD8FE7-3ABB-470F-A31A-1839E008250A}"/>
                </a:ext>
              </a:extLst>
            </p:cNvPr>
            <p:cNvSpPr>
              <a:spLocks/>
            </p:cNvSpPr>
            <p:nvPr/>
          </p:nvSpPr>
          <p:spPr bwMode="auto">
            <a:xfrm>
              <a:off x="-1493838" y="2798763"/>
              <a:ext cx="244475" cy="314325"/>
            </a:xfrm>
            <a:custGeom>
              <a:avLst/>
              <a:gdLst>
                <a:gd name="T0" fmla="*/ 43 w 87"/>
                <a:gd name="T1" fmla="*/ 0 h 111"/>
                <a:gd name="T2" fmla="*/ 0 w 87"/>
                <a:gd name="T3" fmla="*/ 44 h 111"/>
                <a:gd name="T4" fmla="*/ 0 w 87"/>
                <a:gd name="T5" fmla="*/ 67 h 111"/>
                <a:gd name="T6" fmla="*/ 43 w 87"/>
                <a:gd name="T7" fmla="*/ 111 h 111"/>
                <a:gd name="T8" fmla="*/ 87 w 87"/>
                <a:gd name="T9" fmla="*/ 67 h 111"/>
                <a:gd name="T10" fmla="*/ 87 w 87"/>
                <a:gd name="T11" fmla="*/ 55 h 111"/>
                <a:gd name="T12" fmla="*/ 87 w 87"/>
                <a:gd name="T13" fmla="*/ 44 h 111"/>
                <a:gd name="T14" fmla="*/ 43 w 87"/>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1">
                  <a:moveTo>
                    <a:pt x="43" y="0"/>
                  </a:moveTo>
                  <a:cubicBezTo>
                    <a:pt x="19" y="0"/>
                    <a:pt x="0" y="20"/>
                    <a:pt x="0" y="44"/>
                  </a:cubicBezTo>
                  <a:cubicBezTo>
                    <a:pt x="0" y="67"/>
                    <a:pt x="0" y="67"/>
                    <a:pt x="0" y="67"/>
                  </a:cubicBezTo>
                  <a:cubicBezTo>
                    <a:pt x="0" y="91"/>
                    <a:pt x="19" y="111"/>
                    <a:pt x="43" y="111"/>
                  </a:cubicBezTo>
                  <a:cubicBezTo>
                    <a:pt x="67" y="111"/>
                    <a:pt x="87" y="91"/>
                    <a:pt x="87" y="67"/>
                  </a:cubicBezTo>
                  <a:cubicBezTo>
                    <a:pt x="87" y="55"/>
                    <a:pt x="87" y="55"/>
                    <a:pt x="87" y="55"/>
                  </a:cubicBezTo>
                  <a:cubicBezTo>
                    <a:pt x="87" y="44"/>
                    <a:pt x="87" y="44"/>
                    <a:pt x="87" y="44"/>
                  </a:cubicBezTo>
                  <a:cubicBezTo>
                    <a:pt x="87" y="20"/>
                    <a:pt x="67" y="0"/>
                    <a:pt x="4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6" name="Freeform 6">
              <a:extLst>
                <a:ext uri="{FF2B5EF4-FFF2-40B4-BE49-F238E27FC236}">
                  <a16:creationId xmlns:a16="http://schemas.microsoft.com/office/drawing/2014/main" id="{FE37291D-D92F-45F2-9F1D-A7208C1B2A8C}"/>
                </a:ext>
              </a:extLst>
            </p:cNvPr>
            <p:cNvSpPr>
              <a:spLocks/>
            </p:cNvSpPr>
            <p:nvPr/>
          </p:nvSpPr>
          <p:spPr bwMode="auto">
            <a:xfrm>
              <a:off x="-1231900" y="3063875"/>
              <a:ext cx="515938" cy="415925"/>
            </a:xfrm>
            <a:custGeom>
              <a:avLst/>
              <a:gdLst>
                <a:gd name="T0" fmla="*/ 92 w 183"/>
                <a:gd name="T1" fmla="*/ 0 h 147"/>
                <a:gd name="T2" fmla="*/ 0 w 183"/>
                <a:gd name="T3" fmla="*/ 75 h 147"/>
                <a:gd name="T4" fmla="*/ 0 w 183"/>
                <a:gd name="T5" fmla="*/ 147 h 147"/>
                <a:gd name="T6" fmla="*/ 183 w 183"/>
                <a:gd name="T7" fmla="*/ 147 h 147"/>
                <a:gd name="T8" fmla="*/ 183 w 183"/>
                <a:gd name="T9" fmla="*/ 75 h 147"/>
                <a:gd name="T10" fmla="*/ 92 w 183"/>
                <a:gd name="T11" fmla="*/ 0 h 147"/>
              </a:gdLst>
              <a:ahLst/>
              <a:cxnLst>
                <a:cxn ang="0">
                  <a:pos x="T0" y="T1"/>
                </a:cxn>
                <a:cxn ang="0">
                  <a:pos x="T2" y="T3"/>
                </a:cxn>
                <a:cxn ang="0">
                  <a:pos x="T4" y="T5"/>
                </a:cxn>
                <a:cxn ang="0">
                  <a:pos x="T6" y="T7"/>
                </a:cxn>
                <a:cxn ang="0">
                  <a:pos x="T8" y="T9"/>
                </a:cxn>
                <a:cxn ang="0">
                  <a:pos x="T10" y="T11"/>
                </a:cxn>
              </a:cxnLst>
              <a:rect l="0" t="0" r="r" b="b"/>
              <a:pathLst>
                <a:path w="183" h="147">
                  <a:moveTo>
                    <a:pt x="92" y="0"/>
                  </a:moveTo>
                  <a:cubicBezTo>
                    <a:pt x="41" y="0"/>
                    <a:pt x="0" y="33"/>
                    <a:pt x="0" y="75"/>
                  </a:cubicBezTo>
                  <a:cubicBezTo>
                    <a:pt x="0" y="147"/>
                    <a:pt x="0" y="147"/>
                    <a:pt x="0" y="147"/>
                  </a:cubicBezTo>
                  <a:cubicBezTo>
                    <a:pt x="183" y="147"/>
                    <a:pt x="183" y="147"/>
                    <a:pt x="183" y="147"/>
                  </a:cubicBezTo>
                  <a:cubicBezTo>
                    <a:pt x="183" y="75"/>
                    <a:pt x="183" y="75"/>
                    <a:pt x="183" y="75"/>
                  </a:cubicBezTo>
                  <a:cubicBezTo>
                    <a:pt x="183" y="33"/>
                    <a:pt x="142" y="0"/>
                    <a:pt x="92"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7" name="Freeform 7">
              <a:extLst>
                <a:ext uri="{FF2B5EF4-FFF2-40B4-BE49-F238E27FC236}">
                  <a16:creationId xmlns:a16="http://schemas.microsoft.com/office/drawing/2014/main" id="{2B07F713-C75F-4189-8B85-28E8FDE8A655}"/>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8" name="Freeform 8">
              <a:extLst>
                <a:ext uri="{FF2B5EF4-FFF2-40B4-BE49-F238E27FC236}">
                  <a16:creationId xmlns:a16="http://schemas.microsoft.com/office/drawing/2014/main" id="{DC90C52F-3D5C-4CB9-B183-CADFB3A9CA0B}"/>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9" name="Freeform 9">
              <a:extLst>
                <a:ext uri="{FF2B5EF4-FFF2-40B4-BE49-F238E27FC236}">
                  <a16:creationId xmlns:a16="http://schemas.microsoft.com/office/drawing/2014/main" id="{B8F7AA2F-3270-44EA-9995-5404CC066A16}"/>
                </a:ext>
              </a:extLst>
            </p:cNvPr>
            <p:cNvSpPr>
              <a:spLocks/>
            </p:cNvSpPr>
            <p:nvPr/>
          </p:nvSpPr>
          <p:spPr bwMode="auto">
            <a:xfrm>
              <a:off x="-1584325" y="3117850"/>
              <a:ext cx="371475" cy="361950"/>
            </a:xfrm>
            <a:custGeom>
              <a:avLst/>
              <a:gdLst>
                <a:gd name="T0" fmla="*/ 125 w 132"/>
                <a:gd name="T1" fmla="*/ 53 h 128"/>
                <a:gd name="T2" fmla="*/ 132 w 132"/>
                <a:gd name="T3" fmla="*/ 22 h 128"/>
                <a:gd name="T4" fmla="*/ 75 w 132"/>
                <a:gd name="T5" fmla="*/ 0 h 128"/>
                <a:gd name="T6" fmla="*/ 0 w 132"/>
                <a:gd name="T7" fmla="*/ 62 h 128"/>
                <a:gd name="T8" fmla="*/ 0 w 132"/>
                <a:gd name="T9" fmla="*/ 128 h 128"/>
                <a:gd name="T10" fmla="*/ 125 w 132"/>
                <a:gd name="T11" fmla="*/ 128 h 128"/>
                <a:gd name="T12" fmla="*/ 125 w 132"/>
                <a:gd name="T13" fmla="*/ 53 h 128"/>
              </a:gdLst>
              <a:ahLst/>
              <a:cxnLst>
                <a:cxn ang="0">
                  <a:pos x="T0" y="T1"/>
                </a:cxn>
                <a:cxn ang="0">
                  <a:pos x="T2" y="T3"/>
                </a:cxn>
                <a:cxn ang="0">
                  <a:pos x="T4" y="T5"/>
                </a:cxn>
                <a:cxn ang="0">
                  <a:pos x="T6" y="T7"/>
                </a:cxn>
                <a:cxn ang="0">
                  <a:pos x="T8" y="T9"/>
                </a:cxn>
                <a:cxn ang="0">
                  <a:pos x="T10" y="T11"/>
                </a:cxn>
                <a:cxn ang="0">
                  <a:pos x="T12" y="T13"/>
                </a:cxn>
              </a:cxnLst>
              <a:rect l="0" t="0" r="r" b="b"/>
              <a:pathLst>
                <a:path w="132" h="128">
                  <a:moveTo>
                    <a:pt x="125" y="53"/>
                  </a:moveTo>
                  <a:cubicBezTo>
                    <a:pt x="125" y="42"/>
                    <a:pt x="128" y="31"/>
                    <a:pt x="132" y="22"/>
                  </a:cubicBezTo>
                  <a:cubicBezTo>
                    <a:pt x="119" y="8"/>
                    <a:pt x="98" y="0"/>
                    <a:pt x="75" y="0"/>
                  </a:cubicBezTo>
                  <a:cubicBezTo>
                    <a:pt x="34" y="0"/>
                    <a:pt x="0" y="27"/>
                    <a:pt x="0" y="62"/>
                  </a:cubicBezTo>
                  <a:cubicBezTo>
                    <a:pt x="0" y="128"/>
                    <a:pt x="0" y="128"/>
                    <a:pt x="0" y="128"/>
                  </a:cubicBezTo>
                  <a:cubicBezTo>
                    <a:pt x="125" y="128"/>
                    <a:pt x="125" y="128"/>
                    <a:pt x="125" y="128"/>
                  </a:cubicBezTo>
                  <a:lnTo>
                    <a:pt x="125" y="53"/>
                  </a:ln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 name="Group 4">
            <a:extLst>
              <a:ext uri="{FF2B5EF4-FFF2-40B4-BE49-F238E27FC236}">
                <a16:creationId xmlns:a16="http://schemas.microsoft.com/office/drawing/2014/main" id="{A9FEE6EE-63E9-4CC9-8AB5-5245CC6A0244}"/>
              </a:ext>
            </a:extLst>
          </p:cNvPr>
          <p:cNvGrpSpPr>
            <a:grpSpLocks noChangeAspect="1"/>
          </p:cNvGrpSpPr>
          <p:nvPr/>
        </p:nvGrpSpPr>
        <p:grpSpPr bwMode="auto">
          <a:xfrm>
            <a:off x="9426046" y="2469073"/>
            <a:ext cx="892477" cy="1039606"/>
            <a:chOff x="7055" y="1097"/>
            <a:chExt cx="461" cy="537"/>
          </a:xfrm>
        </p:grpSpPr>
        <p:sp>
          <p:nvSpPr>
            <p:cNvPr id="5" name="Freeform 5">
              <a:extLst>
                <a:ext uri="{FF2B5EF4-FFF2-40B4-BE49-F238E27FC236}">
                  <a16:creationId xmlns:a16="http://schemas.microsoft.com/office/drawing/2014/main" id="{DF0DF16F-F55A-4320-9A99-2C3F27A75A15}"/>
                </a:ext>
              </a:extLst>
            </p:cNvPr>
            <p:cNvSpPr>
              <a:spLocks/>
            </p:cNvSpPr>
            <p:nvPr/>
          </p:nvSpPr>
          <p:spPr bwMode="auto">
            <a:xfrm>
              <a:off x="7055" y="1097"/>
              <a:ext cx="230" cy="105"/>
            </a:xfrm>
            <a:custGeom>
              <a:avLst/>
              <a:gdLst>
                <a:gd name="T0" fmla="*/ 0 w 129"/>
                <a:gd name="T1" fmla="*/ 31 h 59"/>
                <a:gd name="T2" fmla="*/ 129 w 129"/>
                <a:gd name="T3" fmla="*/ 0 h 59"/>
              </a:gdLst>
              <a:ahLst/>
              <a:cxnLst>
                <a:cxn ang="0">
                  <a:pos x="T0" y="T1"/>
                </a:cxn>
                <a:cxn ang="0">
                  <a:pos x="T2" y="T3"/>
                </a:cxn>
              </a:cxnLst>
              <a:rect l="0" t="0" r="r" b="b"/>
              <a:pathLst>
                <a:path w="129" h="59">
                  <a:moveTo>
                    <a:pt x="0" y="31"/>
                  </a:moveTo>
                  <a:cubicBezTo>
                    <a:pt x="0" y="31"/>
                    <a:pt x="83" y="59"/>
                    <a:pt x="129"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6">
              <a:extLst>
                <a:ext uri="{FF2B5EF4-FFF2-40B4-BE49-F238E27FC236}">
                  <a16:creationId xmlns:a16="http://schemas.microsoft.com/office/drawing/2014/main" id="{E770B077-C50A-4865-A824-D398DF24F669}"/>
                </a:ext>
              </a:extLst>
            </p:cNvPr>
            <p:cNvSpPr>
              <a:spLocks/>
            </p:cNvSpPr>
            <p:nvPr/>
          </p:nvSpPr>
          <p:spPr bwMode="auto">
            <a:xfrm>
              <a:off x="7055" y="1153"/>
              <a:ext cx="461" cy="481"/>
            </a:xfrm>
            <a:custGeom>
              <a:avLst/>
              <a:gdLst>
                <a:gd name="T0" fmla="*/ 258 w 258"/>
                <a:gd name="T1" fmla="*/ 0 h 270"/>
                <a:gd name="T2" fmla="*/ 258 w 258"/>
                <a:gd name="T3" fmla="*/ 60 h 270"/>
                <a:gd name="T4" fmla="*/ 129 w 258"/>
                <a:gd name="T5" fmla="*/ 270 h 270"/>
                <a:gd name="T6" fmla="*/ 0 w 258"/>
                <a:gd name="T7" fmla="*/ 60 h 270"/>
                <a:gd name="T8" fmla="*/ 0 w 258"/>
                <a:gd name="T9" fmla="*/ 0 h 270"/>
              </a:gdLst>
              <a:ahLst/>
              <a:cxnLst>
                <a:cxn ang="0">
                  <a:pos x="T0" y="T1"/>
                </a:cxn>
                <a:cxn ang="0">
                  <a:pos x="T2" y="T3"/>
                </a:cxn>
                <a:cxn ang="0">
                  <a:pos x="T4" y="T5"/>
                </a:cxn>
                <a:cxn ang="0">
                  <a:pos x="T6" y="T7"/>
                </a:cxn>
                <a:cxn ang="0">
                  <a:pos x="T8" y="T9"/>
                </a:cxn>
              </a:cxnLst>
              <a:rect l="0" t="0" r="r" b="b"/>
              <a:pathLst>
                <a:path w="258" h="270">
                  <a:moveTo>
                    <a:pt x="258" y="0"/>
                  </a:moveTo>
                  <a:cubicBezTo>
                    <a:pt x="258" y="60"/>
                    <a:pt x="258" y="60"/>
                    <a:pt x="258" y="60"/>
                  </a:cubicBezTo>
                  <a:cubicBezTo>
                    <a:pt x="255" y="222"/>
                    <a:pt x="129" y="270"/>
                    <a:pt x="129" y="270"/>
                  </a:cubicBezTo>
                  <a:cubicBezTo>
                    <a:pt x="129" y="270"/>
                    <a:pt x="2" y="222"/>
                    <a:pt x="0" y="60"/>
                  </a:cubicBezTo>
                  <a:cubicBezTo>
                    <a:pt x="0" y="0"/>
                    <a:pt x="0" y="0"/>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7">
              <a:extLst>
                <a:ext uri="{FF2B5EF4-FFF2-40B4-BE49-F238E27FC236}">
                  <a16:creationId xmlns:a16="http://schemas.microsoft.com/office/drawing/2014/main" id="{3485EDF4-21F2-4B57-94F6-9A71CB020E30}"/>
                </a:ext>
              </a:extLst>
            </p:cNvPr>
            <p:cNvSpPr>
              <a:spLocks/>
            </p:cNvSpPr>
            <p:nvPr/>
          </p:nvSpPr>
          <p:spPr bwMode="auto">
            <a:xfrm>
              <a:off x="7285" y="1097"/>
              <a:ext cx="231" cy="105"/>
            </a:xfrm>
            <a:custGeom>
              <a:avLst/>
              <a:gdLst>
                <a:gd name="T0" fmla="*/ 129 w 129"/>
                <a:gd name="T1" fmla="*/ 31 h 59"/>
                <a:gd name="T2" fmla="*/ 0 w 129"/>
                <a:gd name="T3" fmla="*/ 0 h 59"/>
              </a:gdLst>
              <a:ahLst/>
              <a:cxnLst>
                <a:cxn ang="0">
                  <a:pos x="T0" y="T1"/>
                </a:cxn>
                <a:cxn ang="0">
                  <a:pos x="T2" y="T3"/>
                </a:cxn>
              </a:cxnLst>
              <a:rect l="0" t="0" r="r" b="b"/>
              <a:pathLst>
                <a:path w="129" h="59">
                  <a:moveTo>
                    <a:pt x="129" y="31"/>
                  </a:moveTo>
                  <a:cubicBezTo>
                    <a:pt x="129" y="31"/>
                    <a:pt x="46" y="59"/>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 name="Line 8">
              <a:extLst>
                <a:ext uri="{FF2B5EF4-FFF2-40B4-BE49-F238E27FC236}">
                  <a16:creationId xmlns:a16="http://schemas.microsoft.com/office/drawing/2014/main" id="{45EB758E-87C8-4127-83CB-077DDEF6E215}"/>
                </a:ext>
              </a:extLst>
            </p:cNvPr>
            <p:cNvSpPr>
              <a:spLocks noChangeShapeType="1"/>
            </p:cNvSpPr>
            <p:nvPr/>
          </p:nvSpPr>
          <p:spPr bwMode="auto">
            <a:xfrm>
              <a:off x="7285" y="1099"/>
              <a:ext cx="0" cy="53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9" name="Line 9">
              <a:extLst>
                <a:ext uri="{FF2B5EF4-FFF2-40B4-BE49-F238E27FC236}">
                  <a16:creationId xmlns:a16="http://schemas.microsoft.com/office/drawing/2014/main" id="{FFC451FA-4BEE-4797-AC1C-9864106F3543}"/>
                </a:ext>
              </a:extLst>
            </p:cNvPr>
            <p:cNvSpPr>
              <a:spLocks noChangeShapeType="1"/>
            </p:cNvSpPr>
            <p:nvPr/>
          </p:nvSpPr>
          <p:spPr bwMode="auto">
            <a:xfrm>
              <a:off x="7078" y="1388"/>
              <a:ext cx="409"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7693567F-DCAA-4F37-A4C2-1FBF93199F32}"/>
              </a:ext>
            </a:extLst>
          </p:cNvPr>
          <p:cNvGrpSpPr/>
          <p:nvPr/>
        </p:nvGrpSpPr>
        <p:grpSpPr>
          <a:xfrm>
            <a:off x="1829949" y="2462216"/>
            <a:ext cx="971398" cy="1010055"/>
            <a:chOff x="5161693" y="3063002"/>
            <a:chExt cx="933450" cy="970598"/>
          </a:xfrm>
        </p:grpSpPr>
        <p:sp>
          <p:nvSpPr>
            <p:cNvPr id="52" name="Freeform: Shape 51">
              <a:extLst>
                <a:ext uri="{FF2B5EF4-FFF2-40B4-BE49-F238E27FC236}">
                  <a16:creationId xmlns:a16="http://schemas.microsoft.com/office/drawing/2014/main" id="{7A8429E5-A655-4692-B713-329189C3FAAD}"/>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7B77223D-331C-4B1E-8C54-E3AE8686EE1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DB9B6699-CB25-4E7A-8D0B-2F8E0D9F17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C41C69E4-35F0-40EC-BB7C-CB5B5059A8FA}"/>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75EEEAEA-02B0-425C-A40F-EC6DD4C338BD}"/>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8B2BECDB-E042-4A5A-8BEC-5C46028711AD}"/>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78ADB395-3842-438A-9061-4C7BC1CE252A}"/>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F150CAF6-E385-4113-9E7B-62881C00A080}"/>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63B53EC0-2FFB-4448-BEC4-6729213AD11A}"/>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3F33A1E0-6E4E-46E1-A340-B36C00E107E2}"/>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F75CDA4B-E3A9-4C57-8876-6F3E87CE31BA}"/>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8AD963A2-4511-4C65-9CE6-8E4DEB14F390}"/>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20A23DF1-476D-44A9-B763-93919A8AB6D2}"/>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0867A50E-776F-4757-BD1C-B7CFA8180DB6}"/>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4F4DBA13-8C4E-43BE-A10D-9F2E161B9E78}"/>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40" name="Group 39">
            <a:extLst>
              <a:ext uri="{FF2B5EF4-FFF2-40B4-BE49-F238E27FC236}">
                <a16:creationId xmlns:a16="http://schemas.microsoft.com/office/drawing/2014/main" id="{8596BF82-62C2-4947-B5E5-8EF9511482EE}"/>
              </a:ext>
            </a:extLst>
          </p:cNvPr>
          <p:cNvGrpSpPr/>
          <p:nvPr/>
        </p:nvGrpSpPr>
        <p:grpSpPr>
          <a:xfrm>
            <a:off x="2247705" y="5440442"/>
            <a:ext cx="7696590" cy="144024"/>
            <a:chOff x="2292775" y="5549038"/>
            <a:chExt cx="7850923" cy="146912"/>
          </a:xfrm>
        </p:grpSpPr>
        <p:sp>
          <p:nvSpPr>
            <p:cNvPr id="41" name="Oval 40">
              <a:extLst>
                <a:ext uri="{FF2B5EF4-FFF2-40B4-BE49-F238E27FC236}">
                  <a16:creationId xmlns:a16="http://schemas.microsoft.com/office/drawing/2014/main" id="{F6170AC0-F457-46B8-8D3F-B805EDDB713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2" name="Oval 41">
              <a:extLst>
                <a:ext uri="{FF2B5EF4-FFF2-40B4-BE49-F238E27FC236}">
                  <a16:creationId xmlns:a16="http://schemas.microsoft.com/office/drawing/2014/main" id="{F49367F3-AFEF-42BF-B9B9-C19CD81874A9}"/>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3" name="Oval 42">
              <a:extLst>
                <a:ext uri="{FF2B5EF4-FFF2-40B4-BE49-F238E27FC236}">
                  <a16:creationId xmlns:a16="http://schemas.microsoft.com/office/drawing/2014/main" id="{7242CA74-13C2-4276-85C2-1F080285BBBA}"/>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44" name="Straight Connector 43">
              <a:extLst>
                <a:ext uri="{FF2B5EF4-FFF2-40B4-BE49-F238E27FC236}">
                  <a16:creationId xmlns:a16="http://schemas.microsoft.com/office/drawing/2014/main" id="{D55DE5A8-E63A-4124-B94E-1530502C7907}"/>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33C6F60-2324-4890-9B6B-9CC9C6D3D4CE}"/>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7" name="Text Placeholder 2">
            <a:extLst>
              <a:ext uri="{FF2B5EF4-FFF2-40B4-BE49-F238E27FC236}">
                <a16:creationId xmlns:a16="http://schemas.microsoft.com/office/drawing/2014/main" id="{31688A84-7AA8-584E-B34D-BAE529758EF5}"/>
              </a:ext>
            </a:extLst>
          </p:cNvPr>
          <p:cNvSpPr txBox="1">
            <a:spLocks/>
          </p:cNvSpPr>
          <p:nvPr/>
        </p:nvSpPr>
        <p:spPr>
          <a:xfrm>
            <a:off x="0" y="6611779"/>
            <a:ext cx="4709694"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hristi3k   @zdeptawa</a:t>
            </a:r>
          </a:p>
        </p:txBody>
      </p:sp>
    </p:spTree>
    <p:extLst>
      <p:ext uri="{BB962C8B-B14F-4D97-AF65-F5344CB8AC3E}">
        <p14:creationId xmlns:p14="http://schemas.microsoft.com/office/powerpoint/2010/main" val="914777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1000" fill="hold"/>
                                        <p:tgtEl>
                                          <p:spTgt spid="51"/>
                                        </p:tgtEl>
                                        <p:attrNameLst>
                                          <p:attrName>ppt_x</p:attrName>
                                        </p:attrNameLst>
                                      </p:cBhvr>
                                      <p:tavLst>
                                        <p:tav tm="0">
                                          <p:val>
                                            <p:strVal val="#ppt_x"/>
                                          </p:val>
                                        </p:tav>
                                        <p:tav tm="100000">
                                          <p:val>
                                            <p:strVal val="#ppt_x"/>
                                          </p:val>
                                        </p:tav>
                                      </p:tavLst>
                                    </p:anim>
                                    <p:anim calcmode="lin" valueType="num">
                                      <p:cBhvr additive="base">
                                        <p:cTn id="8" dur="1000" fill="hold"/>
                                        <p:tgtEl>
                                          <p:spTgt spid="51"/>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84"/>
                                        </p:tgtEl>
                                        <p:attrNameLst>
                                          <p:attrName>style.visibility</p:attrName>
                                        </p:attrNameLst>
                                      </p:cBhvr>
                                      <p:to>
                                        <p:strVal val="visible"/>
                                      </p:to>
                                    </p:set>
                                    <p:anim calcmode="lin" valueType="num">
                                      <p:cBhvr additive="base">
                                        <p:cTn id="11" dur="1000" fill="hold"/>
                                        <p:tgtEl>
                                          <p:spTgt spid="84"/>
                                        </p:tgtEl>
                                        <p:attrNameLst>
                                          <p:attrName>ppt_x</p:attrName>
                                        </p:attrNameLst>
                                      </p:cBhvr>
                                      <p:tavLst>
                                        <p:tav tm="0">
                                          <p:val>
                                            <p:strVal val="#ppt_x"/>
                                          </p:val>
                                        </p:tav>
                                        <p:tav tm="100000">
                                          <p:val>
                                            <p:strVal val="#ppt_x"/>
                                          </p:val>
                                        </p:tav>
                                      </p:tavLst>
                                    </p:anim>
                                    <p:anim calcmode="lin" valueType="num">
                                      <p:cBhvr additive="base">
                                        <p:cTn id="12" dur="1000" fill="hold"/>
                                        <p:tgtEl>
                                          <p:spTgt spid="84"/>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000" fill="hold"/>
                                        <p:tgtEl>
                                          <p:spTgt spid="3"/>
                                        </p:tgtEl>
                                        <p:attrNameLst>
                                          <p:attrName>ppt_x</p:attrName>
                                        </p:attrNameLst>
                                      </p:cBhvr>
                                      <p:tavLst>
                                        <p:tav tm="0">
                                          <p:val>
                                            <p:strVal val="#ppt_x"/>
                                          </p:val>
                                        </p:tav>
                                        <p:tav tm="100000">
                                          <p:val>
                                            <p:strVal val="#ppt_x"/>
                                          </p:val>
                                        </p:tav>
                                      </p:tavLst>
                                    </p:anim>
                                    <p:anim calcmode="lin" valueType="num">
                                      <p:cBhvr additive="base">
                                        <p:cTn id="16" dur="1000" fill="hold"/>
                                        <p:tgtEl>
                                          <p:spTgt spid="3"/>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barn(outVertical)">
                                      <p:cBhvr>
                                        <p:cTn id="24" dur="10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369814"/>
            <a:ext cx="11655840" cy="724044"/>
          </a:xfrm>
        </p:spPr>
        <p:txBody>
          <a:bodyPr/>
          <a:lstStyle/>
          <a:p>
            <a:pPr algn="ctr"/>
            <a:r>
              <a:rPr lang="en-US" sz="4705">
                <a:solidFill>
                  <a:schemeClr val="tx1"/>
                </a:solidFill>
              </a:rPr>
              <a:t>The container </a:t>
            </a:r>
            <a:r>
              <a:rPr lang="en-US" sz="4705">
                <a:solidFill>
                  <a:schemeClr val="accent1"/>
                </a:solidFill>
                <a:latin typeface="Segoe UI Semibold" panose="020B0702040204020203" pitchFamily="34" charset="0"/>
                <a:cs typeface="Segoe UI Semibold" panose="020B0702040204020203" pitchFamily="34" charset="0"/>
              </a:rPr>
              <a:t>win-win</a:t>
            </a: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587074" y="4884192"/>
            <a:ext cx="5380933" cy="832764"/>
            <a:chOff x="598846" y="4981633"/>
            <a:chExt cx="5488832" cy="849463"/>
          </a:xfrm>
        </p:grpSpPr>
        <p:sp>
          <p:nvSpPr>
            <p:cNvPr id="50" name="TextBox 49">
              <a:extLst>
                <a:ext uri="{FF2B5EF4-FFF2-40B4-BE49-F238E27FC236}">
                  <a16:creationId xmlns:a16="http://schemas.microsoft.com/office/drawing/2014/main" id="{F0E637DF-EA86-4ABC-9F14-C02D882DD020}"/>
                </a:ext>
              </a:extLst>
            </p:cNvPr>
            <p:cNvSpPr txBox="1"/>
            <p:nvPr/>
          </p:nvSpPr>
          <p:spPr>
            <a:xfrm>
              <a:off x="598846" y="4981633"/>
              <a:ext cx="1655536" cy="849463"/>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Fast </a:t>
              </a:r>
              <a:b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iteration</a:t>
              </a:r>
            </a:p>
          </p:txBody>
        </p:sp>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849463"/>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Agile </a:t>
              </a:r>
              <a:b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delivery</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572464"/>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Immutability</a:t>
              </a:r>
            </a:p>
          </p:txBody>
        </p:sp>
      </p:grpSp>
      <p:grpSp>
        <p:nvGrpSpPr>
          <p:cNvPr id="34" name="Group 33">
            <a:extLst>
              <a:ext uri="{FF2B5EF4-FFF2-40B4-BE49-F238E27FC236}">
                <a16:creationId xmlns:a16="http://schemas.microsoft.com/office/drawing/2014/main" id="{BA33CDD7-EFB6-4CDD-BB4D-A8319356A443}"/>
              </a:ext>
            </a:extLst>
          </p:cNvPr>
          <p:cNvGrpSpPr/>
          <p:nvPr/>
        </p:nvGrpSpPr>
        <p:grpSpPr>
          <a:xfrm>
            <a:off x="1836841" y="4396538"/>
            <a:ext cx="8518318" cy="0"/>
            <a:chOff x="1873673" y="4484201"/>
            <a:chExt cx="8689128" cy="0"/>
          </a:xfrm>
        </p:grpSpPr>
        <p:cxnSp>
          <p:nvCxnSpPr>
            <p:cNvPr id="49" name="Straight Connector 48">
              <a:extLst>
                <a:ext uri="{FF2B5EF4-FFF2-40B4-BE49-F238E27FC236}">
                  <a16:creationId xmlns:a16="http://schemas.microsoft.com/office/drawing/2014/main" id="{15104528-8906-4955-BC4D-9BA5DB4327FB}"/>
                </a:ext>
              </a:extLst>
            </p:cNvPr>
            <p:cNvCxnSpPr>
              <a:cxnSpLocks/>
            </p:cNvCxnSpPr>
            <p:nvPr/>
          </p:nvCxnSpPr>
          <p:spPr>
            <a:xfrm>
              <a:off x="1873673"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2D2D268-271F-42D8-9A33-CF16F057ECA7}"/>
                </a:ext>
              </a:extLst>
            </p:cNvPr>
            <p:cNvCxnSpPr>
              <a:cxnSpLocks/>
            </p:cNvCxnSpPr>
            <p:nvPr/>
          </p:nvCxnSpPr>
          <p:spPr>
            <a:xfrm>
              <a:off x="3790322"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6A0968-D38D-43B2-A21A-6EFEE71C8C81}"/>
                </a:ext>
              </a:extLst>
            </p:cNvPr>
            <p:cNvCxnSpPr>
              <a:cxnSpLocks/>
            </p:cNvCxnSpPr>
            <p:nvPr/>
          </p:nvCxnSpPr>
          <p:spPr>
            <a:xfrm>
              <a:off x="762362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351DF10-E61D-4ABC-A47D-C36A3985E556}"/>
                </a:ext>
              </a:extLst>
            </p:cNvPr>
            <p:cNvCxnSpPr>
              <a:cxnSpLocks/>
            </p:cNvCxnSpPr>
            <p:nvPr/>
          </p:nvCxnSpPr>
          <p:spPr>
            <a:xfrm>
              <a:off x="954027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5" name="Connector: Elbow 24">
            <a:extLst>
              <a:ext uri="{FF2B5EF4-FFF2-40B4-BE49-F238E27FC236}">
                <a16:creationId xmlns:a16="http://schemas.microsoft.com/office/drawing/2014/main" id="{D2B2FC03-5BDF-417F-B1E8-10C408DD6F94}"/>
              </a:ext>
            </a:extLst>
          </p:cNvPr>
          <p:cNvCxnSpPr>
            <a:cxnSpLocks/>
          </p:cNvCxnSpPr>
          <p:nvPr/>
        </p:nvCxnSpPr>
        <p:spPr>
          <a:xfrm rot="5400000" flipH="1" flipV="1">
            <a:off x="3377558" y="2348866"/>
            <a:ext cx="1484143" cy="1684176"/>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F9C59010-2ADE-48A0-BCDC-61DF8A714E53}"/>
              </a:ext>
            </a:extLst>
          </p:cNvPr>
          <p:cNvCxnSpPr>
            <a:cxnSpLocks/>
          </p:cNvCxnSpPr>
          <p:nvPr/>
        </p:nvCxnSpPr>
        <p:spPr>
          <a:xfrm rot="16200000" flipV="1">
            <a:off x="7330301" y="2348866"/>
            <a:ext cx="1484143" cy="1684174"/>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2B5FBAB-C6F2-4E71-9336-AE07D0C24CD7}"/>
              </a:ext>
            </a:extLst>
          </p:cNvPr>
          <p:cNvGrpSpPr/>
          <p:nvPr/>
        </p:nvGrpSpPr>
        <p:grpSpPr>
          <a:xfrm>
            <a:off x="5087522" y="1440403"/>
            <a:ext cx="2016957" cy="2016957"/>
            <a:chOff x="5189537" y="1468789"/>
            <a:chExt cx="2057401" cy="2057401"/>
          </a:xfrm>
        </p:grpSpPr>
        <p:sp>
          <p:nvSpPr>
            <p:cNvPr id="3" name="Oval 2">
              <a:extLst>
                <a:ext uri="{FF2B5EF4-FFF2-40B4-BE49-F238E27FC236}">
                  <a16:creationId xmlns:a16="http://schemas.microsoft.com/office/drawing/2014/main" id="{2F673822-02DA-4818-9CF9-E436E0DD0A7A}"/>
                </a:ext>
              </a:extLst>
            </p:cNvPr>
            <p:cNvSpPr/>
            <p:nvPr/>
          </p:nvSpPr>
          <p:spPr bwMode="auto">
            <a:xfrm>
              <a:off x="5189537" y="146878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2" name="Graphic 41">
              <a:extLst>
                <a:ext uri="{FF2B5EF4-FFF2-40B4-BE49-F238E27FC236}">
                  <a16:creationId xmlns:a16="http://schemas.microsoft.com/office/drawing/2014/main" id="{6E936E98-9515-470B-963F-C70D86CA08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0399" y="1950147"/>
              <a:ext cx="955676" cy="1094684"/>
            </a:xfrm>
            <a:prstGeom prst="rect">
              <a:avLst/>
            </a:prstGeom>
          </p:spPr>
        </p:pic>
      </p:grpSp>
      <p:grpSp>
        <p:nvGrpSpPr>
          <p:cNvPr id="33" name="Group 32">
            <a:extLst>
              <a:ext uri="{FF2B5EF4-FFF2-40B4-BE49-F238E27FC236}">
                <a16:creationId xmlns:a16="http://schemas.microsoft.com/office/drawing/2014/main" id="{C526CB1E-8273-47B7-B921-DA8061592A80}"/>
              </a:ext>
            </a:extLst>
          </p:cNvPr>
          <p:cNvGrpSpPr/>
          <p:nvPr/>
        </p:nvGrpSpPr>
        <p:grpSpPr>
          <a:xfrm>
            <a:off x="6223995" y="4884192"/>
            <a:ext cx="5380927" cy="832764"/>
            <a:chOff x="6348798" y="4981633"/>
            <a:chExt cx="5488826" cy="849463"/>
          </a:xfrm>
        </p:grpSpPr>
        <p:sp>
          <p:nvSpPr>
            <p:cNvPr id="53" name="TextBox 52">
              <a:extLst>
                <a:ext uri="{FF2B5EF4-FFF2-40B4-BE49-F238E27FC236}">
                  <a16:creationId xmlns:a16="http://schemas.microsoft.com/office/drawing/2014/main" id="{310CD638-A464-4A78-A6C3-A8378EC416D8}"/>
                </a:ext>
              </a:extLst>
            </p:cNvPr>
            <p:cNvSpPr txBox="1"/>
            <p:nvPr/>
          </p:nvSpPr>
          <p:spPr>
            <a:xfrm>
              <a:off x="6348798" y="4981633"/>
              <a:ext cx="1655536" cy="849463"/>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Cost </a:t>
              </a:r>
              <a:b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savings</a:t>
              </a:r>
            </a:p>
          </p:txBody>
        </p:sp>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838596"/>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Elastic bursting</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838596"/>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Efficient deployment</a:t>
              </a:r>
            </a:p>
          </p:txBody>
        </p:sp>
      </p:grpSp>
      <p:grpSp>
        <p:nvGrpSpPr>
          <p:cNvPr id="11" name="Group 10">
            <a:extLst>
              <a:ext uri="{FF2B5EF4-FFF2-40B4-BE49-F238E27FC236}">
                <a16:creationId xmlns:a16="http://schemas.microsoft.com/office/drawing/2014/main" id="{1C0C1B41-1787-4A0B-884B-9C7EF3F17BA5}"/>
              </a:ext>
            </a:extLst>
          </p:cNvPr>
          <p:cNvGrpSpPr/>
          <p:nvPr/>
        </p:nvGrpSpPr>
        <p:grpSpPr>
          <a:xfrm>
            <a:off x="1073305" y="4071273"/>
            <a:ext cx="650530" cy="650530"/>
            <a:chOff x="1094827" y="4152414"/>
            <a:chExt cx="663574" cy="663574"/>
          </a:xfrm>
        </p:grpSpPr>
        <p:sp>
          <p:nvSpPr>
            <p:cNvPr id="32" name="Oval 31">
              <a:extLst>
                <a:ext uri="{FF2B5EF4-FFF2-40B4-BE49-F238E27FC236}">
                  <a16:creationId xmlns:a16="http://schemas.microsoft.com/office/drawing/2014/main" id="{9E46A0D2-4E68-4770-9E0A-B4632888EFCD}"/>
                </a:ext>
              </a:extLst>
            </p:cNvPr>
            <p:cNvSpPr/>
            <p:nvPr/>
          </p:nvSpPr>
          <p:spPr bwMode="auto">
            <a:xfrm rot="16200000">
              <a:off x="1094827"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84" name="Group 83">
              <a:extLst>
                <a:ext uri="{FF2B5EF4-FFF2-40B4-BE49-F238E27FC236}">
                  <a16:creationId xmlns:a16="http://schemas.microsoft.com/office/drawing/2014/main" id="{FA097EAD-CBBB-4C5D-97BF-1F992A8C682D}"/>
                </a:ext>
              </a:extLst>
            </p:cNvPr>
            <p:cNvGrpSpPr/>
            <p:nvPr/>
          </p:nvGrpSpPr>
          <p:grpSpPr>
            <a:xfrm>
              <a:off x="1219103" y="4317232"/>
              <a:ext cx="415016" cy="333945"/>
              <a:chOff x="1101725" y="2982913"/>
              <a:chExt cx="1023938" cy="823912"/>
            </a:xfrm>
          </p:grpSpPr>
          <p:sp>
            <p:nvSpPr>
              <p:cNvPr id="85" name="Line 23">
                <a:extLst>
                  <a:ext uri="{FF2B5EF4-FFF2-40B4-BE49-F238E27FC236}">
                    <a16:creationId xmlns:a16="http://schemas.microsoft.com/office/drawing/2014/main" id="{490954CD-A581-4677-B755-6024685A54E3}"/>
                  </a:ext>
                </a:extLst>
              </p:cNvPr>
              <p:cNvSpPr>
                <a:spLocks noChangeShapeType="1"/>
              </p:cNvSpPr>
              <p:nvPr/>
            </p:nvSpPr>
            <p:spPr bwMode="auto">
              <a:xfrm flipH="1" flipV="1">
                <a:off x="1816100" y="331787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6" name="Line 24">
                <a:extLst>
                  <a:ext uri="{FF2B5EF4-FFF2-40B4-BE49-F238E27FC236}">
                    <a16:creationId xmlns:a16="http://schemas.microsoft.com/office/drawing/2014/main" id="{0FA4C17C-2850-4E41-B24F-4257303DD42B}"/>
                  </a:ext>
                </a:extLst>
              </p:cNvPr>
              <p:cNvSpPr>
                <a:spLocks noChangeShapeType="1"/>
              </p:cNvSpPr>
              <p:nvPr/>
            </p:nvSpPr>
            <p:spPr bwMode="auto">
              <a:xfrm flipV="1">
                <a:off x="1979613" y="3308350"/>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7" name="Freeform 25">
                <a:extLst>
                  <a:ext uri="{FF2B5EF4-FFF2-40B4-BE49-F238E27FC236}">
                    <a16:creationId xmlns:a16="http://schemas.microsoft.com/office/drawing/2014/main" id="{59AE7EC8-C207-4703-8CAB-E96246C21288}"/>
                  </a:ext>
                </a:extLst>
              </p:cNvPr>
              <p:cNvSpPr>
                <a:spLocks/>
              </p:cNvSpPr>
              <p:nvPr/>
            </p:nvSpPr>
            <p:spPr bwMode="auto">
              <a:xfrm>
                <a:off x="1312863" y="2982913"/>
                <a:ext cx="685800" cy="468312"/>
              </a:xfrm>
              <a:custGeom>
                <a:avLst/>
                <a:gdLst>
                  <a:gd name="T0" fmla="*/ 0 w 211"/>
                  <a:gd name="T1" fmla="*/ 60 h 144"/>
                  <a:gd name="T2" fmla="*/ 9 w 211"/>
                  <a:gd name="T3" fmla="*/ 49 h 144"/>
                  <a:gd name="T4" fmla="*/ 170 w 211"/>
                  <a:gd name="T5" fmla="*/ 43 h 144"/>
                  <a:gd name="T6" fmla="*/ 205 w 211"/>
                  <a:gd name="T7" fmla="*/ 144 h 144"/>
                </a:gdLst>
                <a:ahLst/>
                <a:cxnLst>
                  <a:cxn ang="0">
                    <a:pos x="T0" y="T1"/>
                  </a:cxn>
                  <a:cxn ang="0">
                    <a:pos x="T2" y="T3"/>
                  </a:cxn>
                  <a:cxn ang="0">
                    <a:pos x="T4" y="T5"/>
                  </a:cxn>
                  <a:cxn ang="0">
                    <a:pos x="T6" y="T7"/>
                  </a:cxn>
                </a:cxnLst>
                <a:rect l="0" t="0" r="r" b="b"/>
                <a:pathLst>
                  <a:path w="211" h="144">
                    <a:moveTo>
                      <a:pt x="0" y="60"/>
                    </a:moveTo>
                    <a:cubicBezTo>
                      <a:pt x="3" y="56"/>
                      <a:pt x="6" y="53"/>
                      <a:pt x="9" y="49"/>
                    </a:cubicBezTo>
                    <a:cubicBezTo>
                      <a:pt x="52" y="3"/>
                      <a:pt x="124" y="0"/>
                      <a:pt x="170" y="43"/>
                    </a:cubicBezTo>
                    <a:cubicBezTo>
                      <a:pt x="199" y="70"/>
                      <a:pt x="211" y="108"/>
                      <a:pt x="205" y="144"/>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8" name="Freeform 26">
                <a:extLst>
                  <a:ext uri="{FF2B5EF4-FFF2-40B4-BE49-F238E27FC236}">
                    <a16:creationId xmlns:a16="http://schemas.microsoft.com/office/drawing/2014/main" id="{C40C0C4B-A191-4640-ACE6-8F1D3EBAF48D}"/>
                  </a:ext>
                </a:extLst>
              </p:cNvPr>
              <p:cNvSpPr>
                <a:spLocks/>
              </p:cNvSpPr>
              <p:nvPr/>
            </p:nvSpPr>
            <p:spPr bwMode="auto">
              <a:xfrm>
                <a:off x="1231900" y="3348038"/>
                <a:ext cx="384175" cy="420687"/>
              </a:xfrm>
              <a:custGeom>
                <a:avLst/>
                <a:gdLst>
                  <a:gd name="T0" fmla="*/ 118 w 118"/>
                  <a:gd name="T1" fmla="*/ 129 h 129"/>
                  <a:gd name="T2" fmla="*/ 40 w 118"/>
                  <a:gd name="T3" fmla="*/ 98 h 129"/>
                  <a:gd name="T4" fmla="*/ 5 w 118"/>
                  <a:gd name="T5" fmla="*/ 0 h 129"/>
                </a:gdLst>
                <a:ahLst/>
                <a:cxnLst>
                  <a:cxn ang="0">
                    <a:pos x="T0" y="T1"/>
                  </a:cxn>
                  <a:cxn ang="0">
                    <a:pos x="T2" y="T3"/>
                  </a:cxn>
                  <a:cxn ang="0">
                    <a:pos x="T4" y="T5"/>
                  </a:cxn>
                </a:cxnLst>
                <a:rect l="0" t="0" r="r" b="b"/>
                <a:pathLst>
                  <a:path w="118" h="129">
                    <a:moveTo>
                      <a:pt x="118" y="129"/>
                    </a:moveTo>
                    <a:cubicBezTo>
                      <a:pt x="90" y="129"/>
                      <a:pt x="62" y="119"/>
                      <a:pt x="40" y="98"/>
                    </a:cubicBezTo>
                    <a:cubicBezTo>
                      <a:pt x="12" y="72"/>
                      <a:pt x="0" y="35"/>
                      <a:pt x="5"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9" name="Line 27">
                <a:extLst>
                  <a:ext uri="{FF2B5EF4-FFF2-40B4-BE49-F238E27FC236}">
                    <a16:creationId xmlns:a16="http://schemas.microsoft.com/office/drawing/2014/main" id="{BEBE1E8B-9952-4C63-B079-558C500C1877}"/>
                  </a:ext>
                </a:extLst>
              </p:cNvPr>
              <p:cNvSpPr>
                <a:spLocks noChangeShapeType="1"/>
              </p:cNvSpPr>
              <p:nvPr/>
            </p:nvSpPr>
            <p:spPr bwMode="auto">
              <a:xfrm>
                <a:off x="1250950" y="332422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90" name="Line 28">
                <a:extLst>
                  <a:ext uri="{FF2B5EF4-FFF2-40B4-BE49-F238E27FC236}">
                    <a16:creationId xmlns:a16="http://schemas.microsoft.com/office/drawing/2014/main" id="{0B19AFC4-06EB-4FA4-99BB-CE2A2F503452}"/>
                  </a:ext>
                </a:extLst>
              </p:cNvPr>
              <p:cNvSpPr>
                <a:spLocks noChangeShapeType="1"/>
              </p:cNvSpPr>
              <p:nvPr/>
            </p:nvSpPr>
            <p:spPr bwMode="auto">
              <a:xfrm flipH="1">
                <a:off x="1101725" y="3324225"/>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91" name="Freeform 29">
                <a:extLst>
                  <a:ext uri="{FF2B5EF4-FFF2-40B4-BE49-F238E27FC236}">
                    <a16:creationId xmlns:a16="http://schemas.microsoft.com/office/drawing/2014/main" id="{64D99EAA-A0E9-457E-9777-6CBE5B361226}"/>
                  </a:ext>
                </a:extLst>
              </p:cNvPr>
              <p:cNvSpPr>
                <a:spLocks/>
              </p:cNvSpPr>
              <p:nvPr/>
            </p:nvSpPr>
            <p:spPr bwMode="auto">
              <a:xfrm>
                <a:off x="1228725" y="3340100"/>
                <a:ext cx="676275" cy="466725"/>
              </a:xfrm>
              <a:custGeom>
                <a:avLst/>
                <a:gdLst>
                  <a:gd name="T0" fmla="*/ 208 w 208"/>
                  <a:gd name="T1" fmla="*/ 88 h 143"/>
                  <a:gd name="T2" fmla="*/ 203 w 208"/>
                  <a:gd name="T3" fmla="*/ 94 h 143"/>
                  <a:gd name="T4" fmla="*/ 42 w 208"/>
                  <a:gd name="T5" fmla="*/ 101 h 143"/>
                  <a:gd name="T6" fmla="*/ 6 w 208"/>
                  <a:gd name="T7" fmla="*/ 0 h 143"/>
                </a:gdLst>
                <a:ahLst/>
                <a:cxnLst>
                  <a:cxn ang="0">
                    <a:pos x="T0" y="T1"/>
                  </a:cxn>
                  <a:cxn ang="0">
                    <a:pos x="T2" y="T3"/>
                  </a:cxn>
                  <a:cxn ang="0">
                    <a:pos x="T4" y="T5"/>
                  </a:cxn>
                  <a:cxn ang="0">
                    <a:pos x="T6" y="T7"/>
                  </a:cxn>
                </a:cxnLst>
                <a:rect l="0" t="0" r="r" b="b"/>
                <a:pathLst>
                  <a:path w="208" h="143">
                    <a:moveTo>
                      <a:pt x="208" y="88"/>
                    </a:moveTo>
                    <a:cubicBezTo>
                      <a:pt x="206" y="90"/>
                      <a:pt x="204" y="92"/>
                      <a:pt x="203" y="94"/>
                    </a:cubicBezTo>
                    <a:cubicBezTo>
                      <a:pt x="160" y="140"/>
                      <a:pt x="88" y="143"/>
                      <a:pt x="42" y="101"/>
                    </a:cubicBezTo>
                    <a:cubicBezTo>
                      <a:pt x="13" y="74"/>
                      <a:pt x="0" y="36"/>
                      <a:pt x="6"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92" name="Freeform 30">
                <a:extLst>
                  <a:ext uri="{FF2B5EF4-FFF2-40B4-BE49-F238E27FC236}">
                    <a16:creationId xmlns:a16="http://schemas.microsoft.com/office/drawing/2014/main" id="{E7FA7856-9DC3-445E-B881-D41F73726CE0}"/>
                  </a:ext>
                </a:extLst>
              </p:cNvPr>
              <p:cNvSpPr>
                <a:spLocks/>
              </p:cNvSpPr>
              <p:nvPr/>
            </p:nvSpPr>
            <p:spPr bwMode="auto">
              <a:xfrm>
                <a:off x="1608138" y="3021013"/>
                <a:ext cx="387350" cy="423862"/>
              </a:xfrm>
              <a:custGeom>
                <a:avLst/>
                <a:gdLst>
                  <a:gd name="T0" fmla="*/ 0 w 119"/>
                  <a:gd name="T1" fmla="*/ 1 h 130"/>
                  <a:gd name="T2" fmla="*/ 79 w 119"/>
                  <a:gd name="T3" fmla="*/ 31 h 130"/>
                  <a:gd name="T4" fmla="*/ 115 w 119"/>
                  <a:gd name="T5" fmla="*/ 130 h 130"/>
                </a:gdLst>
                <a:ahLst/>
                <a:cxnLst>
                  <a:cxn ang="0">
                    <a:pos x="T0" y="T1"/>
                  </a:cxn>
                  <a:cxn ang="0">
                    <a:pos x="T2" y="T3"/>
                  </a:cxn>
                  <a:cxn ang="0">
                    <a:pos x="T4" y="T5"/>
                  </a:cxn>
                </a:cxnLst>
                <a:rect l="0" t="0" r="r" b="b"/>
                <a:pathLst>
                  <a:path w="119" h="130">
                    <a:moveTo>
                      <a:pt x="0" y="1"/>
                    </a:moveTo>
                    <a:cubicBezTo>
                      <a:pt x="28" y="0"/>
                      <a:pt x="56" y="10"/>
                      <a:pt x="79" y="31"/>
                    </a:cubicBezTo>
                    <a:cubicBezTo>
                      <a:pt x="107" y="57"/>
                      <a:pt x="119" y="94"/>
                      <a:pt x="115" y="13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5" name="Group 14">
            <a:extLst>
              <a:ext uri="{FF2B5EF4-FFF2-40B4-BE49-F238E27FC236}">
                <a16:creationId xmlns:a16="http://schemas.microsoft.com/office/drawing/2014/main" id="{43FB3F56-CA96-4277-94F7-9797DB022DC0}"/>
              </a:ext>
            </a:extLst>
          </p:cNvPr>
          <p:cNvGrpSpPr/>
          <p:nvPr/>
        </p:nvGrpSpPr>
        <p:grpSpPr>
          <a:xfrm>
            <a:off x="4831249" y="4071273"/>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952276" y="4071273"/>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9" name="Group 18">
            <a:extLst>
              <a:ext uri="{FF2B5EF4-FFF2-40B4-BE49-F238E27FC236}">
                <a16:creationId xmlns:a16="http://schemas.microsoft.com/office/drawing/2014/main" id="{B7651797-8D32-4542-8507-63C3C90021B2}"/>
              </a:ext>
            </a:extLst>
          </p:cNvPr>
          <p:cNvGrpSpPr/>
          <p:nvPr/>
        </p:nvGrpSpPr>
        <p:grpSpPr>
          <a:xfrm>
            <a:off x="6710220" y="4071273"/>
            <a:ext cx="650530" cy="650530"/>
            <a:chOff x="6844774" y="4152414"/>
            <a:chExt cx="663574" cy="663574"/>
          </a:xfrm>
        </p:grpSpPr>
        <p:sp>
          <p:nvSpPr>
            <p:cNvPr id="55" name="Oval 54">
              <a:extLst>
                <a:ext uri="{FF2B5EF4-FFF2-40B4-BE49-F238E27FC236}">
                  <a16:creationId xmlns:a16="http://schemas.microsoft.com/office/drawing/2014/main" id="{DF6B6A1C-E414-4AB1-9F4B-2E3B8D85B5F8}"/>
                </a:ext>
              </a:extLst>
            </p:cNvPr>
            <p:cNvSpPr/>
            <p:nvPr/>
          </p:nvSpPr>
          <p:spPr bwMode="auto">
            <a:xfrm rot="16200000">
              <a:off x="68447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3" name="Group 12">
              <a:extLst>
                <a:ext uri="{FF2B5EF4-FFF2-40B4-BE49-F238E27FC236}">
                  <a16:creationId xmlns:a16="http://schemas.microsoft.com/office/drawing/2014/main" id="{5B7FB16D-1A98-47F6-B99C-A950EF5C877C}"/>
                </a:ext>
              </a:extLst>
            </p:cNvPr>
            <p:cNvGrpSpPr/>
            <p:nvPr/>
          </p:nvGrpSpPr>
          <p:grpSpPr>
            <a:xfrm>
              <a:off x="6972723" y="4280355"/>
              <a:ext cx="407684" cy="407681"/>
              <a:chOff x="1000126" y="2062163"/>
              <a:chExt cx="612775" cy="612775"/>
            </a:xfrm>
          </p:grpSpPr>
          <p:sp>
            <p:nvSpPr>
              <p:cNvPr id="7" name="Freeform 5">
                <a:extLst>
                  <a:ext uri="{FF2B5EF4-FFF2-40B4-BE49-F238E27FC236}">
                    <a16:creationId xmlns:a16="http://schemas.microsoft.com/office/drawing/2014/main" id="{DEDB357B-FF4D-40D8-BC1C-753F257D16F6}"/>
                  </a:ext>
                </a:extLst>
              </p:cNvPr>
              <p:cNvSpPr>
                <a:spLocks/>
              </p:cNvSpPr>
              <p:nvPr/>
            </p:nvSpPr>
            <p:spPr bwMode="auto">
              <a:xfrm>
                <a:off x="1250951" y="2257425"/>
                <a:ext cx="107950" cy="214313"/>
              </a:xfrm>
              <a:custGeom>
                <a:avLst/>
                <a:gdLst>
                  <a:gd name="T0" fmla="*/ 37 w 38"/>
                  <a:gd name="T1" fmla="*/ 3 h 76"/>
                  <a:gd name="T2" fmla="*/ 23 w 38"/>
                  <a:gd name="T3" fmla="*/ 0 h 76"/>
                  <a:gd name="T4" fmla="*/ 4 w 38"/>
                  <a:gd name="T5" fmla="*/ 18 h 76"/>
                  <a:gd name="T6" fmla="*/ 23 w 38"/>
                  <a:gd name="T7" fmla="*/ 38 h 76"/>
                  <a:gd name="T8" fmla="*/ 38 w 38"/>
                  <a:gd name="T9" fmla="*/ 59 h 76"/>
                  <a:gd name="T10" fmla="*/ 17 w 38"/>
                  <a:gd name="T11" fmla="*/ 76 h 76"/>
                  <a:gd name="T12" fmla="*/ 0 w 38"/>
                  <a:gd name="T13" fmla="*/ 73 h 76"/>
                  <a:gd name="T14" fmla="*/ 0 w 38"/>
                  <a:gd name="T15" fmla="*/ 73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6">
                    <a:moveTo>
                      <a:pt x="37" y="3"/>
                    </a:moveTo>
                    <a:cubicBezTo>
                      <a:pt x="33" y="1"/>
                      <a:pt x="29" y="0"/>
                      <a:pt x="23" y="0"/>
                    </a:cubicBezTo>
                    <a:cubicBezTo>
                      <a:pt x="10" y="0"/>
                      <a:pt x="4" y="10"/>
                      <a:pt x="4" y="18"/>
                    </a:cubicBezTo>
                    <a:cubicBezTo>
                      <a:pt x="4" y="29"/>
                      <a:pt x="13" y="34"/>
                      <a:pt x="23" y="38"/>
                    </a:cubicBezTo>
                    <a:cubicBezTo>
                      <a:pt x="36" y="43"/>
                      <a:pt x="38" y="49"/>
                      <a:pt x="38" y="59"/>
                    </a:cubicBezTo>
                    <a:cubicBezTo>
                      <a:pt x="38" y="68"/>
                      <a:pt x="35" y="76"/>
                      <a:pt x="17" y="76"/>
                    </a:cubicBezTo>
                    <a:cubicBezTo>
                      <a:pt x="10" y="76"/>
                      <a:pt x="4" y="75"/>
                      <a:pt x="0" y="73"/>
                    </a:cubicBezTo>
                    <a:cubicBezTo>
                      <a:pt x="0" y="73"/>
                      <a:pt x="0" y="73"/>
                      <a:pt x="0" y="73"/>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 name="Line 6">
                <a:extLst>
                  <a:ext uri="{FF2B5EF4-FFF2-40B4-BE49-F238E27FC236}">
                    <a16:creationId xmlns:a16="http://schemas.microsoft.com/office/drawing/2014/main" id="{862508BB-A9A8-4BF7-B7B8-C185B6650F89}"/>
                  </a:ext>
                </a:extLst>
              </p:cNvPr>
              <p:cNvSpPr>
                <a:spLocks noChangeShapeType="1"/>
              </p:cNvSpPr>
              <p:nvPr/>
            </p:nvSpPr>
            <p:spPr bwMode="auto">
              <a:xfrm>
                <a:off x="1304926" y="2505075"/>
                <a:ext cx="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9" name="Line 7">
                <a:extLst>
                  <a:ext uri="{FF2B5EF4-FFF2-40B4-BE49-F238E27FC236}">
                    <a16:creationId xmlns:a16="http://schemas.microsoft.com/office/drawing/2014/main" id="{07535C0F-15A2-43FB-8B61-89675FD4E106}"/>
                  </a:ext>
                </a:extLst>
              </p:cNvPr>
              <p:cNvSpPr>
                <a:spLocks noChangeShapeType="1"/>
              </p:cNvSpPr>
              <p:nvPr/>
            </p:nvSpPr>
            <p:spPr bwMode="auto">
              <a:xfrm>
                <a:off x="1304926" y="2232025"/>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0" name="Line 8">
                <a:extLst>
                  <a:ext uri="{FF2B5EF4-FFF2-40B4-BE49-F238E27FC236}">
                    <a16:creationId xmlns:a16="http://schemas.microsoft.com/office/drawing/2014/main" id="{AE5A6D6D-72CD-4E55-B250-97A42035BE78}"/>
                  </a:ext>
                </a:extLst>
              </p:cNvPr>
              <p:cNvSpPr>
                <a:spLocks noChangeShapeType="1"/>
              </p:cNvSpPr>
              <p:nvPr/>
            </p:nvSpPr>
            <p:spPr bwMode="auto">
              <a:xfrm>
                <a:off x="1304926" y="2471738"/>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 name="Oval 10">
                <a:extLst>
                  <a:ext uri="{FF2B5EF4-FFF2-40B4-BE49-F238E27FC236}">
                    <a16:creationId xmlns:a16="http://schemas.microsoft.com/office/drawing/2014/main" id="{BA58884A-8EB9-4CB5-835A-EA95193DCBF5}"/>
                  </a:ext>
                </a:extLst>
              </p:cNvPr>
              <p:cNvSpPr>
                <a:spLocks noChangeArrowheads="1"/>
              </p:cNvSpPr>
              <p:nvPr/>
            </p:nvSpPr>
            <p:spPr bwMode="auto">
              <a:xfrm>
                <a:off x="1000126" y="2062163"/>
                <a:ext cx="612775" cy="6127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8589193" y="4071273"/>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10468166" y="4071273"/>
            <a:ext cx="650530" cy="650530"/>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36" name="Group 35">
            <a:extLst>
              <a:ext uri="{FF2B5EF4-FFF2-40B4-BE49-F238E27FC236}">
                <a16:creationId xmlns:a16="http://schemas.microsoft.com/office/drawing/2014/main" id="{939ACC6D-0199-4380-9751-4E30F58CB005}"/>
              </a:ext>
            </a:extLst>
          </p:cNvPr>
          <p:cNvGrpSpPr/>
          <p:nvPr/>
        </p:nvGrpSpPr>
        <p:grpSpPr>
          <a:xfrm>
            <a:off x="6710222" y="5748522"/>
            <a:ext cx="4392482" cy="651728"/>
            <a:chOff x="6844776" y="5863295"/>
            <a:chExt cx="4480560" cy="664797"/>
          </a:xfrm>
        </p:grpSpPr>
        <p:sp>
          <p:nvSpPr>
            <p:cNvPr id="6" name="Left Bracket 5">
              <a:extLst>
                <a:ext uri="{FF2B5EF4-FFF2-40B4-BE49-F238E27FC236}">
                  <a16:creationId xmlns:a16="http://schemas.microsoft.com/office/drawing/2014/main" id="{6F638F08-674C-4ED9-A7DE-0B5F64223055}"/>
                </a:ext>
              </a:extLst>
            </p:cNvPr>
            <p:cNvSpPr/>
            <p:nvPr/>
          </p:nvSpPr>
          <p:spPr>
            <a:xfrm rot="16200000">
              <a:off x="9039336"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78" name="TextBox 77">
              <a:extLst>
                <a:ext uri="{FF2B5EF4-FFF2-40B4-BE49-F238E27FC236}">
                  <a16:creationId xmlns:a16="http://schemas.microsoft.com/office/drawing/2014/main" id="{DFF78382-BFA8-4113-9376-B631AD2546FA}"/>
                </a:ext>
              </a:extLst>
            </p:cNvPr>
            <p:cNvSpPr txBox="1"/>
            <p:nvPr/>
          </p:nvSpPr>
          <p:spPr>
            <a:xfrm>
              <a:off x="8444252" y="5863295"/>
              <a:ext cx="1297918" cy="664797"/>
            </a:xfrm>
            <a:prstGeom prst="rect">
              <a:avLst/>
            </a:prstGeom>
            <a:solidFill>
              <a:schemeClr val="bg1"/>
            </a:solid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For IT</a:t>
              </a:r>
            </a:p>
          </p:txBody>
        </p:sp>
      </p:grpSp>
      <p:grpSp>
        <p:nvGrpSpPr>
          <p:cNvPr id="35" name="Group 34">
            <a:extLst>
              <a:ext uri="{FF2B5EF4-FFF2-40B4-BE49-F238E27FC236}">
                <a16:creationId xmlns:a16="http://schemas.microsoft.com/office/drawing/2014/main" id="{E3476CD4-56BE-4FB5-962B-A0A7AEDA1131}"/>
              </a:ext>
            </a:extLst>
          </p:cNvPr>
          <p:cNvGrpSpPr/>
          <p:nvPr/>
        </p:nvGrpSpPr>
        <p:grpSpPr>
          <a:xfrm>
            <a:off x="1090589" y="5748522"/>
            <a:ext cx="4392482" cy="651728"/>
            <a:chOff x="1112457" y="5863295"/>
            <a:chExt cx="4480560" cy="664797"/>
          </a:xfrm>
        </p:grpSpPr>
        <p:sp>
          <p:nvSpPr>
            <p:cNvPr id="58" name="Left Bracket 57">
              <a:extLst>
                <a:ext uri="{FF2B5EF4-FFF2-40B4-BE49-F238E27FC236}">
                  <a16:creationId xmlns:a16="http://schemas.microsoft.com/office/drawing/2014/main" id="{730FD369-ECB0-464C-B41D-C92AB256DC29}"/>
                </a:ext>
              </a:extLst>
            </p:cNvPr>
            <p:cNvSpPr/>
            <p:nvPr/>
          </p:nvSpPr>
          <p:spPr>
            <a:xfrm rot="16200000">
              <a:off x="3307017"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B565BAC2-3907-4541-9DB0-3DB74119E184}"/>
                </a:ext>
              </a:extLst>
            </p:cNvPr>
            <p:cNvSpPr txBox="1"/>
            <p:nvPr/>
          </p:nvSpPr>
          <p:spPr>
            <a:xfrm>
              <a:off x="2165324" y="5863295"/>
              <a:ext cx="2355876" cy="664797"/>
            </a:xfrm>
            <a:prstGeom prst="rect">
              <a:avLst/>
            </a:prstGeom>
            <a:solidFill>
              <a:schemeClr val="bg1"/>
            </a:solid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For developers</a:t>
              </a:r>
            </a:p>
          </p:txBody>
        </p:sp>
      </p:grpSp>
      <p:sp>
        <p:nvSpPr>
          <p:cNvPr id="68" name="Text Placeholder 2">
            <a:extLst>
              <a:ext uri="{FF2B5EF4-FFF2-40B4-BE49-F238E27FC236}">
                <a16:creationId xmlns:a16="http://schemas.microsoft.com/office/drawing/2014/main" id="{C8992D35-21B4-6245-BF60-4BA9999353B3}"/>
              </a:ext>
            </a:extLst>
          </p:cNvPr>
          <p:cNvSpPr txBox="1">
            <a:spLocks/>
          </p:cNvSpPr>
          <p:nvPr/>
        </p:nvSpPr>
        <p:spPr>
          <a:xfrm>
            <a:off x="0" y="6611779"/>
            <a:ext cx="4709694"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hristi3k   @zdeptawa</a:t>
            </a:r>
          </a:p>
        </p:txBody>
      </p:sp>
    </p:spTree>
    <p:extLst>
      <p:ext uri="{BB962C8B-B14F-4D97-AF65-F5344CB8AC3E}">
        <p14:creationId xmlns:p14="http://schemas.microsoft.com/office/powerpoint/2010/main" val="3988385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1000"/>
                            </p:stCondLst>
                            <p:childTnLst>
                              <p:par>
                                <p:cTn id="11" presetID="2" presetClass="entr" presetSubtype="4" decel="100000" fill="hold" nodeType="afterEffect">
                                  <p:stCondLst>
                                    <p:cond delay="50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1000" fill="hold"/>
                                        <p:tgtEl>
                                          <p:spTgt spid="11"/>
                                        </p:tgtEl>
                                        <p:attrNameLst>
                                          <p:attrName>ppt_x</p:attrName>
                                        </p:attrNameLst>
                                      </p:cBhvr>
                                      <p:tavLst>
                                        <p:tav tm="0">
                                          <p:val>
                                            <p:strVal val="#ppt_x"/>
                                          </p:val>
                                        </p:tav>
                                        <p:tav tm="100000">
                                          <p:val>
                                            <p:strVal val="#ppt_x"/>
                                          </p:val>
                                        </p:tav>
                                      </p:tavLst>
                                    </p:anim>
                                    <p:anim calcmode="lin" valueType="num">
                                      <p:cBhvr additive="base">
                                        <p:cTn id="14" dur="1000" fill="hold"/>
                                        <p:tgtEl>
                                          <p:spTgt spid="11"/>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75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1000" fill="hold"/>
                                        <p:tgtEl>
                                          <p:spTgt spid="14"/>
                                        </p:tgtEl>
                                        <p:attrNameLst>
                                          <p:attrName>ppt_x</p:attrName>
                                        </p:attrNameLst>
                                      </p:cBhvr>
                                      <p:tavLst>
                                        <p:tav tm="0">
                                          <p:val>
                                            <p:strVal val="#ppt_x"/>
                                          </p:val>
                                        </p:tav>
                                        <p:tav tm="100000">
                                          <p:val>
                                            <p:strVal val="#ppt_x"/>
                                          </p:val>
                                        </p:tav>
                                      </p:tavLst>
                                    </p:anim>
                                    <p:anim calcmode="lin" valueType="num">
                                      <p:cBhvr additive="base">
                                        <p:cTn id="18" dur="1000" fill="hold"/>
                                        <p:tgtEl>
                                          <p:spTgt spid="14"/>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1000" fill="hold"/>
                                        <p:tgtEl>
                                          <p:spTgt spid="15"/>
                                        </p:tgtEl>
                                        <p:attrNameLst>
                                          <p:attrName>ppt_x</p:attrName>
                                        </p:attrNameLst>
                                      </p:cBhvr>
                                      <p:tavLst>
                                        <p:tav tm="0">
                                          <p:val>
                                            <p:strVal val="#ppt_x"/>
                                          </p:val>
                                        </p:tav>
                                        <p:tav tm="100000">
                                          <p:val>
                                            <p:strVal val="#ppt_x"/>
                                          </p:val>
                                        </p:tav>
                                      </p:tavLst>
                                    </p:anim>
                                    <p:anim calcmode="lin" valueType="num">
                                      <p:cBhvr additive="base">
                                        <p:cTn id="22" dur="100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150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1000" fill="hold"/>
                                        <p:tgtEl>
                                          <p:spTgt spid="19"/>
                                        </p:tgtEl>
                                        <p:attrNameLst>
                                          <p:attrName>ppt_x</p:attrName>
                                        </p:attrNameLst>
                                      </p:cBhvr>
                                      <p:tavLst>
                                        <p:tav tm="0">
                                          <p:val>
                                            <p:strVal val="#ppt_x"/>
                                          </p:val>
                                        </p:tav>
                                        <p:tav tm="100000">
                                          <p:val>
                                            <p:strVal val="#ppt_x"/>
                                          </p:val>
                                        </p:tav>
                                      </p:tavLst>
                                    </p:anim>
                                    <p:anim calcmode="lin" valueType="num">
                                      <p:cBhvr additive="base">
                                        <p:cTn id="26" dur="1000" fill="hold"/>
                                        <p:tgtEl>
                                          <p:spTgt spid="19"/>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175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1000" fill="hold"/>
                                        <p:tgtEl>
                                          <p:spTgt spid="20"/>
                                        </p:tgtEl>
                                        <p:attrNameLst>
                                          <p:attrName>ppt_x</p:attrName>
                                        </p:attrNameLst>
                                      </p:cBhvr>
                                      <p:tavLst>
                                        <p:tav tm="0">
                                          <p:val>
                                            <p:strVal val="#ppt_x"/>
                                          </p:val>
                                        </p:tav>
                                        <p:tav tm="100000">
                                          <p:val>
                                            <p:strVal val="#ppt_x"/>
                                          </p:val>
                                        </p:tav>
                                      </p:tavLst>
                                    </p:anim>
                                    <p:anim calcmode="lin" valueType="num">
                                      <p:cBhvr additive="base">
                                        <p:cTn id="30" dur="1000" fill="hold"/>
                                        <p:tgtEl>
                                          <p:spTgt spid="20"/>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200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1000" fill="hold"/>
                                        <p:tgtEl>
                                          <p:spTgt spid="24"/>
                                        </p:tgtEl>
                                        <p:attrNameLst>
                                          <p:attrName>ppt_x</p:attrName>
                                        </p:attrNameLst>
                                      </p:cBhvr>
                                      <p:tavLst>
                                        <p:tav tm="0">
                                          <p:val>
                                            <p:strVal val="#ppt_x"/>
                                          </p:val>
                                        </p:tav>
                                        <p:tav tm="100000">
                                          <p:val>
                                            <p:strVal val="#ppt_x"/>
                                          </p:val>
                                        </p:tav>
                                      </p:tavLst>
                                    </p:anim>
                                    <p:anim calcmode="lin" valueType="num">
                                      <p:cBhvr additive="base">
                                        <p:cTn id="34" dur="1000" fill="hold"/>
                                        <p:tgtEl>
                                          <p:spTgt spid="24"/>
                                        </p:tgtEl>
                                        <p:attrNameLst>
                                          <p:attrName>ppt_y</p:attrName>
                                        </p:attrNameLst>
                                      </p:cBhvr>
                                      <p:tavLst>
                                        <p:tav tm="0">
                                          <p:val>
                                            <p:strVal val="1+#ppt_h/2"/>
                                          </p:val>
                                        </p:tav>
                                        <p:tav tm="100000">
                                          <p:val>
                                            <p:strVal val="#ppt_y"/>
                                          </p:val>
                                        </p:tav>
                                      </p:tavLst>
                                    </p:anim>
                                  </p:childTnLst>
                                </p:cTn>
                              </p:par>
                            </p:childTnLst>
                          </p:cTn>
                        </p:par>
                        <p:par>
                          <p:cTn id="35" fill="hold">
                            <p:stCondLst>
                              <p:cond delay="40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10" presetClass="entr" presetSubtype="0" fill="hold" nodeType="withEffect">
                                  <p:stCondLst>
                                    <p:cond delay="25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childTnLst>
                          </p:cTn>
                        </p:par>
                        <p:par>
                          <p:cTn id="48" fill="hold">
                            <p:stCondLst>
                              <p:cond delay="4750"/>
                            </p:stCondLst>
                            <p:childTnLst>
                              <p:par>
                                <p:cTn id="49" presetID="22" presetClass="entr" presetSubtype="8"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wipe(left)">
                                      <p:cBhvr>
                                        <p:cTn id="51" dur="1000"/>
                                        <p:tgtEl>
                                          <p:spTgt spid="34"/>
                                        </p:tgtEl>
                                      </p:cBhvr>
                                    </p:animEffect>
                                  </p:childTnLst>
                                </p:cTn>
                              </p:par>
                            </p:childTnLst>
                          </p:cTn>
                        </p:par>
                        <p:par>
                          <p:cTn id="52" fill="hold">
                            <p:stCondLst>
                              <p:cond delay="5750"/>
                            </p:stCondLst>
                            <p:childTnLst>
                              <p:par>
                                <p:cTn id="53" presetID="16" presetClass="entr" presetSubtype="37" fill="hold" nodeType="after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barn(outVertical)">
                                      <p:cBhvr>
                                        <p:cTn id="55" dur="1000"/>
                                        <p:tgtEl>
                                          <p:spTgt spid="35"/>
                                        </p:tgtEl>
                                      </p:cBhvr>
                                    </p:animEffect>
                                  </p:childTnLst>
                                </p:cTn>
                              </p:par>
                              <p:par>
                                <p:cTn id="56" presetID="16" presetClass="entr" presetSubtype="37"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barn(outVertical)">
                                      <p:cBhvr>
                                        <p:cTn id="58"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32B4606-BBE9-40C1-AE1E-78DFD9472949}"/>
              </a:ext>
            </a:extLst>
          </p:cNvPr>
          <p:cNvGrpSpPr/>
          <p:nvPr/>
        </p:nvGrpSpPr>
        <p:grpSpPr>
          <a:xfrm>
            <a:off x="3203755" y="1988971"/>
            <a:ext cx="7252206" cy="935358"/>
            <a:chOff x="3641081" y="2013171"/>
            <a:chExt cx="7252206" cy="935358"/>
          </a:xfrm>
        </p:grpSpPr>
        <p:sp>
          <p:nvSpPr>
            <p:cNvPr id="3" name="Title 16">
              <a:extLst>
                <a:ext uri="{FF2B5EF4-FFF2-40B4-BE49-F238E27FC236}">
                  <a16:creationId xmlns:a16="http://schemas.microsoft.com/office/drawing/2014/main" id="{BE019C9D-30D6-47D3-8A50-1EB045A0C4C1}"/>
                </a:ext>
              </a:extLst>
            </p:cNvPr>
            <p:cNvSpPr txBox="1">
              <a:spLocks/>
            </p:cNvSpPr>
            <p:nvPr/>
          </p:nvSpPr>
          <p:spPr>
            <a:xfrm>
              <a:off x="3641081" y="2013171"/>
              <a:ext cx="685800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78D4"/>
                  </a:solidFill>
                  <a:effectLst/>
                  <a:uLnTx/>
                  <a:uFillTx/>
                  <a:latin typeface="Selawik Semibold" panose="020B0702040204020203" pitchFamily="34" charset="0"/>
                  <a:ea typeface="+mn-ea"/>
                  <a:cs typeface="Segoe UI Light" panose="020B0502040204020203" pitchFamily="34" charset="0"/>
                </a:rPr>
                <a:t>Demo</a:t>
              </a:r>
            </a:p>
          </p:txBody>
        </p:sp>
        <p:sp>
          <p:nvSpPr>
            <p:cNvPr id="5" name="Text Placeholder 2">
              <a:extLst>
                <a:ext uri="{FF2B5EF4-FFF2-40B4-BE49-F238E27FC236}">
                  <a16:creationId xmlns:a16="http://schemas.microsoft.com/office/drawing/2014/main" id="{0AF9B4E9-3717-4280-8E1F-A252B9CF5EED}"/>
                </a:ext>
              </a:extLst>
            </p:cNvPr>
            <p:cNvSpPr txBox="1">
              <a:spLocks/>
            </p:cNvSpPr>
            <p:nvPr/>
          </p:nvSpPr>
          <p:spPr>
            <a:xfrm>
              <a:off x="3641081" y="2579197"/>
              <a:ext cx="7252206" cy="369332"/>
            </a:xfrm>
            <a:prstGeom prst="rect">
              <a:avLst/>
            </a:prstGeom>
          </p:spPr>
          <p:txBody>
            <a:bodyPr wrap="square" l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etting started with containers </a:t>
              </a:r>
            </a:p>
          </p:txBody>
        </p:sp>
      </p:grpSp>
      <p:sp>
        <p:nvSpPr>
          <p:cNvPr id="6" name="Touchscreen" title="Icon of a closed hand with one finger touching a screen">
            <a:extLst>
              <a:ext uri="{FF2B5EF4-FFF2-40B4-BE49-F238E27FC236}">
                <a16:creationId xmlns:a16="http://schemas.microsoft.com/office/drawing/2014/main" id="{27BDB699-5954-4B6B-940F-65F8D332F0A0}"/>
              </a:ext>
            </a:extLst>
          </p:cNvPr>
          <p:cNvSpPr>
            <a:spLocks noChangeAspect="1" noEditPoints="1"/>
          </p:cNvSpPr>
          <p:nvPr/>
        </p:nvSpPr>
        <p:spPr bwMode="auto">
          <a:xfrm>
            <a:off x="503116" y="1994481"/>
            <a:ext cx="2332850" cy="2187277"/>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85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299284371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4">
            <a:extLst>
              <a:ext uri="{FF2B5EF4-FFF2-40B4-BE49-F238E27FC236}">
                <a16:creationId xmlns:a16="http://schemas.microsoft.com/office/drawing/2014/main" id="{C332EAC7-1690-48C9-86BE-E5625702A991}"/>
              </a:ext>
            </a:extLst>
          </p:cNvPr>
          <p:cNvSpPr txBox="1">
            <a:spLocks/>
          </p:cNvSpPr>
          <p:nvPr/>
        </p:nvSpPr>
        <p:spPr>
          <a:xfrm>
            <a:off x="588263" y="880012"/>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spcAft>
                <a:spcPts val="1200"/>
              </a:spcAft>
              <a:buSzPct val="90000"/>
              <a:defRPr/>
            </a:pPr>
            <a:r>
              <a:rPr lang="en-US">
                <a:solidFill>
                  <a:srgbClr val="000000"/>
                </a:solidFill>
                <a:latin typeface="Segoe UI Light" panose="020B0502040204020203" pitchFamily="34" charset="0"/>
                <a:cs typeface="Segoe UI Light" panose="020B0502040204020203" pitchFamily="34" charset="0"/>
              </a:rPr>
              <a:t>What are </a:t>
            </a:r>
            <a:r>
              <a:rPr lang="en-US">
                <a:solidFill>
                  <a:srgbClr val="0078D4"/>
                </a:solidFill>
                <a:latin typeface="Selawik Semibold" panose="020B0702040204020203" pitchFamily="34" charset="0"/>
                <a:cs typeface="Segoe UI Light" panose="020B0502040204020203" pitchFamily="34" charset="0"/>
              </a:rPr>
              <a:t>microservices</a:t>
            </a:r>
            <a:r>
              <a:rPr lang="en-US">
                <a:solidFill>
                  <a:srgbClr val="000000"/>
                </a:solidFill>
                <a:latin typeface="Segoe UI Light" panose="020B0502040204020203" pitchFamily="34" charset="0"/>
                <a:cs typeface="Segoe UI Light" panose="020B0502040204020203" pitchFamily="34" charset="0"/>
              </a:rPr>
              <a:t>?</a:t>
            </a:r>
          </a:p>
        </p:txBody>
      </p:sp>
      <p:sp>
        <p:nvSpPr>
          <p:cNvPr id="11" name="Rectangle: Rounded Corners 10">
            <a:extLst>
              <a:ext uri="{FF2B5EF4-FFF2-40B4-BE49-F238E27FC236}">
                <a16:creationId xmlns:a16="http://schemas.microsoft.com/office/drawing/2014/main" id="{09192786-C07D-42EF-BD4B-F77E4D5FD773}"/>
              </a:ext>
            </a:extLst>
          </p:cNvPr>
          <p:cNvSpPr/>
          <p:nvPr/>
        </p:nvSpPr>
        <p:spPr bwMode="auto">
          <a:xfrm>
            <a:off x="5705796" y="2536985"/>
            <a:ext cx="1811718" cy="3753016"/>
          </a:xfrm>
          <a:prstGeom prst="roundRect">
            <a:avLst>
              <a:gd name="adj" fmla="val 3125"/>
            </a:avLst>
          </a:prstGeom>
          <a:solidFill>
            <a:srgbClr val="FCFDFE">
              <a:alpha val="1000"/>
            </a:srgbClr>
          </a:solid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Segoe UI" pitchFamily="34" charset="0"/>
            </a:endParaRPr>
          </a:p>
        </p:txBody>
      </p:sp>
      <p:sp>
        <p:nvSpPr>
          <p:cNvPr id="12" name="Rectangle: Rounded Corners 11">
            <a:extLst>
              <a:ext uri="{FF2B5EF4-FFF2-40B4-BE49-F238E27FC236}">
                <a16:creationId xmlns:a16="http://schemas.microsoft.com/office/drawing/2014/main" id="{5DCB9AA2-6E3F-4B67-A1B9-68FB39DD8633}"/>
              </a:ext>
            </a:extLst>
          </p:cNvPr>
          <p:cNvSpPr/>
          <p:nvPr/>
        </p:nvSpPr>
        <p:spPr bwMode="auto">
          <a:xfrm>
            <a:off x="7983733" y="2536984"/>
            <a:ext cx="3790672" cy="3791343"/>
          </a:xfrm>
          <a:prstGeom prst="roundRect">
            <a:avLst>
              <a:gd name="adj" fmla="val 3125"/>
            </a:avLst>
          </a:prstGeom>
          <a:solidFill>
            <a:srgbClr val="FCFDFE">
              <a:alpha val="1000"/>
            </a:srgbClr>
          </a:solid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Segoe UI" pitchFamily="34" charset="0"/>
            </a:endParaRPr>
          </a:p>
        </p:txBody>
      </p:sp>
      <p:sp>
        <p:nvSpPr>
          <p:cNvPr id="13" name="Rectangle: Rounded Corners 12">
            <a:extLst>
              <a:ext uri="{FF2B5EF4-FFF2-40B4-BE49-F238E27FC236}">
                <a16:creationId xmlns:a16="http://schemas.microsoft.com/office/drawing/2014/main" id="{5E76E841-C427-4FC8-95B2-AC8DF2F9D17D}"/>
              </a:ext>
            </a:extLst>
          </p:cNvPr>
          <p:cNvSpPr/>
          <p:nvPr/>
        </p:nvSpPr>
        <p:spPr>
          <a:xfrm>
            <a:off x="5882815" y="4506844"/>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4" name="Rectangle: Rounded Corners 13">
            <a:extLst>
              <a:ext uri="{FF2B5EF4-FFF2-40B4-BE49-F238E27FC236}">
                <a16:creationId xmlns:a16="http://schemas.microsoft.com/office/drawing/2014/main" id="{29395C21-1E38-4219-BFED-80CD23486C23}"/>
              </a:ext>
            </a:extLst>
          </p:cNvPr>
          <p:cNvSpPr/>
          <p:nvPr/>
        </p:nvSpPr>
        <p:spPr>
          <a:xfrm>
            <a:off x="5882815" y="5093917"/>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5" name="Rectangle: Rounded Corners 14">
            <a:extLst>
              <a:ext uri="{FF2B5EF4-FFF2-40B4-BE49-F238E27FC236}">
                <a16:creationId xmlns:a16="http://schemas.microsoft.com/office/drawing/2014/main" id="{3BEBF19A-F8E5-449A-9EAA-171AC068DEBE}"/>
              </a:ext>
            </a:extLst>
          </p:cNvPr>
          <p:cNvSpPr/>
          <p:nvPr/>
        </p:nvSpPr>
        <p:spPr>
          <a:xfrm>
            <a:off x="5882815" y="5685323"/>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6" name="Rectangle: Rounded Corners 15">
            <a:extLst>
              <a:ext uri="{FF2B5EF4-FFF2-40B4-BE49-F238E27FC236}">
                <a16:creationId xmlns:a16="http://schemas.microsoft.com/office/drawing/2014/main" id="{8C99BA99-9062-402B-BDB2-CD7C678D6248}"/>
              </a:ext>
            </a:extLst>
          </p:cNvPr>
          <p:cNvSpPr/>
          <p:nvPr/>
        </p:nvSpPr>
        <p:spPr>
          <a:xfrm>
            <a:off x="5882815" y="3924104"/>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7" name="Oval 16">
            <a:extLst>
              <a:ext uri="{FF2B5EF4-FFF2-40B4-BE49-F238E27FC236}">
                <a16:creationId xmlns:a16="http://schemas.microsoft.com/office/drawing/2014/main" id="{D5D5D03D-BEFF-4022-B729-49ABA0BAB253}"/>
              </a:ext>
            </a:extLst>
          </p:cNvPr>
          <p:cNvSpPr/>
          <p:nvPr/>
        </p:nvSpPr>
        <p:spPr>
          <a:xfrm>
            <a:off x="8720907" y="3894869"/>
            <a:ext cx="2239299" cy="2239299"/>
          </a:xfrm>
          <a:prstGeom prst="ellipse">
            <a:avLst/>
          </a:prstGeom>
          <a:noFill/>
          <a:ln w="38100" cap="flat" cmpd="sng" algn="ctr">
            <a:solidFill>
              <a:srgbClr val="0078D7"/>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8" name="Rectangle: Rounded Corners 17">
            <a:extLst>
              <a:ext uri="{FF2B5EF4-FFF2-40B4-BE49-F238E27FC236}">
                <a16:creationId xmlns:a16="http://schemas.microsoft.com/office/drawing/2014/main" id="{9C011A7D-573A-41A1-AD6D-56D79521033E}"/>
              </a:ext>
            </a:extLst>
          </p:cNvPr>
          <p:cNvSpPr/>
          <p:nvPr/>
        </p:nvSpPr>
        <p:spPr>
          <a:xfrm>
            <a:off x="10069835" y="4452755"/>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9" name="Oval 18">
            <a:extLst>
              <a:ext uri="{FF2B5EF4-FFF2-40B4-BE49-F238E27FC236}">
                <a16:creationId xmlns:a16="http://schemas.microsoft.com/office/drawing/2014/main" id="{14F8433D-F657-4504-836E-BCFD11481B09}"/>
              </a:ext>
            </a:extLst>
          </p:cNvPr>
          <p:cNvSpPr/>
          <p:nvPr/>
        </p:nvSpPr>
        <p:spPr>
          <a:xfrm>
            <a:off x="10134831" y="4721403"/>
            <a:ext cx="121326" cy="121326"/>
          </a:xfrm>
          <a:prstGeom prst="ellipse">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0" name="Rectangle: Rounded Corners 19">
            <a:extLst>
              <a:ext uri="{FF2B5EF4-FFF2-40B4-BE49-F238E27FC236}">
                <a16:creationId xmlns:a16="http://schemas.microsoft.com/office/drawing/2014/main" id="{C2E657AA-FFA5-4153-A79B-6BB6E24F0F42}"/>
              </a:ext>
            </a:extLst>
          </p:cNvPr>
          <p:cNvSpPr/>
          <p:nvPr/>
        </p:nvSpPr>
        <p:spPr>
          <a:xfrm>
            <a:off x="11083765" y="4688703"/>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1" name="Rectangle: Rounded Corners 20">
            <a:extLst>
              <a:ext uri="{FF2B5EF4-FFF2-40B4-BE49-F238E27FC236}">
                <a16:creationId xmlns:a16="http://schemas.microsoft.com/office/drawing/2014/main" id="{1D38DDC1-E4BD-46B3-BC4B-5C4A8177CAB6}"/>
              </a:ext>
            </a:extLst>
          </p:cNvPr>
          <p:cNvSpPr/>
          <p:nvPr/>
        </p:nvSpPr>
        <p:spPr>
          <a:xfrm>
            <a:off x="11083765" y="4816788"/>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E618756D-65F7-47D4-AEEB-E55A8FF2CDCF}"/>
              </a:ext>
            </a:extLst>
          </p:cNvPr>
          <p:cNvSpPr/>
          <p:nvPr/>
        </p:nvSpPr>
        <p:spPr>
          <a:xfrm>
            <a:off x="11083765" y="475274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3" name="Rectangle: Rounded Corners 22">
            <a:extLst>
              <a:ext uri="{FF2B5EF4-FFF2-40B4-BE49-F238E27FC236}">
                <a16:creationId xmlns:a16="http://schemas.microsoft.com/office/drawing/2014/main" id="{253F0B90-4C67-4DD0-8B92-776255E046DB}"/>
              </a:ext>
            </a:extLst>
          </p:cNvPr>
          <p:cNvSpPr/>
          <p:nvPr/>
        </p:nvSpPr>
        <p:spPr>
          <a:xfrm>
            <a:off x="10069835" y="5123966"/>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4" name="Oval 23">
            <a:extLst>
              <a:ext uri="{FF2B5EF4-FFF2-40B4-BE49-F238E27FC236}">
                <a16:creationId xmlns:a16="http://schemas.microsoft.com/office/drawing/2014/main" id="{9A273B65-A021-4F52-8593-8138F837517A}"/>
              </a:ext>
            </a:extLst>
          </p:cNvPr>
          <p:cNvSpPr/>
          <p:nvPr/>
        </p:nvSpPr>
        <p:spPr>
          <a:xfrm>
            <a:off x="10134831" y="5392614"/>
            <a:ext cx="121326" cy="121326"/>
          </a:xfrm>
          <a:prstGeom prst="ellipse">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5" name="Rectangle: Rounded Corners 24">
            <a:extLst>
              <a:ext uri="{FF2B5EF4-FFF2-40B4-BE49-F238E27FC236}">
                <a16:creationId xmlns:a16="http://schemas.microsoft.com/office/drawing/2014/main" id="{8697B97C-CCE4-41AB-B92B-B60219917E9D}"/>
              </a:ext>
            </a:extLst>
          </p:cNvPr>
          <p:cNvSpPr/>
          <p:nvPr/>
        </p:nvSpPr>
        <p:spPr>
          <a:xfrm>
            <a:off x="11083765" y="5359914"/>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6" name="Rectangle: Rounded Corners 25">
            <a:extLst>
              <a:ext uri="{FF2B5EF4-FFF2-40B4-BE49-F238E27FC236}">
                <a16:creationId xmlns:a16="http://schemas.microsoft.com/office/drawing/2014/main" id="{43C04DE2-41BD-45F9-9507-CDAD7D587937}"/>
              </a:ext>
            </a:extLst>
          </p:cNvPr>
          <p:cNvSpPr/>
          <p:nvPr/>
        </p:nvSpPr>
        <p:spPr>
          <a:xfrm>
            <a:off x="11083765" y="5487998"/>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7" name="Rectangle: Rounded Corners 26">
            <a:extLst>
              <a:ext uri="{FF2B5EF4-FFF2-40B4-BE49-F238E27FC236}">
                <a16:creationId xmlns:a16="http://schemas.microsoft.com/office/drawing/2014/main" id="{9F8A3B30-CC80-431A-ACC3-CCAB058A6EA5}"/>
              </a:ext>
            </a:extLst>
          </p:cNvPr>
          <p:cNvSpPr/>
          <p:nvPr/>
        </p:nvSpPr>
        <p:spPr>
          <a:xfrm>
            <a:off x="11083765" y="542395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8" name="Rectangle: Rounded Corners 27">
            <a:extLst>
              <a:ext uri="{FF2B5EF4-FFF2-40B4-BE49-F238E27FC236}">
                <a16:creationId xmlns:a16="http://schemas.microsoft.com/office/drawing/2014/main" id="{A46996E1-4FD6-439F-A71E-A239B92A52E8}"/>
              </a:ext>
            </a:extLst>
          </p:cNvPr>
          <p:cNvSpPr/>
          <p:nvPr/>
        </p:nvSpPr>
        <p:spPr>
          <a:xfrm>
            <a:off x="8188007" y="5123966"/>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9" name="Oval 28">
            <a:extLst>
              <a:ext uri="{FF2B5EF4-FFF2-40B4-BE49-F238E27FC236}">
                <a16:creationId xmlns:a16="http://schemas.microsoft.com/office/drawing/2014/main" id="{A3224795-897F-4A55-9161-50768584D8C2}"/>
              </a:ext>
            </a:extLst>
          </p:cNvPr>
          <p:cNvSpPr/>
          <p:nvPr/>
        </p:nvSpPr>
        <p:spPr>
          <a:xfrm>
            <a:off x="8253004" y="5392614"/>
            <a:ext cx="121326" cy="121326"/>
          </a:xfrm>
          <a:prstGeom prst="ellipse">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0" name="Rectangle: Rounded Corners 29">
            <a:extLst>
              <a:ext uri="{FF2B5EF4-FFF2-40B4-BE49-F238E27FC236}">
                <a16:creationId xmlns:a16="http://schemas.microsoft.com/office/drawing/2014/main" id="{65AB714A-BDB3-4FD2-8266-C23E33DD5F45}"/>
              </a:ext>
            </a:extLst>
          </p:cNvPr>
          <p:cNvSpPr/>
          <p:nvPr/>
        </p:nvSpPr>
        <p:spPr>
          <a:xfrm>
            <a:off x="9201938" y="5359914"/>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1" name="Rectangle: Rounded Corners 30">
            <a:extLst>
              <a:ext uri="{FF2B5EF4-FFF2-40B4-BE49-F238E27FC236}">
                <a16:creationId xmlns:a16="http://schemas.microsoft.com/office/drawing/2014/main" id="{1D377283-F4EE-42A1-8E41-40C1016A44A0}"/>
              </a:ext>
            </a:extLst>
          </p:cNvPr>
          <p:cNvSpPr/>
          <p:nvPr/>
        </p:nvSpPr>
        <p:spPr>
          <a:xfrm>
            <a:off x="9201938" y="5487998"/>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2" name="Rectangle: Rounded Corners 31">
            <a:extLst>
              <a:ext uri="{FF2B5EF4-FFF2-40B4-BE49-F238E27FC236}">
                <a16:creationId xmlns:a16="http://schemas.microsoft.com/office/drawing/2014/main" id="{50B9572D-38F0-4C9B-8AF7-CF2F930BEB0C}"/>
              </a:ext>
            </a:extLst>
          </p:cNvPr>
          <p:cNvSpPr/>
          <p:nvPr/>
        </p:nvSpPr>
        <p:spPr>
          <a:xfrm>
            <a:off x="9201938" y="542395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3" name="Rectangle: Rounded Corners 32">
            <a:extLst>
              <a:ext uri="{FF2B5EF4-FFF2-40B4-BE49-F238E27FC236}">
                <a16:creationId xmlns:a16="http://schemas.microsoft.com/office/drawing/2014/main" id="{D6048054-AC85-49BD-81DC-6A6F1408BE62}"/>
              </a:ext>
            </a:extLst>
          </p:cNvPr>
          <p:cNvSpPr/>
          <p:nvPr/>
        </p:nvSpPr>
        <p:spPr>
          <a:xfrm>
            <a:off x="8188007" y="4452755"/>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4" name="Oval 33">
            <a:extLst>
              <a:ext uri="{FF2B5EF4-FFF2-40B4-BE49-F238E27FC236}">
                <a16:creationId xmlns:a16="http://schemas.microsoft.com/office/drawing/2014/main" id="{D8D20E8E-4414-4604-AE48-2E242A008D1B}"/>
              </a:ext>
            </a:extLst>
          </p:cNvPr>
          <p:cNvSpPr/>
          <p:nvPr/>
        </p:nvSpPr>
        <p:spPr>
          <a:xfrm>
            <a:off x="8253004" y="4721403"/>
            <a:ext cx="121326" cy="121326"/>
          </a:xfrm>
          <a:prstGeom prst="ellipse">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5" name="Rectangle: Rounded Corners 34">
            <a:extLst>
              <a:ext uri="{FF2B5EF4-FFF2-40B4-BE49-F238E27FC236}">
                <a16:creationId xmlns:a16="http://schemas.microsoft.com/office/drawing/2014/main" id="{656B3D9F-F986-4A15-91FB-B5E11946841B}"/>
              </a:ext>
            </a:extLst>
          </p:cNvPr>
          <p:cNvSpPr/>
          <p:nvPr/>
        </p:nvSpPr>
        <p:spPr>
          <a:xfrm>
            <a:off x="9201938" y="4688703"/>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6" name="Rectangle: Rounded Corners 35">
            <a:extLst>
              <a:ext uri="{FF2B5EF4-FFF2-40B4-BE49-F238E27FC236}">
                <a16:creationId xmlns:a16="http://schemas.microsoft.com/office/drawing/2014/main" id="{3FF17336-9CC2-4D6A-8BB9-172BB0E851CE}"/>
              </a:ext>
            </a:extLst>
          </p:cNvPr>
          <p:cNvSpPr/>
          <p:nvPr/>
        </p:nvSpPr>
        <p:spPr>
          <a:xfrm>
            <a:off x="9201938" y="4816788"/>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7" name="Rectangle: Rounded Corners 36">
            <a:extLst>
              <a:ext uri="{FF2B5EF4-FFF2-40B4-BE49-F238E27FC236}">
                <a16:creationId xmlns:a16="http://schemas.microsoft.com/office/drawing/2014/main" id="{380E7273-A4D3-41AA-A76E-D8F5C0BF7B2F}"/>
              </a:ext>
            </a:extLst>
          </p:cNvPr>
          <p:cNvSpPr/>
          <p:nvPr/>
        </p:nvSpPr>
        <p:spPr>
          <a:xfrm>
            <a:off x="9201938" y="475274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1E5AE90B-A336-4BC7-BE16-B9C09388B5BE}"/>
              </a:ext>
            </a:extLst>
          </p:cNvPr>
          <p:cNvSpPr/>
          <p:nvPr/>
        </p:nvSpPr>
        <p:spPr>
          <a:xfrm>
            <a:off x="6126586" y="2026078"/>
            <a:ext cx="970138" cy="276999"/>
          </a:xfrm>
          <a:prstGeom prst="rect">
            <a:avLst/>
          </a:prstGeom>
        </p:spPr>
        <p:txBody>
          <a:bodyPr wrap="none">
            <a:spAutoFit/>
          </a:bodyPr>
          <a:lstStyle/>
          <a:p>
            <a:pPr marL="0" lvl="1" algn="ctr" defTabSz="914225">
              <a:defRPr/>
            </a:pPr>
            <a:r>
              <a:rPr lang="en-US" sz="1200" b="1">
                <a:solidFill>
                  <a:srgbClr val="000000"/>
                </a:solidFill>
                <a:cs typeface="Segoe UI" panose="020B0502040204020203" pitchFamily="34" charset="0"/>
              </a:rPr>
              <a:t>Monolithic</a:t>
            </a:r>
          </a:p>
        </p:txBody>
      </p:sp>
      <p:grpSp>
        <p:nvGrpSpPr>
          <p:cNvPr id="39" name="Group 38">
            <a:extLst>
              <a:ext uri="{FF2B5EF4-FFF2-40B4-BE49-F238E27FC236}">
                <a16:creationId xmlns:a16="http://schemas.microsoft.com/office/drawing/2014/main" id="{B0E072E1-F7B0-45BF-B31B-19832668F178}"/>
              </a:ext>
            </a:extLst>
          </p:cNvPr>
          <p:cNvGrpSpPr/>
          <p:nvPr/>
        </p:nvGrpSpPr>
        <p:grpSpPr>
          <a:xfrm>
            <a:off x="6220772" y="2859046"/>
            <a:ext cx="781767" cy="781767"/>
            <a:chOff x="3829879" y="2544417"/>
            <a:chExt cx="781878" cy="781878"/>
          </a:xfrm>
        </p:grpSpPr>
        <p:sp>
          <p:nvSpPr>
            <p:cNvPr id="40" name="Rectangle: Rounded Corners 39">
              <a:extLst>
                <a:ext uri="{FF2B5EF4-FFF2-40B4-BE49-F238E27FC236}">
                  <a16:creationId xmlns:a16="http://schemas.microsoft.com/office/drawing/2014/main" id="{29C712F8-3942-4F1F-A2B0-25EAAF1F09F6}"/>
                </a:ext>
              </a:extLst>
            </p:cNvPr>
            <p:cNvSpPr/>
            <p:nvPr/>
          </p:nvSpPr>
          <p:spPr>
            <a:xfrm>
              <a:off x="3829879" y="2544417"/>
              <a:ext cx="781878" cy="781878"/>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41" name="Group 40">
              <a:extLst>
                <a:ext uri="{FF2B5EF4-FFF2-40B4-BE49-F238E27FC236}">
                  <a16:creationId xmlns:a16="http://schemas.microsoft.com/office/drawing/2014/main" id="{7D902296-97BD-498C-AEB1-94259842A16E}"/>
                </a:ext>
              </a:extLst>
            </p:cNvPr>
            <p:cNvGrpSpPr/>
            <p:nvPr/>
          </p:nvGrpSpPr>
          <p:grpSpPr>
            <a:xfrm>
              <a:off x="3962757" y="2717377"/>
              <a:ext cx="516122" cy="435958"/>
              <a:chOff x="3958213" y="2687192"/>
              <a:chExt cx="516122" cy="435958"/>
            </a:xfrm>
          </p:grpSpPr>
          <p:grpSp>
            <p:nvGrpSpPr>
              <p:cNvPr id="42" name="Group 41">
                <a:extLst>
                  <a:ext uri="{FF2B5EF4-FFF2-40B4-BE49-F238E27FC236}">
                    <a16:creationId xmlns:a16="http://schemas.microsoft.com/office/drawing/2014/main" id="{681CB057-5C87-4E20-8678-49228DB7745C}"/>
                  </a:ext>
                </a:extLst>
              </p:cNvPr>
              <p:cNvGrpSpPr/>
              <p:nvPr/>
            </p:nvGrpSpPr>
            <p:grpSpPr>
              <a:xfrm>
                <a:off x="4101974" y="2687192"/>
                <a:ext cx="228600" cy="228600"/>
                <a:chOff x="6614096" y="3386015"/>
                <a:chExt cx="182880" cy="182880"/>
              </a:xfrm>
            </p:grpSpPr>
            <p:sp>
              <p:nvSpPr>
                <p:cNvPr id="49" name="Oval 48">
                  <a:extLst>
                    <a:ext uri="{FF2B5EF4-FFF2-40B4-BE49-F238E27FC236}">
                      <a16:creationId xmlns:a16="http://schemas.microsoft.com/office/drawing/2014/main" id="{F7D53270-A7BC-40B8-A871-A2E0A2010749}"/>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Oval 49">
                  <a:extLst>
                    <a:ext uri="{FF2B5EF4-FFF2-40B4-BE49-F238E27FC236}">
                      <a16:creationId xmlns:a16="http://schemas.microsoft.com/office/drawing/2014/main" id="{D805A24C-CE23-423D-8997-8D3C3B5A28AC}"/>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3" name="Group 42">
                <a:extLst>
                  <a:ext uri="{FF2B5EF4-FFF2-40B4-BE49-F238E27FC236}">
                    <a16:creationId xmlns:a16="http://schemas.microsoft.com/office/drawing/2014/main" id="{D97D3108-5C9F-4185-A168-690602655B8B}"/>
                  </a:ext>
                </a:extLst>
              </p:cNvPr>
              <p:cNvGrpSpPr/>
              <p:nvPr/>
            </p:nvGrpSpPr>
            <p:grpSpPr>
              <a:xfrm>
                <a:off x="3958213" y="2894550"/>
                <a:ext cx="228600" cy="228600"/>
                <a:chOff x="6614096" y="3386015"/>
                <a:chExt cx="182880" cy="182880"/>
              </a:xfrm>
            </p:grpSpPr>
            <p:sp>
              <p:nvSpPr>
                <p:cNvPr id="47" name="Oval 46">
                  <a:extLst>
                    <a:ext uri="{FF2B5EF4-FFF2-40B4-BE49-F238E27FC236}">
                      <a16:creationId xmlns:a16="http://schemas.microsoft.com/office/drawing/2014/main" id="{5E3F222F-46D0-4CB6-848B-7F24C79C440C}"/>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Oval 47">
                  <a:extLst>
                    <a:ext uri="{FF2B5EF4-FFF2-40B4-BE49-F238E27FC236}">
                      <a16:creationId xmlns:a16="http://schemas.microsoft.com/office/drawing/2014/main" id="{D1EB9ACC-3E39-4F68-BEAE-2872E390BF9A}"/>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4" name="Group 43">
                <a:extLst>
                  <a:ext uri="{FF2B5EF4-FFF2-40B4-BE49-F238E27FC236}">
                    <a16:creationId xmlns:a16="http://schemas.microsoft.com/office/drawing/2014/main" id="{5D336840-DC88-4A5F-B589-12F800C57DE7}"/>
                  </a:ext>
                </a:extLst>
              </p:cNvPr>
              <p:cNvGrpSpPr/>
              <p:nvPr/>
            </p:nvGrpSpPr>
            <p:grpSpPr>
              <a:xfrm>
                <a:off x="4245735" y="2894550"/>
                <a:ext cx="228600" cy="228600"/>
                <a:chOff x="6614096" y="3386015"/>
                <a:chExt cx="182880" cy="182880"/>
              </a:xfrm>
            </p:grpSpPr>
            <p:sp>
              <p:nvSpPr>
                <p:cNvPr id="45" name="Oval 44">
                  <a:extLst>
                    <a:ext uri="{FF2B5EF4-FFF2-40B4-BE49-F238E27FC236}">
                      <a16:creationId xmlns:a16="http://schemas.microsoft.com/office/drawing/2014/main" id="{AC11F06D-382F-46CA-84A1-680CE6528914}"/>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Oval 45">
                  <a:extLst>
                    <a:ext uri="{FF2B5EF4-FFF2-40B4-BE49-F238E27FC236}">
                      <a16:creationId xmlns:a16="http://schemas.microsoft.com/office/drawing/2014/main" id="{2798560F-DBC6-402A-A109-6B5C38A996C2}"/>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sp>
        <p:nvSpPr>
          <p:cNvPr id="51" name="Rectangle 50">
            <a:extLst>
              <a:ext uri="{FF2B5EF4-FFF2-40B4-BE49-F238E27FC236}">
                <a16:creationId xmlns:a16="http://schemas.microsoft.com/office/drawing/2014/main" id="{9ED45169-C040-4D00-9DE1-9C451661324A}"/>
              </a:ext>
            </a:extLst>
          </p:cNvPr>
          <p:cNvSpPr/>
          <p:nvPr/>
        </p:nvSpPr>
        <p:spPr>
          <a:xfrm>
            <a:off x="6405509" y="2584966"/>
            <a:ext cx="412293" cy="246221"/>
          </a:xfrm>
          <a:prstGeom prst="rect">
            <a:avLst/>
          </a:prstGeom>
        </p:spPr>
        <p:txBody>
          <a:bodyPr wrap="none">
            <a:spAutoFit/>
          </a:bodyPr>
          <a:lstStyle/>
          <a:p>
            <a:pPr marL="0" marR="0" lvl="1" indent="0" algn="ctr" defTabSz="914225" eaLnBrk="1" fontAlgn="auto" latinLnBrk="0" hangingPunct="1">
              <a:lnSpc>
                <a:spcPct val="100000"/>
              </a:lnSpc>
              <a:spcBef>
                <a:spcPts val="0"/>
              </a:spcBef>
              <a:spcAft>
                <a:spcPts val="0"/>
              </a:spcAft>
              <a:buClrTx/>
              <a:buSzTx/>
              <a:buFontTx/>
              <a:buNone/>
              <a:tabLst/>
              <a:defRPr/>
            </a:pPr>
            <a:r>
              <a:rPr kumimoji="0" lang="en-US" sz="1000" b="0" i="0" u="none" strike="noStrike" kern="0" cap="all" spc="0" normalizeH="0" baseline="0" noProof="0">
                <a:ln>
                  <a:noFill/>
                </a:ln>
                <a:solidFill>
                  <a:srgbClr val="000000"/>
                </a:solidFill>
                <a:effectLst/>
                <a:uLnTx/>
                <a:uFillTx/>
              </a:rPr>
              <a:t>App</a:t>
            </a:r>
          </a:p>
        </p:txBody>
      </p:sp>
      <p:sp>
        <p:nvSpPr>
          <p:cNvPr id="52" name="Rectangle: Rounded Corners 51">
            <a:extLst>
              <a:ext uri="{FF2B5EF4-FFF2-40B4-BE49-F238E27FC236}">
                <a16:creationId xmlns:a16="http://schemas.microsoft.com/office/drawing/2014/main" id="{5C03DCD8-0924-4353-B6CE-366B75A6A218}"/>
              </a:ext>
            </a:extLst>
          </p:cNvPr>
          <p:cNvSpPr/>
          <p:nvPr/>
        </p:nvSpPr>
        <p:spPr>
          <a:xfrm>
            <a:off x="8790272" y="2859046"/>
            <a:ext cx="781767" cy="781767"/>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53" name="Group 52">
            <a:extLst>
              <a:ext uri="{FF2B5EF4-FFF2-40B4-BE49-F238E27FC236}">
                <a16:creationId xmlns:a16="http://schemas.microsoft.com/office/drawing/2014/main" id="{5D791234-0EF4-4636-A316-0436FF59A291}"/>
              </a:ext>
            </a:extLst>
          </p:cNvPr>
          <p:cNvGrpSpPr/>
          <p:nvPr/>
        </p:nvGrpSpPr>
        <p:grpSpPr>
          <a:xfrm>
            <a:off x="9066872" y="3029887"/>
            <a:ext cx="228568" cy="228568"/>
            <a:chOff x="6614096" y="3386015"/>
            <a:chExt cx="182880" cy="182880"/>
          </a:xfrm>
        </p:grpSpPr>
        <p:sp>
          <p:nvSpPr>
            <p:cNvPr id="54" name="Oval 53">
              <a:extLst>
                <a:ext uri="{FF2B5EF4-FFF2-40B4-BE49-F238E27FC236}">
                  <a16:creationId xmlns:a16="http://schemas.microsoft.com/office/drawing/2014/main" id="{B1906C93-1E3B-448C-85F0-5D8B35DC2217}"/>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Oval 54">
              <a:extLst>
                <a:ext uri="{FF2B5EF4-FFF2-40B4-BE49-F238E27FC236}">
                  <a16:creationId xmlns:a16="http://schemas.microsoft.com/office/drawing/2014/main" id="{2EA95058-2318-4D27-9E68-EA9890DD1CCD}"/>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6" name="Group 55">
            <a:extLst>
              <a:ext uri="{FF2B5EF4-FFF2-40B4-BE49-F238E27FC236}">
                <a16:creationId xmlns:a16="http://schemas.microsoft.com/office/drawing/2014/main" id="{2548BF13-1B07-4AB2-8508-F4BCF80840BB}"/>
              </a:ext>
            </a:extLst>
          </p:cNvPr>
          <p:cNvGrpSpPr/>
          <p:nvPr/>
        </p:nvGrpSpPr>
        <p:grpSpPr>
          <a:xfrm>
            <a:off x="8923131" y="3237216"/>
            <a:ext cx="228568" cy="228568"/>
            <a:chOff x="6614096" y="3386015"/>
            <a:chExt cx="182880" cy="182880"/>
          </a:xfrm>
        </p:grpSpPr>
        <p:sp>
          <p:nvSpPr>
            <p:cNvPr id="57" name="Oval 56">
              <a:extLst>
                <a:ext uri="{FF2B5EF4-FFF2-40B4-BE49-F238E27FC236}">
                  <a16:creationId xmlns:a16="http://schemas.microsoft.com/office/drawing/2014/main" id="{F9B0D253-20DD-4CFC-A238-4539FA647C3E}"/>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Oval 57">
              <a:extLst>
                <a:ext uri="{FF2B5EF4-FFF2-40B4-BE49-F238E27FC236}">
                  <a16:creationId xmlns:a16="http://schemas.microsoft.com/office/drawing/2014/main" id="{C6DE690E-8547-49B1-A6E0-01F5E5DD6B37}"/>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9" name="Group 58">
            <a:extLst>
              <a:ext uri="{FF2B5EF4-FFF2-40B4-BE49-F238E27FC236}">
                <a16:creationId xmlns:a16="http://schemas.microsoft.com/office/drawing/2014/main" id="{F1EE4D26-CD55-4D33-8D4E-6EC7A9E41312}"/>
              </a:ext>
            </a:extLst>
          </p:cNvPr>
          <p:cNvGrpSpPr/>
          <p:nvPr/>
        </p:nvGrpSpPr>
        <p:grpSpPr>
          <a:xfrm>
            <a:off x="9210612" y="3237216"/>
            <a:ext cx="228568" cy="228568"/>
            <a:chOff x="6614096" y="3386015"/>
            <a:chExt cx="182880" cy="182880"/>
          </a:xfrm>
        </p:grpSpPr>
        <p:sp>
          <p:nvSpPr>
            <p:cNvPr id="60" name="Oval 59">
              <a:extLst>
                <a:ext uri="{FF2B5EF4-FFF2-40B4-BE49-F238E27FC236}">
                  <a16:creationId xmlns:a16="http://schemas.microsoft.com/office/drawing/2014/main" id="{B867ED5F-E253-4535-8599-DB6ADE6C43E8}"/>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Oval 60">
              <a:extLst>
                <a:ext uri="{FF2B5EF4-FFF2-40B4-BE49-F238E27FC236}">
                  <a16:creationId xmlns:a16="http://schemas.microsoft.com/office/drawing/2014/main" id="{596E55AD-D121-4705-BF11-DC9A7C524502}"/>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2" name="Rectangle: Rounded Corners 61">
            <a:extLst>
              <a:ext uri="{FF2B5EF4-FFF2-40B4-BE49-F238E27FC236}">
                <a16:creationId xmlns:a16="http://schemas.microsoft.com/office/drawing/2014/main" id="{B815DD8B-BF91-4AB5-8504-FD3AFA23148E}"/>
              </a:ext>
            </a:extLst>
          </p:cNvPr>
          <p:cNvSpPr/>
          <p:nvPr/>
        </p:nvSpPr>
        <p:spPr>
          <a:xfrm>
            <a:off x="10095426" y="2859046"/>
            <a:ext cx="781767" cy="781767"/>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63" name="Group 62">
            <a:extLst>
              <a:ext uri="{FF2B5EF4-FFF2-40B4-BE49-F238E27FC236}">
                <a16:creationId xmlns:a16="http://schemas.microsoft.com/office/drawing/2014/main" id="{95C40D55-1AD2-48F5-9867-614FC95D0B25}"/>
              </a:ext>
            </a:extLst>
          </p:cNvPr>
          <p:cNvGrpSpPr/>
          <p:nvPr/>
        </p:nvGrpSpPr>
        <p:grpSpPr>
          <a:xfrm>
            <a:off x="10372026" y="3029887"/>
            <a:ext cx="228568" cy="228568"/>
            <a:chOff x="6614096" y="3386015"/>
            <a:chExt cx="182880" cy="182880"/>
          </a:xfrm>
        </p:grpSpPr>
        <p:sp>
          <p:nvSpPr>
            <p:cNvPr id="64" name="Oval 63">
              <a:extLst>
                <a:ext uri="{FF2B5EF4-FFF2-40B4-BE49-F238E27FC236}">
                  <a16:creationId xmlns:a16="http://schemas.microsoft.com/office/drawing/2014/main" id="{A7E6E800-9106-49F2-8476-8F0A0BD00740}"/>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Oval 64">
              <a:extLst>
                <a:ext uri="{FF2B5EF4-FFF2-40B4-BE49-F238E27FC236}">
                  <a16:creationId xmlns:a16="http://schemas.microsoft.com/office/drawing/2014/main" id="{D337BC70-4F39-44ED-BAFB-D227E791745D}"/>
                </a:ext>
              </a:extLst>
            </p:cNvPr>
            <p:cNvSpPr/>
            <p:nvPr/>
          </p:nvSpPr>
          <p:spPr>
            <a:xfrm>
              <a:off x="6636956" y="3408875"/>
              <a:ext cx="137160" cy="137160"/>
            </a:xfrm>
            <a:prstGeom prst="ellipse">
              <a:avLst/>
            </a:prstGeom>
            <a:solidFill>
              <a:srgbClr val="D7820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6" name="Group 65">
            <a:extLst>
              <a:ext uri="{FF2B5EF4-FFF2-40B4-BE49-F238E27FC236}">
                <a16:creationId xmlns:a16="http://schemas.microsoft.com/office/drawing/2014/main" id="{BE5AB1B1-EFDB-425A-A358-A09279975371}"/>
              </a:ext>
            </a:extLst>
          </p:cNvPr>
          <p:cNvGrpSpPr/>
          <p:nvPr/>
        </p:nvGrpSpPr>
        <p:grpSpPr>
          <a:xfrm>
            <a:off x="10228285" y="3237216"/>
            <a:ext cx="228568" cy="228568"/>
            <a:chOff x="6614096" y="3386015"/>
            <a:chExt cx="182880" cy="182880"/>
          </a:xfrm>
        </p:grpSpPr>
        <p:sp>
          <p:nvSpPr>
            <p:cNvPr id="67" name="Oval 66">
              <a:extLst>
                <a:ext uri="{FF2B5EF4-FFF2-40B4-BE49-F238E27FC236}">
                  <a16:creationId xmlns:a16="http://schemas.microsoft.com/office/drawing/2014/main" id="{1802646D-7FB7-4D6B-BE91-8223D9CB53D5}"/>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 name="Oval 67">
              <a:extLst>
                <a:ext uri="{FF2B5EF4-FFF2-40B4-BE49-F238E27FC236}">
                  <a16:creationId xmlns:a16="http://schemas.microsoft.com/office/drawing/2014/main" id="{BA45BCEE-871B-4A5A-8050-F903FEC072FD}"/>
                </a:ext>
              </a:extLst>
            </p:cNvPr>
            <p:cNvSpPr/>
            <p:nvPr/>
          </p:nvSpPr>
          <p:spPr>
            <a:xfrm>
              <a:off x="6636956" y="3408875"/>
              <a:ext cx="137160" cy="137160"/>
            </a:xfrm>
            <a:prstGeom prst="ellipse">
              <a:avLst/>
            </a:prstGeom>
            <a:solidFill>
              <a:srgbClr val="00315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9" name="Group 68">
            <a:extLst>
              <a:ext uri="{FF2B5EF4-FFF2-40B4-BE49-F238E27FC236}">
                <a16:creationId xmlns:a16="http://schemas.microsoft.com/office/drawing/2014/main" id="{FE4E88CE-B7C2-4CEE-AE25-6DF48E99A817}"/>
              </a:ext>
            </a:extLst>
          </p:cNvPr>
          <p:cNvGrpSpPr/>
          <p:nvPr/>
        </p:nvGrpSpPr>
        <p:grpSpPr>
          <a:xfrm>
            <a:off x="10515766" y="3237216"/>
            <a:ext cx="228568" cy="228568"/>
            <a:chOff x="6614096" y="3386015"/>
            <a:chExt cx="182880" cy="182880"/>
          </a:xfrm>
        </p:grpSpPr>
        <p:sp>
          <p:nvSpPr>
            <p:cNvPr id="70" name="Oval 69">
              <a:extLst>
                <a:ext uri="{FF2B5EF4-FFF2-40B4-BE49-F238E27FC236}">
                  <a16:creationId xmlns:a16="http://schemas.microsoft.com/office/drawing/2014/main" id="{13F13C69-E587-4094-8EDD-2607785B0596}"/>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Oval 70">
              <a:extLst>
                <a:ext uri="{FF2B5EF4-FFF2-40B4-BE49-F238E27FC236}">
                  <a16:creationId xmlns:a16="http://schemas.microsoft.com/office/drawing/2014/main" id="{4705285B-765C-4F52-A609-6655FAAEA748}"/>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72" name="Rectangle 71">
            <a:extLst>
              <a:ext uri="{FF2B5EF4-FFF2-40B4-BE49-F238E27FC236}">
                <a16:creationId xmlns:a16="http://schemas.microsoft.com/office/drawing/2014/main" id="{64D894B5-E0FB-4849-A1A5-DD8D77E2E256}"/>
              </a:ext>
            </a:extLst>
          </p:cNvPr>
          <p:cNvSpPr/>
          <p:nvPr/>
        </p:nvSpPr>
        <p:spPr>
          <a:xfrm>
            <a:off x="8975008" y="2589806"/>
            <a:ext cx="412293" cy="246221"/>
          </a:xfrm>
          <a:prstGeom prst="rect">
            <a:avLst/>
          </a:prstGeom>
        </p:spPr>
        <p:txBody>
          <a:bodyPr wrap="none">
            <a:spAutoFit/>
          </a:bodyPr>
          <a:lstStyle/>
          <a:p>
            <a:pPr marL="0" marR="0" lvl="1" indent="0" algn="ctr" defTabSz="914225" eaLnBrk="1" fontAlgn="auto" latinLnBrk="0" hangingPunct="1">
              <a:lnSpc>
                <a:spcPct val="100000"/>
              </a:lnSpc>
              <a:spcBef>
                <a:spcPts val="0"/>
              </a:spcBef>
              <a:spcAft>
                <a:spcPts val="0"/>
              </a:spcAft>
              <a:buClrTx/>
              <a:buSzTx/>
              <a:buFontTx/>
              <a:buNone/>
              <a:tabLst/>
              <a:defRPr/>
            </a:pPr>
            <a:r>
              <a:rPr kumimoji="0" lang="en-US" sz="1000" b="0" i="0" u="none" strike="noStrike" kern="0" cap="all" spc="0" normalizeH="0" baseline="0" noProof="0">
                <a:ln>
                  <a:noFill/>
                </a:ln>
                <a:solidFill>
                  <a:sysClr val="windowText" lastClr="000000"/>
                </a:solidFill>
                <a:effectLst/>
                <a:uLnTx/>
                <a:uFillTx/>
              </a:rPr>
              <a:t>App</a:t>
            </a:r>
          </a:p>
        </p:txBody>
      </p:sp>
      <p:sp>
        <p:nvSpPr>
          <p:cNvPr id="73" name="Rectangle 72">
            <a:extLst>
              <a:ext uri="{FF2B5EF4-FFF2-40B4-BE49-F238E27FC236}">
                <a16:creationId xmlns:a16="http://schemas.microsoft.com/office/drawing/2014/main" id="{A4DD5F5C-8242-45B6-881E-9557A17FE228}"/>
              </a:ext>
            </a:extLst>
          </p:cNvPr>
          <p:cNvSpPr/>
          <p:nvPr/>
        </p:nvSpPr>
        <p:spPr>
          <a:xfrm>
            <a:off x="10280162" y="2589806"/>
            <a:ext cx="412293" cy="246221"/>
          </a:xfrm>
          <a:prstGeom prst="rect">
            <a:avLst/>
          </a:prstGeom>
        </p:spPr>
        <p:txBody>
          <a:bodyPr wrap="none">
            <a:spAutoFit/>
          </a:bodyPr>
          <a:lstStyle/>
          <a:p>
            <a:pPr marL="0" marR="0" lvl="1" indent="0" algn="ctr" defTabSz="914225" eaLnBrk="1" fontAlgn="auto" latinLnBrk="0" hangingPunct="1">
              <a:lnSpc>
                <a:spcPct val="100000"/>
              </a:lnSpc>
              <a:spcBef>
                <a:spcPts val="0"/>
              </a:spcBef>
              <a:spcAft>
                <a:spcPts val="0"/>
              </a:spcAft>
              <a:buClrTx/>
              <a:buSzTx/>
              <a:buFontTx/>
              <a:buNone/>
              <a:tabLst/>
              <a:defRPr/>
            </a:pPr>
            <a:r>
              <a:rPr kumimoji="0" lang="en-US" sz="1000" b="0" i="0" u="none" strike="noStrike" kern="0" cap="all" spc="0" normalizeH="0" baseline="0" noProof="0">
                <a:ln>
                  <a:noFill/>
                </a:ln>
                <a:solidFill>
                  <a:sysClr val="windowText" lastClr="000000"/>
                </a:solidFill>
                <a:effectLst/>
                <a:uLnTx/>
                <a:uFillTx/>
              </a:rPr>
              <a:t>App</a:t>
            </a:r>
          </a:p>
        </p:txBody>
      </p:sp>
      <p:sp>
        <p:nvSpPr>
          <p:cNvPr id="74" name="Rectangle 73">
            <a:extLst>
              <a:ext uri="{FF2B5EF4-FFF2-40B4-BE49-F238E27FC236}">
                <a16:creationId xmlns:a16="http://schemas.microsoft.com/office/drawing/2014/main" id="{AA7F227B-F109-429A-B23D-310D7B44955E}"/>
              </a:ext>
            </a:extLst>
          </p:cNvPr>
          <p:cNvSpPr/>
          <p:nvPr/>
        </p:nvSpPr>
        <p:spPr>
          <a:xfrm>
            <a:off x="9292627" y="2026078"/>
            <a:ext cx="1172886" cy="276999"/>
          </a:xfrm>
          <a:prstGeom prst="rect">
            <a:avLst/>
          </a:prstGeom>
        </p:spPr>
        <p:txBody>
          <a:bodyPr wrap="none">
            <a:spAutoFit/>
          </a:bodyPr>
          <a:lstStyle/>
          <a:p>
            <a:pPr marL="0" lvl="1" algn="ctr" defTabSz="914225">
              <a:defRPr/>
            </a:pPr>
            <a:r>
              <a:rPr lang="en-US" sz="1200" b="1">
                <a:solidFill>
                  <a:srgbClr val="000000"/>
                </a:solidFill>
                <a:cs typeface="Segoe UI" panose="020B0502040204020203" pitchFamily="34" charset="0"/>
              </a:rPr>
              <a:t>Microservices</a:t>
            </a:r>
          </a:p>
        </p:txBody>
      </p:sp>
      <p:sp>
        <p:nvSpPr>
          <p:cNvPr id="75" name="Rectangle 74">
            <a:extLst>
              <a:ext uri="{FF2B5EF4-FFF2-40B4-BE49-F238E27FC236}">
                <a16:creationId xmlns:a16="http://schemas.microsoft.com/office/drawing/2014/main" id="{FC6C029D-3426-4DFB-99BC-B350EA5B6FD4}"/>
              </a:ext>
            </a:extLst>
          </p:cNvPr>
          <p:cNvSpPr/>
          <p:nvPr/>
        </p:nvSpPr>
        <p:spPr>
          <a:xfrm>
            <a:off x="5752157" y="2225104"/>
            <a:ext cx="1718997" cy="276999"/>
          </a:xfrm>
          <a:prstGeom prst="rect">
            <a:avLst/>
          </a:prstGeom>
        </p:spPr>
        <p:txBody>
          <a:bodyPr wrap="none">
            <a:spAutoFit/>
          </a:bodyPr>
          <a:lstStyle/>
          <a:p>
            <a:pPr marL="0" lvl="1" algn="ctr" defTabSz="914225">
              <a:defRPr/>
            </a:pPr>
            <a:r>
              <a:rPr lang="en-US" sz="1200">
                <a:solidFill>
                  <a:srgbClr val="000000"/>
                </a:solidFill>
                <a:cs typeface="Segoe UI" panose="020B0502040204020203" pitchFamily="34" charset="0"/>
              </a:rPr>
              <a:t>Large, all-inclusive app</a:t>
            </a:r>
          </a:p>
        </p:txBody>
      </p:sp>
      <p:sp>
        <p:nvSpPr>
          <p:cNvPr id="76" name="Rectangle 75">
            <a:extLst>
              <a:ext uri="{FF2B5EF4-FFF2-40B4-BE49-F238E27FC236}">
                <a16:creationId xmlns:a16="http://schemas.microsoft.com/office/drawing/2014/main" id="{607504D1-850A-49C8-B0C0-D04E9D5948EA}"/>
              </a:ext>
            </a:extLst>
          </p:cNvPr>
          <p:cNvSpPr/>
          <p:nvPr/>
        </p:nvSpPr>
        <p:spPr>
          <a:xfrm>
            <a:off x="8847504" y="2225104"/>
            <a:ext cx="2063130" cy="276999"/>
          </a:xfrm>
          <a:prstGeom prst="rect">
            <a:avLst/>
          </a:prstGeom>
        </p:spPr>
        <p:txBody>
          <a:bodyPr wrap="none">
            <a:spAutoFit/>
          </a:bodyPr>
          <a:lstStyle/>
          <a:p>
            <a:pPr marL="0" lvl="1" algn="ctr" defTabSz="914225">
              <a:defRPr/>
            </a:pPr>
            <a:r>
              <a:rPr lang="en-US" sz="1200">
                <a:solidFill>
                  <a:srgbClr val="000000"/>
                </a:solidFill>
                <a:cs typeface="Segoe UI" panose="020B0502040204020203" pitchFamily="34" charset="0"/>
              </a:rPr>
              <a:t>Small, independent services</a:t>
            </a:r>
          </a:p>
        </p:txBody>
      </p:sp>
      <p:sp>
        <p:nvSpPr>
          <p:cNvPr id="77" name="Oval 76">
            <a:extLst>
              <a:ext uri="{FF2B5EF4-FFF2-40B4-BE49-F238E27FC236}">
                <a16:creationId xmlns:a16="http://schemas.microsoft.com/office/drawing/2014/main" id="{52D53C76-331A-4CB1-A840-C81E84D41ACC}"/>
              </a:ext>
            </a:extLst>
          </p:cNvPr>
          <p:cNvSpPr/>
          <p:nvPr/>
        </p:nvSpPr>
        <p:spPr>
          <a:xfrm>
            <a:off x="5947812" y="4192752"/>
            <a:ext cx="121326" cy="121326"/>
          </a:xfrm>
          <a:prstGeom prst="ellipse">
            <a:avLst/>
          </a:prstGeom>
          <a:no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8" name="Rectangle: Rounded Corners 77">
            <a:extLst>
              <a:ext uri="{FF2B5EF4-FFF2-40B4-BE49-F238E27FC236}">
                <a16:creationId xmlns:a16="http://schemas.microsoft.com/office/drawing/2014/main" id="{30A183A8-DB80-439A-B154-BF48B0CEEBAD}"/>
              </a:ext>
            </a:extLst>
          </p:cNvPr>
          <p:cNvSpPr/>
          <p:nvPr/>
        </p:nvSpPr>
        <p:spPr>
          <a:xfrm>
            <a:off x="6896746" y="4160052"/>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9" name="Rectangle: Rounded Corners 78">
            <a:extLst>
              <a:ext uri="{FF2B5EF4-FFF2-40B4-BE49-F238E27FC236}">
                <a16:creationId xmlns:a16="http://schemas.microsoft.com/office/drawing/2014/main" id="{0C59FF47-1C12-4036-A029-92B591ED3B27}"/>
              </a:ext>
            </a:extLst>
          </p:cNvPr>
          <p:cNvSpPr/>
          <p:nvPr/>
        </p:nvSpPr>
        <p:spPr>
          <a:xfrm>
            <a:off x="6896746" y="4288137"/>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0" name="Rectangle: Rounded Corners 79">
            <a:extLst>
              <a:ext uri="{FF2B5EF4-FFF2-40B4-BE49-F238E27FC236}">
                <a16:creationId xmlns:a16="http://schemas.microsoft.com/office/drawing/2014/main" id="{9090ED17-D532-4923-B5C8-683C8B43A556}"/>
              </a:ext>
            </a:extLst>
          </p:cNvPr>
          <p:cNvSpPr/>
          <p:nvPr/>
        </p:nvSpPr>
        <p:spPr>
          <a:xfrm>
            <a:off x="6896746" y="4224095"/>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1" name="Oval 80">
            <a:extLst>
              <a:ext uri="{FF2B5EF4-FFF2-40B4-BE49-F238E27FC236}">
                <a16:creationId xmlns:a16="http://schemas.microsoft.com/office/drawing/2014/main" id="{3A9468DE-8EBE-4022-BAE9-CCCEA50DAD86}"/>
              </a:ext>
            </a:extLst>
          </p:cNvPr>
          <p:cNvSpPr/>
          <p:nvPr/>
        </p:nvSpPr>
        <p:spPr>
          <a:xfrm>
            <a:off x="5947812" y="4775493"/>
            <a:ext cx="121326" cy="121326"/>
          </a:xfrm>
          <a:prstGeom prst="ellipse">
            <a:avLst/>
          </a:prstGeom>
          <a:no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2" name="Rectangle: Rounded Corners 81">
            <a:extLst>
              <a:ext uri="{FF2B5EF4-FFF2-40B4-BE49-F238E27FC236}">
                <a16:creationId xmlns:a16="http://schemas.microsoft.com/office/drawing/2014/main" id="{E4DCC50E-1DA0-494C-A9D3-C7DC177EC3E7}"/>
              </a:ext>
            </a:extLst>
          </p:cNvPr>
          <p:cNvSpPr/>
          <p:nvPr/>
        </p:nvSpPr>
        <p:spPr>
          <a:xfrm>
            <a:off x="6896746" y="4742793"/>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3" name="Rectangle: Rounded Corners 82">
            <a:extLst>
              <a:ext uri="{FF2B5EF4-FFF2-40B4-BE49-F238E27FC236}">
                <a16:creationId xmlns:a16="http://schemas.microsoft.com/office/drawing/2014/main" id="{D070DB3F-83BC-41EE-8BC3-88B4D05F0AC0}"/>
              </a:ext>
            </a:extLst>
          </p:cNvPr>
          <p:cNvSpPr/>
          <p:nvPr/>
        </p:nvSpPr>
        <p:spPr>
          <a:xfrm>
            <a:off x="6896746" y="4870877"/>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4" name="Rectangle: Rounded Corners 83">
            <a:extLst>
              <a:ext uri="{FF2B5EF4-FFF2-40B4-BE49-F238E27FC236}">
                <a16:creationId xmlns:a16="http://schemas.microsoft.com/office/drawing/2014/main" id="{6AED16A0-C064-4C85-B7E6-BC1AE2FD049F}"/>
              </a:ext>
            </a:extLst>
          </p:cNvPr>
          <p:cNvSpPr/>
          <p:nvPr/>
        </p:nvSpPr>
        <p:spPr>
          <a:xfrm>
            <a:off x="6896746" y="480683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5" name="Oval 84">
            <a:extLst>
              <a:ext uri="{FF2B5EF4-FFF2-40B4-BE49-F238E27FC236}">
                <a16:creationId xmlns:a16="http://schemas.microsoft.com/office/drawing/2014/main" id="{D1CFFBFD-DAF5-4990-9CBF-08B2A7D2DE93}"/>
              </a:ext>
            </a:extLst>
          </p:cNvPr>
          <p:cNvSpPr/>
          <p:nvPr/>
        </p:nvSpPr>
        <p:spPr>
          <a:xfrm>
            <a:off x="5947812" y="5362566"/>
            <a:ext cx="121326" cy="121326"/>
          </a:xfrm>
          <a:prstGeom prst="ellipse">
            <a:avLst/>
          </a:prstGeom>
          <a:no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6" name="Rectangle: Rounded Corners 85">
            <a:extLst>
              <a:ext uri="{FF2B5EF4-FFF2-40B4-BE49-F238E27FC236}">
                <a16:creationId xmlns:a16="http://schemas.microsoft.com/office/drawing/2014/main" id="{DE59ED6C-AD9F-4D11-948E-C2E8C49A5B2B}"/>
              </a:ext>
            </a:extLst>
          </p:cNvPr>
          <p:cNvSpPr/>
          <p:nvPr/>
        </p:nvSpPr>
        <p:spPr>
          <a:xfrm>
            <a:off x="6896746" y="532986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7" name="Rectangle: Rounded Corners 86">
            <a:extLst>
              <a:ext uri="{FF2B5EF4-FFF2-40B4-BE49-F238E27FC236}">
                <a16:creationId xmlns:a16="http://schemas.microsoft.com/office/drawing/2014/main" id="{B6F1810C-652E-4439-9392-F752AA84AD51}"/>
              </a:ext>
            </a:extLst>
          </p:cNvPr>
          <p:cNvSpPr/>
          <p:nvPr/>
        </p:nvSpPr>
        <p:spPr>
          <a:xfrm>
            <a:off x="6896746" y="5457951"/>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8" name="Rectangle: Rounded Corners 87">
            <a:extLst>
              <a:ext uri="{FF2B5EF4-FFF2-40B4-BE49-F238E27FC236}">
                <a16:creationId xmlns:a16="http://schemas.microsoft.com/office/drawing/2014/main" id="{2458F72A-DE3D-41E1-AE72-66F6943D764C}"/>
              </a:ext>
            </a:extLst>
          </p:cNvPr>
          <p:cNvSpPr/>
          <p:nvPr/>
        </p:nvSpPr>
        <p:spPr>
          <a:xfrm>
            <a:off x="6896746" y="5393909"/>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9" name="Oval 88">
            <a:extLst>
              <a:ext uri="{FF2B5EF4-FFF2-40B4-BE49-F238E27FC236}">
                <a16:creationId xmlns:a16="http://schemas.microsoft.com/office/drawing/2014/main" id="{C6E83828-CA6D-4B53-B862-224A23FBA1A9}"/>
              </a:ext>
            </a:extLst>
          </p:cNvPr>
          <p:cNvSpPr/>
          <p:nvPr/>
        </p:nvSpPr>
        <p:spPr>
          <a:xfrm>
            <a:off x="5947812" y="5953972"/>
            <a:ext cx="121326" cy="121326"/>
          </a:xfrm>
          <a:prstGeom prst="ellipse">
            <a:avLst/>
          </a:prstGeom>
          <a:no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0" name="Rectangle: Rounded Corners 89">
            <a:extLst>
              <a:ext uri="{FF2B5EF4-FFF2-40B4-BE49-F238E27FC236}">
                <a16:creationId xmlns:a16="http://schemas.microsoft.com/office/drawing/2014/main" id="{9D0AB9D2-D667-4429-87CE-B7166BACCE98}"/>
              </a:ext>
            </a:extLst>
          </p:cNvPr>
          <p:cNvSpPr/>
          <p:nvPr/>
        </p:nvSpPr>
        <p:spPr>
          <a:xfrm>
            <a:off x="6896746" y="5921271"/>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1" name="Rectangle: Rounded Corners 90">
            <a:extLst>
              <a:ext uri="{FF2B5EF4-FFF2-40B4-BE49-F238E27FC236}">
                <a16:creationId xmlns:a16="http://schemas.microsoft.com/office/drawing/2014/main" id="{2033F748-1FEF-4812-8E9A-18DE50F7BE2F}"/>
              </a:ext>
            </a:extLst>
          </p:cNvPr>
          <p:cNvSpPr/>
          <p:nvPr/>
        </p:nvSpPr>
        <p:spPr>
          <a:xfrm>
            <a:off x="6896746" y="604935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2" name="Rectangle: Rounded Corners 91">
            <a:extLst>
              <a:ext uri="{FF2B5EF4-FFF2-40B4-BE49-F238E27FC236}">
                <a16:creationId xmlns:a16="http://schemas.microsoft.com/office/drawing/2014/main" id="{625C54C9-D11E-4D64-ADEE-62E7801AAB9C}"/>
              </a:ext>
            </a:extLst>
          </p:cNvPr>
          <p:cNvSpPr/>
          <p:nvPr/>
        </p:nvSpPr>
        <p:spPr>
          <a:xfrm>
            <a:off x="6896746" y="5985314"/>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3" name="Rectangle: Rounded Corners 92">
            <a:extLst>
              <a:ext uri="{FF2B5EF4-FFF2-40B4-BE49-F238E27FC236}">
                <a16:creationId xmlns:a16="http://schemas.microsoft.com/office/drawing/2014/main" id="{D62B6A10-F0D9-4ECF-BB2B-29CB0F8E8688}"/>
              </a:ext>
            </a:extLst>
          </p:cNvPr>
          <p:cNvSpPr/>
          <p:nvPr/>
        </p:nvSpPr>
        <p:spPr>
          <a:xfrm>
            <a:off x="9120976" y="3808646"/>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4" name="Oval 93">
            <a:extLst>
              <a:ext uri="{FF2B5EF4-FFF2-40B4-BE49-F238E27FC236}">
                <a16:creationId xmlns:a16="http://schemas.microsoft.com/office/drawing/2014/main" id="{6AC13540-2503-499B-9C27-0057A875A332}"/>
              </a:ext>
            </a:extLst>
          </p:cNvPr>
          <p:cNvSpPr/>
          <p:nvPr/>
        </p:nvSpPr>
        <p:spPr>
          <a:xfrm>
            <a:off x="9185973" y="4077295"/>
            <a:ext cx="121326" cy="121326"/>
          </a:xfrm>
          <a:prstGeom prst="ellipse">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5" name="Rectangle: Rounded Corners 94">
            <a:extLst>
              <a:ext uri="{FF2B5EF4-FFF2-40B4-BE49-F238E27FC236}">
                <a16:creationId xmlns:a16="http://schemas.microsoft.com/office/drawing/2014/main" id="{652B45D0-F67C-4755-8282-2BC3AB1BF28F}"/>
              </a:ext>
            </a:extLst>
          </p:cNvPr>
          <p:cNvSpPr/>
          <p:nvPr/>
        </p:nvSpPr>
        <p:spPr>
          <a:xfrm>
            <a:off x="10134907" y="4044595"/>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6" name="Rectangle: Rounded Corners 95">
            <a:extLst>
              <a:ext uri="{FF2B5EF4-FFF2-40B4-BE49-F238E27FC236}">
                <a16:creationId xmlns:a16="http://schemas.microsoft.com/office/drawing/2014/main" id="{2ECA3169-A9AF-4748-B2B1-7C2B2AE9DDB3}"/>
              </a:ext>
            </a:extLst>
          </p:cNvPr>
          <p:cNvSpPr/>
          <p:nvPr/>
        </p:nvSpPr>
        <p:spPr>
          <a:xfrm>
            <a:off x="10134907" y="4172680"/>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7" name="Rectangle: Rounded Corners 96">
            <a:extLst>
              <a:ext uri="{FF2B5EF4-FFF2-40B4-BE49-F238E27FC236}">
                <a16:creationId xmlns:a16="http://schemas.microsoft.com/office/drawing/2014/main" id="{8DA5391E-F397-4D80-98BD-1612F34EEF6D}"/>
              </a:ext>
            </a:extLst>
          </p:cNvPr>
          <p:cNvSpPr/>
          <p:nvPr/>
        </p:nvSpPr>
        <p:spPr>
          <a:xfrm>
            <a:off x="10134907" y="4108638"/>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98" name="Group 97">
            <a:extLst>
              <a:ext uri="{FF2B5EF4-FFF2-40B4-BE49-F238E27FC236}">
                <a16:creationId xmlns:a16="http://schemas.microsoft.com/office/drawing/2014/main" id="{A5F52CD1-29BD-4203-89E9-C8D533D0D744}"/>
              </a:ext>
            </a:extLst>
          </p:cNvPr>
          <p:cNvGrpSpPr/>
          <p:nvPr/>
        </p:nvGrpSpPr>
        <p:grpSpPr>
          <a:xfrm>
            <a:off x="9395649" y="3896790"/>
            <a:ext cx="137141" cy="137141"/>
            <a:chOff x="6614096" y="3386015"/>
            <a:chExt cx="182880" cy="182880"/>
          </a:xfrm>
        </p:grpSpPr>
        <p:sp>
          <p:nvSpPr>
            <p:cNvPr id="99" name="Oval 98">
              <a:extLst>
                <a:ext uri="{FF2B5EF4-FFF2-40B4-BE49-F238E27FC236}">
                  <a16:creationId xmlns:a16="http://schemas.microsoft.com/office/drawing/2014/main" id="{56D42641-970C-40D9-976A-AF19F364A22A}"/>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 name="Oval 99">
              <a:extLst>
                <a:ext uri="{FF2B5EF4-FFF2-40B4-BE49-F238E27FC236}">
                  <a16:creationId xmlns:a16="http://schemas.microsoft.com/office/drawing/2014/main" id="{D79033D1-92EC-47CF-9A2D-163746814845}"/>
                </a:ext>
              </a:extLst>
            </p:cNvPr>
            <p:cNvSpPr/>
            <p:nvPr/>
          </p:nvSpPr>
          <p:spPr>
            <a:xfrm>
              <a:off x="6636956" y="3408875"/>
              <a:ext cx="137160" cy="137160"/>
            </a:xfrm>
            <a:prstGeom prst="ellipse">
              <a:avLst/>
            </a:prstGeom>
            <a:solidFill>
              <a:srgbClr val="D7820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1" name="Group 100">
            <a:extLst>
              <a:ext uri="{FF2B5EF4-FFF2-40B4-BE49-F238E27FC236}">
                <a16:creationId xmlns:a16="http://schemas.microsoft.com/office/drawing/2014/main" id="{0AFF499C-85D5-4589-930E-73B4046CE1AC}"/>
              </a:ext>
            </a:extLst>
          </p:cNvPr>
          <p:cNvGrpSpPr/>
          <p:nvPr/>
        </p:nvGrpSpPr>
        <p:grpSpPr>
          <a:xfrm>
            <a:off x="9566088" y="4058778"/>
            <a:ext cx="137141" cy="137141"/>
            <a:chOff x="6614096" y="3386015"/>
            <a:chExt cx="182880" cy="182880"/>
          </a:xfrm>
        </p:grpSpPr>
        <p:sp>
          <p:nvSpPr>
            <p:cNvPr id="102" name="Oval 101">
              <a:extLst>
                <a:ext uri="{FF2B5EF4-FFF2-40B4-BE49-F238E27FC236}">
                  <a16:creationId xmlns:a16="http://schemas.microsoft.com/office/drawing/2014/main" id="{E90B7B6C-3BB9-4A2A-ADC3-A31D1AD154DA}"/>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Oval 102">
              <a:extLst>
                <a:ext uri="{FF2B5EF4-FFF2-40B4-BE49-F238E27FC236}">
                  <a16:creationId xmlns:a16="http://schemas.microsoft.com/office/drawing/2014/main" id="{A6F7F343-911C-4594-98A8-E2B2E675F7CC}"/>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4" name="Group 103">
            <a:extLst>
              <a:ext uri="{FF2B5EF4-FFF2-40B4-BE49-F238E27FC236}">
                <a16:creationId xmlns:a16="http://schemas.microsoft.com/office/drawing/2014/main" id="{F5182E17-7442-4A28-892D-381C2C8CBB16}"/>
              </a:ext>
            </a:extLst>
          </p:cNvPr>
          <p:cNvGrpSpPr/>
          <p:nvPr/>
        </p:nvGrpSpPr>
        <p:grpSpPr>
          <a:xfrm>
            <a:off x="9906969" y="4058778"/>
            <a:ext cx="137141" cy="137141"/>
            <a:chOff x="6614096" y="3386015"/>
            <a:chExt cx="182880" cy="182880"/>
          </a:xfrm>
        </p:grpSpPr>
        <p:sp>
          <p:nvSpPr>
            <p:cNvPr id="105" name="Oval 104">
              <a:extLst>
                <a:ext uri="{FF2B5EF4-FFF2-40B4-BE49-F238E27FC236}">
                  <a16:creationId xmlns:a16="http://schemas.microsoft.com/office/drawing/2014/main" id="{86B909CE-A62C-485B-B460-5CBBA5DFED80}"/>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Oval 105">
              <a:extLst>
                <a:ext uri="{FF2B5EF4-FFF2-40B4-BE49-F238E27FC236}">
                  <a16:creationId xmlns:a16="http://schemas.microsoft.com/office/drawing/2014/main" id="{F4246D03-9B99-407C-9FE8-F6B164EA4A74}"/>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7" name="Group 106">
            <a:extLst>
              <a:ext uri="{FF2B5EF4-FFF2-40B4-BE49-F238E27FC236}">
                <a16:creationId xmlns:a16="http://schemas.microsoft.com/office/drawing/2014/main" id="{4AD7759F-333C-4708-9DBD-F7B859BD0630}"/>
              </a:ext>
            </a:extLst>
          </p:cNvPr>
          <p:cNvGrpSpPr/>
          <p:nvPr/>
        </p:nvGrpSpPr>
        <p:grpSpPr>
          <a:xfrm>
            <a:off x="9736529" y="3896790"/>
            <a:ext cx="137141" cy="137141"/>
            <a:chOff x="6614096" y="3386015"/>
            <a:chExt cx="182880" cy="182880"/>
          </a:xfrm>
        </p:grpSpPr>
        <p:sp>
          <p:nvSpPr>
            <p:cNvPr id="108" name="Oval 107">
              <a:extLst>
                <a:ext uri="{FF2B5EF4-FFF2-40B4-BE49-F238E27FC236}">
                  <a16:creationId xmlns:a16="http://schemas.microsoft.com/office/drawing/2014/main" id="{EDF3B0BB-6081-44A1-A683-7CA0283978C2}"/>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Oval 108">
              <a:extLst>
                <a:ext uri="{FF2B5EF4-FFF2-40B4-BE49-F238E27FC236}">
                  <a16:creationId xmlns:a16="http://schemas.microsoft.com/office/drawing/2014/main" id="{4FF263B0-DEC0-4724-950D-07BB78C916A5}"/>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0" name="Rectangle: Rounded Corners 109">
            <a:extLst>
              <a:ext uri="{FF2B5EF4-FFF2-40B4-BE49-F238E27FC236}">
                <a16:creationId xmlns:a16="http://schemas.microsoft.com/office/drawing/2014/main" id="{5378079E-5761-4A92-93F4-4EC50BC5844E}"/>
              </a:ext>
            </a:extLst>
          </p:cNvPr>
          <p:cNvSpPr/>
          <p:nvPr/>
        </p:nvSpPr>
        <p:spPr>
          <a:xfrm>
            <a:off x="9120976" y="5755915"/>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11" name="Oval 110">
            <a:extLst>
              <a:ext uri="{FF2B5EF4-FFF2-40B4-BE49-F238E27FC236}">
                <a16:creationId xmlns:a16="http://schemas.microsoft.com/office/drawing/2014/main" id="{3EA9149E-345D-412D-BB79-25F66F152870}"/>
              </a:ext>
            </a:extLst>
          </p:cNvPr>
          <p:cNvSpPr/>
          <p:nvPr/>
        </p:nvSpPr>
        <p:spPr>
          <a:xfrm>
            <a:off x="9185973" y="6024563"/>
            <a:ext cx="121326" cy="121326"/>
          </a:xfrm>
          <a:prstGeom prst="ellipse">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12" name="Rectangle: Rounded Corners 111">
            <a:extLst>
              <a:ext uri="{FF2B5EF4-FFF2-40B4-BE49-F238E27FC236}">
                <a16:creationId xmlns:a16="http://schemas.microsoft.com/office/drawing/2014/main" id="{D91ACF2B-E4F0-4195-8DBE-2765366D7EF9}"/>
              </a:ext>
            </a:extLst>
          </p:cNvPr>
          <p:cNvSpPr/>
          <p:nvPr/>
        </p:nvSpPr>
        <p:spPr>
          <a:xfrm>
            <a:off x="10134907" y="5991864"/>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13" name="Rectangle: Rounded Corners 112">
            <a:extLst>
              <a:ext uri="{FF2B5EF4-FFF2-40B4-BE49-F238E27FC236}">
                <a16:creationId xmlns:a16="http://schemas.microsoft.com/office/drawing/2014/main" id="{C5C1C468-A189-4E65-9ECA-6B83DF9C0577}"/>
              </a:ext>
            </a:extLst>
          </p:cNvPr>
          <p:cNvSpPr/>
          <p:nvPr/>
        </p:nvSpPr>
        <p:spPr>
          <a:xfrm>
            <a:off x="10134907" y="6119948"/>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14" name="Rectangle: Rounded Corners 113">
            <a:extLst>
              <a:ext uri="{FF2B5EF4-FFF2-40B4-BE49-F238E27FC236}">
                <a16:creationId xmlns:a16="http://schemas.microsoft.com/office/drawing/2014/main" id="{7DDCBC86-0462-42E2-B730-B5BEDE1388C1}"/>
              </a:ext>
            </a:extLst>
          </p:cNvPr>
          <p:cNvSpPr/>
          <p:nvPr/>
        </p:nvSpPr>
        <p:spPr>
          <a:xfrm>
            <a:off x="10134907" y="605590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115" name="Group 114">
            <a:extLst>
              <a:ext uri="{FF2B5EF4-FFF2-40B4-BE49-F238E27FC236}">
                <a16:creationId xmlns:a16="http://schemas.microsoft.com/office/drawing/2014/main" id="{AA3CE2F7-7177-4C17-9D92-09F3BF22F9E8}"/>
              </a:ext>
            </a:extLst>
          </p:cNvPr>
          <p:cNvGrpSpPr/>
          <p:nvPr/>
        </p:nvGrpSpPr>
        <p:grpSpPr>
          <a:xfrm>
            <a:off x="10545165" y="5352751"/>
            <a:ext cx="137141" cy="137141"/>
            <a:chOff x="6614096" y="3386015"/>
            <a:chExt cx="182880" cy="182880"/>
          </a:xfrm>
        </p:grpSpPr>
        <p:sp>
          <p:nvSpPr>
            <p:cNvPr id="116" name="Oval 115">
              <a:extLst>
                <a:ext uri="{FF2B5EF4-FFF2-40B4-BE49-F238E27FC236}">
                  <a16:creationId xmlns:a16="http://schemas.microsoft.com/office/drawing/2014/main" id="{4B9ED101-1BB3-489C-8366-E0B5D00EE633}"/>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7" name="Oval 116">
              <a:extLst>
                <a:ext uri="{FF2B5EF4-FFF2-40B4-BE49-F238E27FC236}">
                  <a16:creationId xmlns:a16="http://schemas.microsoft.com/office/drawing/2014/main" id="{E57253C0-2F87-4F74-8394-B49CB3EB24AC}"/>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1C5DD4E2-C66D-40CF-8731-9ECC1AD81D09}"/>
              </a:ext>
            </a:extLst>
          </p:cNvPr>
          <p:cNvGrpSpPr/>
          <p:nvPr/>
        </p:nvGrpSpPr>
        <p:grpSpPr>
          <a:xfrm>
            <a:off x="10639441" y="5204306"/>
            <a:ext cx="137141" cy="137141"/>
            <a:chOff x="6614096" y="3386015"/>
            <a:chExt cx="182880" cy="182880"/>
          </a:xfrm>
        </p:grpSpPr>
        <p:sp>
          <p:nvSpPr>
            <p:cNvPr id="119" name="Oval 118">
              <a:extLst>
                <a:ext uri="{FF2B5EF4-FFF2-40B4-BE49-F238E27FC236}">
                  <a16:creationId xmlns:a16="http://schemas.microsoft.com/office/drawing/2014/main" id="{1772861C-6D19-47E1-B08A-FA881A6CA334}"/>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0" name="Oval 119">
              <a:extLst>
                <a:ext uri="{FF2B5EF4-FFF2-40B4-BE49-F238E27FC236}">
                  <a16:creationId xmlns:a16="http://schemas.microsoft.com/office/drawing/2014/main" id="{8967AC3C-C143-49F8-91DC-82EF13935C0D}"/>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1" name="Group 120">
            <a:extLst>
              <a:ext uri="{FF2B5EF4-FFF2-40B4-BE49-F238E27FC236}">
                <a16:creationId xmlns:a16="http://schemas.microsoft.com/office/drawing/2014/main" id="{F0D1F84D-4A02-434A-8C81-C7F59A0FF07C}"/>
              </a:ext>
            </a:extLst>
          </p:cNvPr>
          <p:cNvGrpSpPr/>
          <p:nvPr/>
        </p:nvGrpSpPr>
        <p:grpSpPr>
          <a:xfrm>
            <a:off x="10733717" y="5352751"/>
            <a:ext cx="137141" cy="137141"/>
            <a:chOff x="6614096" y="3386015"/>
            <a:chExt cx="182880" cy="182880"/>
          </a:xfrm>
        </p:grpSpPr>
        <p:sp>
          <p:nvSpPr>
            <p:cNvPr id="122" name="Oval 121">
              <a:extLst>
                <a:ext uri="{FF2B5EF4-FFF2-40B4-BE49-F238E27FC236}">
                  <a16:creationId xmlns:a16="http://schemas.microsoft.com/office/drawing/2014/main" id="{3F9253A2-24BB-446D-B862-A92AA3C740E8}"/>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3" name="Oval 122">
              <a:extLst>
                <a:ext uri="{FF2B5EF4-FFF2-40B4-BE49-F238E27FC236}">
                  <a16:creationId xmlns:a16="http://schemas.microsoft.com/office/drawing/2014/main" id="{3B2173EC-FB7E-498D-A643-53412144E561}"/>
                </a:ext>
              </a:extLst>
            </p:cNvPr>
            <p:cNvSpPr/>
            <p:nvPr/>
          </p:nvSpPr>
          <p:spPr>
            <a:xfrm>
              <a:off x="6636956" y="3408875"/>
              <a:ext cx="137160" cy="137160"/>
            </a:xfrm>
            <a:prstGeom prst="ellipse">
              <a:avLst/>
            </a:prstGeom>
            <a:solidFill>
              <a:srgbClr val="D7820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4" name="Group 123">
            <a:extLst>
              <a:ext uri="{FF2B5EF4-FFF2-40B4-BE49-F238E27FC236}">
                <a16:creationId xmlns:a16="http://schemas.microsoft.com/office/drawing/2014/main" id="{4B408DD8-8ACD-4FD2-97F0-7929ABBBA636}"/>
              </a:ext>
            </a:extLst>
          </p:cNvPr>
          <p:cNvGrpSpPr/>
          <p:nvPr/>
        </p:nvGrpSpPr>
        <p:grpSpPr>
          <a:xfrm>
            <a:off x="10435735" y="4631037"/>
            <a:ext cx="137141" cy="137141"/>
            <a:chOff x="6614096" y="3386015"/>
            <a:chExt cx="182880" cy="182880"/>
          </a:xfrm>
        </p:grpSpPr>
        <p:sp>
          <p:nvSpPr>
            <p:cNvPr id="125" name="Oval 124">
              <a:extLst>
                <a:ext uri="{FF2B5EF4-FFF2-40B4-BE49-F238E27FC236}">
                  <a16:creationId xmlns:a16="http://schemas.microsoft.com/office/drawing/2014/main" id="{7A613375-8F93-4553-9E3C-1156C757289E}"/>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6" name="Oval 125">
              <a:extLst>
                <a:ext uri="{FF2B5EF4-FFF2-40B4-BE49-F238E27FC236}">
                  <a16:creationId xmlns:a16="http://schemas.microsoft.com/office/drawing/2014/main" id="{B5F6919B-8D4A-4CC2-8A8B-28248810033A}"/>
                </a:ext>
              </a:extLst>
            </p:cNvPr>
            <p:cNvSpPr/>
            <p:nvPr/>
          </p:nvSpPr>
          <p:spPr>
            <a:xfrm>
              <a:off x="6636956" y="3408875"/>
              <a:ext cx="137160" cy="137160"/>
            </a:xfrm>
            <a:prstGeom prst="ellipse">
              <a:avLst/>
            </a:prstGeom>
            <a:solidFill>
              <a:srgbClr val="00315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7" name="Group 126">
            <a:extLst>
              <a:ext uri="{FF2B5EF4-FFF2-40B4-BE49-F238E27FC236}">
                <a16:creationId xmlns:a16="http://schemas.microsoft.com/office/drawing/2014/main" id="{33106781-C52B-4976-8738-B9CD70BEDF1D}"/>
              </a:ext>
            </a:extLst>
          </p:cNvPr>
          <p:cNvGrpSpPr/>
          <p:nvPr/>
        </p:nvGrpSpPr>
        <p:grpSpPr>
          <a:xfrm>
            <a:off x="10614022" y="4631037"/>
            <a:ext cx="137141" cy="137141"/>
            <a:chOff x="6614096" y="3386015"/>
            <a:chExt cx="182880" cy="182880"/>
          </a:xfrm>
        </p:grpSpPr>
        <p:sp>
          <p:nvSpPr>
            <p:cNvPr id="128" name="Oval 127">
              <a:extLst>
                <a:ext uri="{FF2B5EF4-FFF2-40B4-BE49-F238E27FC236}">
                  <a16:creationId xmlns:a16="http://schemas.microsoft.com/office/drawing/2014/main" id="{3F4CF230-3789-4426-B922-8AFD51BCA5B9}"/>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Oval 128">
              <a:extLst>
                <a:ext uri="{FF2B5EF4-FFF2-40B4-BE49-F238E27FC236}">
                  <a16:creationId xmlns:a16="http://schemas.microsoft.com/office/drawing/2014/main" id="{D7784291-560B-47D2-8876-A920B2B90A5F}"/>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0" name="Group 129">
            <a:extLst>
              <a:ext uri="{FF2B5EF4-FFF2-40B4-BE49-F238E27FC236}">
                <a16:creationId xmlns:a16="http://schemas.microsoft.com/office/drawing/2014/main" id="{210DF2FF-9D81-47F1-A66F-1B1B41963771}"/>
              </a:ext>
            </a:extLst>
          </p:cNvPr>
          <p:cNvGrpSpPr/>
          <p:nvPr/>
        </p:nvGrpSpPr>
        <p:grpSpPr>
          <a:xfrm>
            <a:off x="10792309" y="4631037"/>
            <a:ext cx="137141" cy="137141"/>
            <a:chOff x="6614096" y="3386015"/>
            <a:chExt cx="182880" cy="182880"/>
          </a:xfrm>
        </p:grpSpPr>
        <p:sp>
          <p:nvSpPr>
            <p:cNvPr id="131" name="Oval 130">
              <a:extLst>
                <a:ext uri="{FF2B5EF4-FFF2-40B4-BE49-F238E27FC236}">
                  <a16:creationId xmlns:a16="http://schemas.microsoft.com/office/drawing/2014/main" id="{4FCD4582-5CE1-404D-A04D-C9EEA3A1D1FD}"/>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2" name="Oval 131">
              <a:extLst>
                <a:ext uri="{FF2B5EF4-FFF2-40B4-BE49-F238E27FC236}">
                  <a16:creationId xmlns:a16="http://schemas.microsoft.com/office/drawing/2014/main" id="{6722194A-DDB8-4033-BCC8-9368FA5E5884}"/>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3" name="Group 132">
            <a:extLst>
              <a:ext uri="{FF2B5EF4-FFF2-40B4-BE49-F238E27FC236}">
                <a16:creationId xmlns:a16="http://schemas.microsoft.com/office/drawing/2014/main" id="{41CE4F76-8AAF-4527-AA29-6490A1D4360A}"/>
              </a:ext>
            </a:extLst>
          </p:cNvPr>
          <p:cNvGrpSpPr/>
          <p:nvPr/>
        </p:nvGrpSpPr>
        <p:grpSpPr>
          <a:xfrm>
            <a:off x="8462328" y="4530733"/>
            <a:ext cx="137141" cy="137141"/>
            <a:chOff x="6614096" y="3386015"/>
            <a:chExt cx="182880" cy="182880"/>
          </a:xfrm>
        </p:grpSpPr>
        <p:sp>
          <p:nvSpPr>
            <p:cNvPr id="134" name="Oval 133">
              <a:extLst>
                <a:ext uri="{FF2B5EF4-FFF2-40B4-BE49-F238E27FC236}">
                  <a16:creationId xmlns:a16="http://schemas.microsoft.com/office/drawing/2014/main" id="{CDCC1838-8AFB-49BB-B563-85AF45CB46F6}"/>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 name="Oval 134">
              <a:extLst>
                <a:ext uri="{FF2B5EF4-FFF2-40B4-BE49-F238E27FC236}">
                  <a16:creationId xmlns:a16="http://schemas.microsoft.com/office/drawing/2014/main" id="{4644AF9F-315C-4D36-9166-608FC242072A}"/>
                </a:ext>
              </a:extLst>
            </p:cNvPr>
            <p:cNvSpPr/>
            <p:nvPr/>
          </p:nvSpPr>
          <p:spPr>
            <a:xfrm>
              <a:off x="6636956" y="3408875"/>
              <a:ext cx="137160" cy="137160"/>
            </a:xfrm>
            <a:prstGeom prst="ellipse">
              <a:avLst/>
            </a:prstGeom>
            <a:solidFill>
              <a:srgbClr val="D7820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6" name="Group 135">
            <a:extLst>
              <a:ext uri="{FF2B5EF4-FFF2-40B4-BE49-F238E27FC236}">
                <a16:creationId xmlns:a16="http://schemas.microsoft.com/office/drawing/2014/main" id="{999D482C-654C-4961-8C8A-83A268F77987}"/>
              </a:ext>
            </a:extLst>
          </p:cNvPr>
          <p:cNvGrpSpPr/>
          <p:nvPr/>
        </p:nvGrpSpPr>
        <p:grpSpPr>
          <a:xfrm>
            <a:off x="8645084" y="4537651"/>
            <a:ext cx="137141" cy="137141"/>
            <a:chOff x="6614096" y="3386015"/>
            <a:chExt cx="182880" cy="182880"/>
          </a:xfrm>
        </p:grpSpPr>
        <p:sp>
          <p:nvSpPr>
            <p:cNvPr id="137" name="Oval 136">
              <a:extLst>
                <a:ext uri="{FF2B5EF4-FFF2-40B4-BE49-F238E27FC236}">
                  <a16:creationId xmlns:a16="http://schemas.microsoft.com/office/drawing/2014/main" id="{68AD0B00-A50F-4D71-B70F-C0BFB2E28E05}"/>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 name="Oval 137">
              <a:extLst>
                <a:ext uri="{FF2B5EF4-FFF2-40B4-BE49-F238E27FC236}">
                  <a16:creationId xmlns:a16="http://schemas.microsoft.com/office/drawing/2014/main" id="{4537D148-943D-4C25-8AD1-0FFE0420DE02}"/>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9" name="Group 138">
            <a:extLst>
              <a:ext uri="{FF2B5EF4-FFF2-40B4-BE49-F238E27FC236}">
                <a16:creationId xmlns:a16="http://schemas.microsoft.com/office/drawing/2014/main" id="{E68B5B9B-B503-419F-8D92-02E60D7AE60B}"/>
              </a:ext>
            </a:extLst>
          </p:cNvPr>
          <p:cNvGrpSpPr/>
          <p:nvPr/>
        </p:nvGrpSpPr>
        <p:grpSpPr>
          <a:xfrm>
            <a:off x="8854809" y="4534131"/>
            <a:ext cx="137141" cy="137141"/>
            <a:chOff x="6614096" y="3386015"/>
            <a:chExt cx="182880" cy="182880"/>
          </a:xfrm>
        </p:grpSpPr>
        <p:sp>
          <p:nvSpPr>
            <p:cNvPr id="140" name="Oval 139">
              <a:extLst>
                <a:ext uri="{FF2B5EF4-FFF2-40B4-BE49-F238E27FC236}">
                  <a16:creationId xmlns:a16="http://schemas.microsoft.com/office/drawing/2014/main" id="{93611877-B2BE-4BFD-9EEC-F32D7FC6EA75}"/>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Oval 140">
              <a:extLst>
                <a:ext uri="{FF2B5EF4-FFF2-40B4-BE49-F238E27FC236}">
                  <a16:creationId xmlns:a16="http://schemas.microsoft.com/office/drawing/2014/main" id="{2FC7FF31-3147-4E00-AB6B-D621B2B65C27}"/>
                </a:ext>
              </a:extLst>
            </p:cNvPr>
            <p:cNvSpPr/>
            <p:nvPr/>
          </p:nvSpPr>
          <p:spPr>
            <a:xfrm>
              <a:off x="6636956" y="3408875"/>
              <a:ext cx="137160" cy="137160"/>
            </a:xfrm>
            <a:prstGeom prst="ellipse">
              <a:avLst/>
            </a:prstGeom>
            <a:solidFill>
              <a:srgbClr val="00315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2" name="Group 141">
            <a:extLst>
              <a:ext uri="{FF2B5EF4-FFF2-40B4-BE49-F238E27FC236}">
                <a16:creationId xmlns:a16="http://schemas.microsoft.com/office/drawing/2014/main" id="{3E4DBDB4-8ABD-4CAD-B1BC-8879C2480539}"/>
              </a:ext>
            </a:extLst>
          </p:cNvPr>
          <p:cNvGrpSpPr/>
          <p:nvPr/>
        </p:nvGrpSpPr>
        <p:grpSpPr>
          <a:xfrm>
            <a:off x="8544730" y="4701539"/>
            <a:ext cx="137141" cy="137141"/>
            <a:chOff x="6614096" y="3386015"/>
            <a:chExt cx="182880" cy="182880"/>
          </a:xfrm>
        </p:grpSpPr>
        <p:sp>
          <p:nvSpPr>
            <p:cNvPr id="143" name="Oval 142">
              <a:extLst>
                <a:ext uri="{FF2B5EF4-FFF2-40B4-BE49-F238E27FC236}">
                  <a16:creationId xmlns:a16="http://schemas.microsoft.com/office/drawing/2014/main" id="{F78CC5C2-2451-40BC-BDF9-1A098E2EF8AB}"/>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 name="Oval 143">
              <a:extLst>
                <a:ext uri="{FF2B5EF4-FFF2-40B4-BE49-F238E27FC236}">
                  <a16:creationId xmlns:a16="http://schemas.microsoft.com/office/drawing/2014/main" id="{993AC182-0BC8-4492-8935-C32768919475}"/>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5" name="Group 144">
            <a:extLst>
              <a:ext uri="{FF2B5EF4-FFF2-40B4-BE49-F238E27FC236}">
                <a16:creationId xmlns:a16="http://schemas.microsoft.com/office/drawing/2014/main" id="{B9CB7C66-8669-484B-BCCE-57609B40CCA4}"/>
              </a:ext>
            </a:extLst>
          </p:cNvPr>
          <p:cNvGrpSpPr/>
          <p:nvPr/>
        </p:nvGrpSpPr>
        <p:grpSpPr>
          <a:xfrm>
            <a:off x="8743953" y="4711149"/>
            <a:ext cx="137141" cy="137141"/>
            <a:chOff x="6614096" y="3386015"/>
            <a:chExt cx="182880" cy="182880"/>
          </a:xfrm>
        </p:grpSpPr>
        <p:sp>
          <p:nvSpPr>
            <p:cNvPr id="146" name="Oval 145">
              <a:extLst>
                <a:ext uri="{FF2B5EF4-FFF2-40B4-BE49-F238E27FC236}">
                  <a16:creationId xmlns:a16="http://schemas.microsoft.com/office/drawing/2014/main" id="{27C98565-BF28-4ED1-A0D9-878CB71D6C0E}"/>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Oval 146">
              <a:extLst>
                <a:ext uri="{FF2B5EF4-FFF2-40B4-BE49-F238E27FC236}">
                  <a16:creationId xmlns:a16="http://schemas.microsoft.com/office/drawing/2014/main" id="{1976413D-1AB9-42F2-9B21-696E3F9FA79C}"/>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8" name="Group 147">
            <a:extLst>
              <a:ext uri="{FF2B5EF4-FFF2-40B4-BE49-F238E27FC236}">
                <a16:creationId xmlns:a16="http://schemas.microsoft.com/office/drawing/2014/main" id="{246415AF-EFA6-4D33-B059-EB1A606C9BBC}"/>
              </a:ext>
            </a:extLst>
          </p:cNvPr>
          <p:cNvGrpSpPr/>
          <p:nvPr/>
        </p:nvGrpSpPr>
        <p:grpSpPr>
          <a:xfrm>
            <a:off x="8583386" y="5282510"/>
            <a:ext cx="137141" cy="137141"/>
            <a:chOff x="6614096" y="3386015"/>
            <a:chExt cx="182880" cy="182880"/>
          </a:xfrm>
        </p:grpSpPr>
        <p:sp>
          <p:nvSpPr>
            <p:cNvPr id="149" name="Oval 148">
              <a:extLst>
                <a:ext uri="{FF2B5EF4-FFF2-40B4-BE49-F238E27FC236}">
                  <a16:creationId xmlns:a16="http://schemas.microsoft.com/office/drawing/2014/main" id="{863AB840-D021-48E9-A748-C84E4BDB22D6}"/>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 name="Oval 149">
              <a:extLst>
                <a:ext uri="{FF2B5EF4-FFF2-40B4-BE49-F238E27FC236}">
                  <a16:creationId xmlns:a16="http://schemas.microsoft.com/office/drawing/2014/main" id="{B2F71A65-2C70-4AA6-BDF6-6567934D1BDC}"/>
                </a:ext>
              </a:extLst>
            </p:cNvPr>
            <p:cNvSpPr/>
            <p:nvPr/>
          </p:nvSpPr>
          <p:spPr>
            <a:xfrm>
              <a:off x="6636956" y="3408875"/>
              <a:ext cx="137160" cy="137160"/>
            </a:xfrm>
            <a:prstGeom prst="ellipse">
              <a:avLst/>
            </a:prstGeom>
            <a:solidFill>
              <a:srgbClr val="00315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1" name="Group 150">
            <a:extLst>
              <a:ext uri="{FF2B5EF4-FFF2-40B4-BE49-F238E27FC236}">
                <a16:creationId xmlns:a16="http://schemas.microsoft.com/office/drawing/2014/main" id="{DBE61D1D-96EA-4497-90D9-CDA05EDED00E}"/>
              </a:ext>
            </a:extLst>
          </p:cNvPr>
          <p:cNvGrpSpPr/>
          <p:nvPr/>
        </p:nvGrpSpPr>
        <p:grpSpPr>
          <a:xfrm>
            <a:off x="8773297" y="5282510"/>
            <a:ext cx="137141" cy="137141"/>
            <a:chOff x="6614096" y="3386015"/>
            <a:chExt cx="182880" cy="182880"/>
          </a:xfrm>
        </p:grpSpPr>
        <p:sp>
          <p:nvSpPr>
            <p:cNvPr id="152" name="Oval 151">
              <a:extLst>
                <a:ext uri="{FF2B5EF4-FFF2-40B4-BE49-F238E27FC236}">
                  <a16:creationId xmlns:a16="http://schemas.microsoft.com/office/drawing/2014/main" id="{5068C9DF-E0AB-497C-B218-5AE011084712}"/>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Oval 152">
              <a:extLst>
                <a:ext uri="{FF2B5EF4-FFF2-40B4-BE49-F238E27FC236}">
                  <a16:creationId xmlns:a16="http://schemas.microsoft.com/office/drawing/2014/main" id="{CA51703B-6344-4B56-B6F0-482104C7732B}"/>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4" name="Group 153">
            <a:extLst>
              <a:ext uri="{FF2B5EF4-FFF2-40B4-BE49-F238E27FC236}">
                <a16:creationId xmlns:a16="http://schemas.microsoft.com/office/drawing/2014/main" id="{C4C657B9-575D-4F7A-9CA4-E078D0F9FBC1}"/>
              </a:ext>
            </a:extLst>
          </p:cNvPr>
          <p:cNvGrpSpPr/>
          <p:nvPr/>
        </p:nvGrpSpPr>
        <p:grpSpPr>
          <a:xfrm>
            <a:off x="9564322" y="5842390"/>
            <a:ext cx="137141" cy="137141"/>
            <a:chOff x="6614096" y="3386015"/>
            <a:chExt cx="182880" cy="182880"/>
          </a:xfrm>
        </p:grpSpPr>
        <p:sp>
          <p:nvSpPr>
            <p:cNvPr id="155" name="Oval 154">
              <a:extLst>
                <a:ext uri="{FF2B5EF4-FFF2-40B4-BE49-F238E27FC236}">
                  <a16:creationId xmlns:a16="http://schemas.microsoft.com/office/drawing/2014/main" id="{26D1162E-980B-4E63-9FED-9886E71FA20F}"/>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 name="Oval 155">
              <a:extLst>
                <a:ext uri="{FF2B5EF4-FFF2-40B4-BE49-F238E27FC236}">
                  <a16:creationId xmlns:a16="http://schemas.microsoft.com/office/drawing/2014/main" id="{55F0CD36-5ACF-4BBE-A5E4-3150E5A189E2}"/>
                </a:ext>
              </a:extLst>
            </p:cNvPr>
            <p:cNvSpPr/>
            <p:nvPr/>
          </p:nvSpPr>
          <p:spPr>
            <a:xfrm>
              <a:off x="6636956" y="3408875"/>
              <a:ext cx="137160" cy="137160"/>
            </a:xfrm>
            <a:prstGeom prst="ellipse">
              <a:avLst/>
            </a:prstGeom>
            <a:solidFill>
              <a:srgbClr val="00315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7" name="Group 156">
            <a:extLst>
              <a:ext uri="{FF2B5EF4-FFF2-40B4-BE49-F238E27FC236}">
                <a16:creationId xmlns:a16="http://schemas.microsoft.com/office/drawing/2014/main" id="{34684670-3022-427B-8DB9-FD69A42D79C5}"/>
              </a:ext>
            </a:extLst>
          </p:cNvPr>
          <p:cNvGrpSpPr/>
          <p:nvPr/>
        </p:nvGrpSpPr>
        <p:grpSpPr>
          <a:xfrm>
            <a:off x="9564322" y="6015888"/>
            <a:ext cx="137141" cy="137141"/>
            <a:chOff x="6614096" y="3386015"/>
            <a:chExt cx="182880" cy="182880"/>
          </a:xfrm>
        </p:grpSpPr>
        <p:sp>
          <p:nvSpPr>
            <p:cNvPr id="158" name="Oval 157">
              <a:extLst>
                <a:ext uri="{FF2B5EF4-FFF2-40B4-BE49-F238E27FC236}">
                  <a16:creationId xmlns:a16="http://schemas.microsoft.com/office/drawing/2014/main" id="{5A468734-5B87-417F-8142-FC8275EEDF1E}"/>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 name="Oval 158">
              <a:extLst>
                <a:ext uri="{FF2B5EF4-FFF2-40B4-BE49-F238E27FC236}">
                  <a16:creationId xmlns:a16="http://schemas.microsoft.com/office/drawing/2014/main" id="{1ADE7BC6-E647-4284-ADEA-C5597F20495D}"/>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6FB0AAD2-3D20-4502-A7C0-3E231CB95B42}"/>
              </a:ext>
            </a:extLst>
          </p:cNvPr>
          <p:cNvGrpSpPr/>
          <p:nvPr/>
        </p:nvGrpSpPr>
        <p:grpSpPr>
          <a:xfrm>
            <a:off x="9749827" y="5842390"/>
            <a:ext cx="137141" cy="137141"/>
            <a:chOff x="6614096" y="3386015"/>
            <a:chExt cx="182880" cy="182880"/>
          </a:xfrm>
        </p:grpSpPr>
        <p:sp>
          <p:nvSpPr>
            <p:cNvPr id="161" name="Oval 160">
              <a:extLst>
                <a:ext uri="{FF2B5EF4-FFF2-40B4-BE49-F238E27FC236}">
                  <a16:creationId xmlns:a16="http://schemas.microsoft.com/office/drawing/2014/main" id="{AEB8AFA8-5E68-4FEB-953E-7529FCEB96B4}"/>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 name="Oval 161">
              <a:extLst>
                <a:ext uri="{FF2B5EF4-FFF2-40B4-BE49-F238E27FC236}">
                  <a16:creationId xmlns:a16="http://schemas.microsoft.com/office/drawing/2014/main" id="{F214A0A1-1BD1-4701-A86F-0707F81DFF12}"/>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3" name="Group 162">
            <a:extLst>
              <a:ext uri="{FF2B5EF4-FFF2-40B4-BE49-F238E27FC236}">
                <a16:creationId xmlns:a16="http://schemas.microsoft.com/office/drawing/2014/main" id="{FF390A94-37A9-4BE6-BBC7-35AA0A088348}"/>
              </a:ext>
            </a:extLst>
          </p:cNvPr>
          <p:cNvGrpSpPr/>
          <p:nvPr/>
        </p:nvGrpSpPr>
        <p:grpSpPr>
          <a:xfrm>
            <a:off x="9749827" y="6015888"/>
            <a:ext cx="137141" cy="137141"/>
            <a:chOff x="6614096" y="3386015"/>
            <a:chExt cx="182880" cy="182880"/>
          </a:xfrm>
        </p:grpSpPr>
        <p:sp>
          <p:nvSpPr>
            <p:cNvPr id="164" name="Oval 163">
              <a:extLst>
                <a:ext uri="{FF2B5EF4-FFF2-40B4-BE49-F238E27FC236}">
                  <a16:creationId xmlns:a16="http://schemas.microsoft.com/office/drawing/2014/main" id="{55E7988B-AB53-470E-A402-AEC78DA6E525}"/>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 name="Oval 164">
              <a:extLst>
                <a:ext uri="{FF2B5EF4-FFF2-40B4-BE49-F238E27FC236}">
                  <a16:creationId xmlns:a16="http://schemas.microsoft.com/office/drawing/2014/main" id="{3B1CAC72-608C-4092-9640-F286AC6097F2}"/>
                </a:ext>
              </a:extLst>
            </p:cNvPr>
            <p:cNvSpPr/>
            <p:nvPr/>
          </p:nvSpPr>
          <p:spPr>
            <a:xfrm>
              <a:off x="6636956" y="3408875"/>
              <a:ext cx="137160" cy="137160"/>
            </a:xfrm>
            <a:prstGeom prst="ellipse">
              <a:avLst/>
            </a:prstGeom>
            <a:solidFill>
              <a:srgbClr val="D7820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6" name="Group 165">
            <a:extLst>
              <a:ext uri="{FF2B5EF4-FFF2-40B4-BE49-F238E27FC236}">
                <a16:creationId xmlns:a16="http://schemas.microsoft.com/office/drawing/2014/main" id="{AFC27068-DDB5-45CD-A151-F6D6B9B9AA74}"/>
              </a:ext>
            </a:extLst>
          </p:cNvPr>
          <p:cNvGrpSpPr/>
          <p:nvPr/>
        </p:nvGrpSpPr>
        <p:grpSpPr>
          <a:xfrm>
            <a:off x="6316270" y="4010530"/>
            <a:ext cx="287122" cy="287122"/>
            <a:chOff x="3829879" y="2544417"/>
            <a:chExt cx="781878" cy="781878"/>
          </a:xfrm>
        </p:grpSpPr>
        <p:sp>
          <p:nvSpPr>
            <p:cNvPr id="167" name="Rectangle: Rounded Corners 166">
              <a:extLst>
                <a:ext uri="{FF2B5EF4-FFF2-40B4-BE49-F238E27FC236}">
                  <a16:creationId xmlns:a16="http://schemas.microsoft.com/office/drawing/2014/main" id="{433CA90C-C76F-4390-B3F3-1B1042CA1B55}"/>
                </a:ext>
              </a:extLst>
            </p:cNvPr>
            <p:cNvSpPr/>
            <p:nvPr/>
          </p:nvSpPr>
          <p:spPr>
            <a:xfrm>
              <a:off x="3829879" y="2544417"/>
              <a:ext cx="781878" cy="781878"/>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168" name="Group 167">
              <a:extLst>
                <a:ext uri="{FF2B5EF4-FFF2-40B4-BE49-F238E27FC236}">
                  <a16:creationId xmlns:a16="http://schemas.microsoft.com/office/drawing/2014/main" id="{0E3E4CA1-C69A-449D-9CB3-24E4E158F89F}"/>
                </a:ext>
              </a:extLst>
            </p:cNvPr>
            <p:cNvGrpSpPr/>
            <p:nvPr/>
          </p:nvGrpSpPr>
          <p:grpSpPr>
            <a:xfrm>
              <a:off x="3962757" y="2717377"/>
              <a:ext cx="516122" cy="435958"/>
              <a:chOff x="3958213" y="2687192"/>
              <a:chExt cx="516122" cy="435958"/>
            </a:xfrm>
          </p:grpSpPr>
          <p:grpSp>
            <p:nvGrpSpPr>
              <p:cNvPr id="169" name="Group 168">
                <a:extLst>
                  <a:ext uri="{FF2B5EF4-FFF2-40B4-BE49-F238E27FC236}">
                    <a16:creationId xmlns:a16="http://schemas.microsoft.com/office/drawing/2014/main" id="{8CF51384-807F-4EAD-9913-38A2FFE186C6}"/>
                  </a:ext>
                </a:extLst>
              </p:cNvPr>
              <p:cNvGrpSpPr/>
              <p:nvPr/>
            </p:nvGrpSpPr>
            <p:grpSpPr>
              <a:xfrm>
                <a:off x="4101974" y="2687192"/>
                <a:ext cx="228600" cy="228600"/>
                <a:chOff x="6614096" y="3386015"/>
                <a:chExt cx="182880" cy="182880"/>
              </a:xfrm>
            </p:grpSpPr>
            <p:sp>
              <p:nvSpPr>
                <p:cNvPr id="176" name="Oval 175">
                  <a:extLst>
                    <a:ext uri="{FF2B5EF4-FFF2-40B4-BE49-F238E27FC236}">
                      <a16:creationId xmlns:a16="http://schemas.microsoft.com/office/drawing/2014/main" id="{7375B68A-B2D5-4887-A2FB-D59443794A24}"/>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7" name="Oval 176">
                  <a:extLst>
                    <a:ext uri="{FF2B5EF4-FFF2-40B4-BE49-F238E27FC236}">
                      <a16:creationId xmlns:a16="http://schemas.microsoft.com/office/drawing/2014/main" id="{294DABA8-68EF-4E92-8752-09144E5290E6}"/>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0" name="Group 169">
                <a:extLst>
                  <a:ext uri="{FF2B5EF4-FFF2-40B4-BE49-F238E27FC236}">
                    <a16:creationId xmlns:a16="http://schemas.microsoft.com/office/drawing/2014/main" id="{7D0C9EDB-8331-4ED4-AD66-097AF7C96DA7}"/>
                  </a:ext>
                </a:extLst>
              </p:cNvPr>
              <p:cNvGrpSpPr/>
              <p:nvPr/>
            </p:nvGrpSpPr>
            <p:grpSpPr>
              <a:xfrm>
                <a:off x="3958213" y="2894550"/>
                <a:ext cx="228600" cy="228600"/>
                <a:chOff x="6614096" y="3386015"/>
                <a:chExt cx="182880" cy="182880"/>
              </a:xfrm>
            </p:grpSpPr>
            <p:sp>
              <p:nvSpPr>
                <p:cNvPr id="174" name="Oval 173">
                  <a:extLst>
                    <a:ext uri="{FF2B5EF4-FFF2-40B4-BE49-F238E27FC236}">
                      <a16:creationId xmlns:a16="http://schemas.microsoft.com/office/drawing/2014/main" id="{D679B71B-60FE-4311-90E4-1562B243E701}"/>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5" name="Oval 174">
                  <a:extLst>
                    <a:ext uri="{FF2B5EF4-FFF2-40B4-BE49-F238E27FC236}">
                      <a16:creationId xmlns:a16="http://schemas.microsoft.com/office/drawing/2014/main" id="{4573C020-3FC0-4E7C-BCF1-5983D6AEEAC0}"/>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1" name="Group 170">
                <a:extLst>
                  <a:ext uri="{FF2B5EF4-FFF2-40B4-BE49-F238E27FC236}">
                    <a16:creationId xmlns:a16="http://schemas.microsoft.com/office/drawing/2014/main" id="{1F0ADE90-B2A4-435B-9AE2-5B0C52278483}"/>
                  </a:ext>
                </a:extLst>
              </p:cNvPr>
              <p:cNvGrpSpPr/>
              <p:nvPr/>
            </p:nvGrpSpPr>
            <p:grpSpPr>
              <a:xfrm>
                <a:off x="4245735" y="2894550"/>
                <a:ext cx="228600" cy="228600"/>
                <a:chOff x="6614096" y="3386015"/>
                <a:chExt cx="182880" cy="182880"/>
              </a:xfrm>
            </p:grpSpPr>
            <p:sp>
              <p:nvSpPr>
                <p:cNvPr id="172" name="Oval 171">
                  <a:extLst>
                    <a:ext uri="{FF2B5EF4-FFF2-40B4-BE49-F238E27FC236}">
                      <a16:creationId xmlns:a16="http://schemas.microsoft.com/office/drawing/2014/main" id="{70351BF6-E58C-4FFA-8DF8-4ECD4A2C215A}"/>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3" name="Oval 172">
                  <a:extLst>
                    <a:ext uri="{FF2B5EF4-FFF2-40B4-BE49-F238E27FC236}">
                      <a16:creationId xmlns:a16="http://schemas.microsoft.com/office/drawing/2014/main" id="{85F93DE9-FDBF-4E6E-90D9-459A29C1814C}"/>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178" name="Group 177">
            <a:extLst>
              <a:ext uri="{FF2B5EF4-FFF2-40B4-BE49-F238E27FC236}">
                <a16:creationId xmlns:a16="http://schemas.microsoft.com/office/drawing/2014/main" id="{D63D1F49-E75C-4D4F-BCF7-BC69C280EAF9}"/>
              </a:ext>
            </a:extLst>
          </p:cNvPr>
          <p:cNvGrpSpPr/>
          <p:nvPr/>
        </p:nvGrpSpPr>
        <p:grpSpPr>
          <a:xfrm>
            <a:off x="6316270" y="4593967"/>
            <a:ext cx="287122" cy="287122"/>
            <a:chOff x="3829879" y="2544417"/>
            <a:chExt cx="781878" cy="781878"/>
          </a:xfrm>
        </p:grpSpPr>
        <p:sp>
          <p:nvSpPr>
            <p:cNvPr id="179" name="Rectangle: Rounded Corners 178">
              <a:extLst>
                <a:ext uri="{FF2B5EF4-FFF2-40B4-BE49-F238E27FC236}">
                  <a16:creationId xmlns:a16="http://schemas.microsoft.com/office/drawing/2014/main" id="{683F0A6B-E050-4D7E-AD38-D190E05712CE}"/>
                </a:ext>
              </a:extLst>
            </p:cNvPr>
            <p:cNvSpPr/>
            <p:nvPr/>
          </p:nvSpPr>
          <p:spPr>
            <a:xfrm>
              <a:off x="3829879" y="2544417"/>
              <a:ext cx="781878" cy="781878"/>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180" name="Group 179">
              <a:extLst>
                <a:ext uri="{FF2B5EF4-FFF2-40B4-BE49-F238E27FC236}">
                  <a16:creationId xmlns:a16="http://schemas.microsoft.com/office/drawing/2014/main" id="{A687F4A1-1941-486C-9494-8B0A819526C1}"/>
                </a:ext>
              </a:extLst>
            </p:cNvPr>
            <p:cNvGrpSpPr/>
            <p:nvPr/>
          </p:nvGrpSpPr>
          <p:grpSpPr>
            <a:xfrm>
              <a:off x="3962757" y="2717377"/>
              <a:ext cx="516122" cy="435958"/>
              <a:chOff x="3958213" y="2687192"/>
              <a:chExt cx="516122" cy="435958"/>
            </a:xfrm>
          </p:grpSpPr>
          <p:grpSp>
            <p:nvGrpSpPr>
              <p:cNvPr id="181" name="Group 180">
                <a:extLst>
                  <a:ext uri="{FF2B5EF4-FFF2-40B4-BE49-F238E27FC236}">
                    <a16:creationId xmlns:a16="http://schemas.microsoft.com/office/drawing/2014/main" id="{3B50B9A9-FB9A-4FDF-996E-00BB67C6C3CA}"/>
                  </a:ext>
                </a:extLst>
              </p:cNvPr>
              <p:cNvGrpSpPr/>
              <p:nvPr/>
            </p:nvGrpSpPr>
            <p:grpSpPr>
              <a:xfrm>
                <a:off x="4101974" y="2687192"/>
                <a:ext cx="228600" cy="228600"/>
                <a:chOff x="6614096" y="3386015"/>
                <a:chExt cx="182880" cy="182880"/>
              </a:xfrm>
            </p:grpSpPr>
            <p:sp>
              <p:nvSpPr>
                <p:cNvPr id="188" name="Oval 187">
                  <a:extLst>
                    <a:ext uri="{FF2B5EF4-FFF2-40B4-BE49-F238E27FC236}">
                      <a16:creationId xmlns:a16="http://schemas.microsoft.com/office/drawing/2014/main" id="{0E23A5E5-CFBC-4BB5-B338-3F6B92D60A38}"/>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9" name="Oval 188">
                  <a:extLst>
                    <a:ext uri="{FF2B5EF4-FFF2-40B4-BE49-F238E27FC236}">
                      <a16:creationId xmlns:a16="http://schemas.microsoft.com/office/drawing/2014/main" id="{0CF8FC87-1E5F-4D78-B740-6524CAD48098}"/>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2" name="Group 181">
                <a:extLst>
                  <a:ext uri="{FF2B5EF4-FFF2-40B4-BE49-F238E27FC236}">
                    <a16:creationId xmlns:a16="http://schemas.microsoft.com/office/drawing/2014/main" id="{F5B0E64D-473A-4314-A999-16B36D36824E}"/>
                  </a:ext>
                </a:extLst>
              </p:cNvPr>
              <p:cNvGrpSpPr/>
              <p:nvPr/>
            </p:nvGrpSpPr>
            <p:grpSpPr>
              <a:xfrm>
                <a:off x="3958213" y="2894550"/>
                <a:ext cx="228600" cy="228600"/>
                <a:chOff x="6614096" y="3386015"/>
                <a:chExt cx="182880" cy="182880"/>
              </a:xfrm>
            </p:grpSpPr>
            <p:sp>
              <p:nvSpPr>
                <p:cNvPr id="186" name="Oval 185">
                  <a:extLst>
                    <a:ext uri="{FF2B5EF4-FFF2-40B4-BE49-F238E27FC236}">
                      <a16:creationId xmlns:a16="http://schemas.microsoft.com/office/drawing/2014/main" id="{1F689CA4-0C6D-4906-AB63-B8607F4B4F27}"/>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7" name="Oval 186">
                  <a:extLst>
                    <a:ext uri="{FF2B5EF4-FFF2-40B4-BE49-F238E27FC236}">
                      <a16:creationId xmlns:a16="http://schemas.microsoft.com/office/drawing/2014/main" id="{1E51677B-7762-4988-9055-32AB034A4289}"/>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3" name="Group 182">
                <a:extLst>
                  <a:ext uri="{FF2B5EF4-FFF2-40B4-BE49-F238E27FC236}">
                    <a16:creationId xmlns:a16="http://schemas.microsoft.com/office/drawing/2014/main" id="{BED67282-F563-4BB0-9BD4-FCE732F64C8F}"/>
                  </a:ext>
                </a:extLst>
              </p:cNvPr>
              <p:cNvGrpSpPr/>
              <p:nvPr/>
            </p:nvGrpSpPr>
            <p:grpSpPr>
              <a:xfrm>
                <a:off x="4245735" y="2894550"/>
                <a:ext cx="228600" cy="228600"/>
                <a:chOff x="6614096" y="3386015"/>
                <a:chExt cx="182880" cy="182880"/>
              </a:xfrm>
            </p:grpSpPr>
            <p:sp>
              <p:nvSpPr>
                <p:cNvPr id="184" name="Oval 183">
                  <a:extLst>
                    <a:ext uri="{FF2B5EF4-FFF2-40B4-BE49-F238E27FC236}">
                      <a16:creationId xmlns:a16="http://schemas.microsoft.com/office/drawing/2014/main" id="{1162051A-F007-49CE-B822-85670F86C56D}"/>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5" name="Oval 184">
                  <a:extLst>
                    <a:ext uri="{FF2B5EF4-FFF2-40B4-BE49-F238E27FC236}">
                      <a16:creationId xmlns:a16="http://schemas.microsoft.com/office/drawing/2014/main" id="{9C15E55C-1B7B-4FB1-A6B5-19FC2796C1EF}"/>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190" name="Group 189">
            <a:extLst>
              <a:ext uri="{FF2B5EF4-FFF2-40B4-BE49-F238E27FC236}">
                <a16:creationId xmlns:a16="http://schemas.microsoft.com/office/drawing/2014/main" id="{2CD8CA25-43EC-45E7-A8BD-82AA3866DAEC}"/>
              </a:ext>
            </a:extLst>
          </p:cNvPr>
          <p:cNvGrpSpPr/>
          <p:nvPr/>
        </p:nvGrpSpPr>
        <p:grpSpPr>
          <a:xfrm>
            <a:off x="6316270" y="5177404"/>
            <a:ext cx="287122" cy="287122"/>
            <a:chOff x="3829879" y="2544417"/>
            <a:chExt cx="781878" cy="781878"/>
          </a:xfrm>
        </p:grpSpPr>
        <p:sp>
          <p:nvSpPr>
            <p:cNvPr id="191" name="Rectangle: Rounded Corners 190">
              <a:extLst>
                <a:ext uri="{FF2B5EF4-FFF2-40B4-BE49-F238E27FC236}">
                  <a16:creationId xmlns:a16="http://schemas.microsoft.com/office/drawing/2014/main" id="{75F33A98-4DBC-47F4-855F-E6170AA21DF0}"/>
                </a:ext>
              </a:extLst>
            </p:cNvPr>
            <p:cNvSpPr/>
            <p:nvPr/>
          </p:nvSpPr>
          <p:spPr>
            <a:xfrm>
              <a:off x="3829879" y="2544417"/>
              <a:ext cx="781878" cy="781878"/>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192" name="Group 191">
              <a:extLst>
                <a:ext uri="{FF2B5EF4-FFF2-40B4-BE49-F238E27FC236}">
                  <a16:creationId xmlns:a16="http://schemas.microsoft.com/office/drawing/2014/main" id="{380C0560-9AEB-4D7F-84D2-BBF75CBE8433}"/>
                </a:ext>
              </a:extLst>
            </p:cNvPr>
            <p:cNvGrpSpPr/>
            <p:nvPr/>
          </p:nvGrpSpPr>
          <p:grpSpPr>
            <a:xfrm>
              <a:off x="3962757" y="2717377"/>
              <a:ext cx="516122" cy="435958"/>
              <a:chOff x="3958213" y="2687192"/>
              <a:chExt cx="516122" cy="435958"/>
            </a:xfrm>
          </p:grpSpPr>
          <p:grpSp>
            <p:nvGrpSpPr>
              <p:cNvPr id="193" name="Group 192">
                <a:extLst>
                  <a:ext uri="{FF2B5EF4-FFF2-40B4-BE49-F238E27FC236}">
                    <a16:creationId xmlns:a16="http://schemas.microsoft.com/office/drawing/2014/main" id="{9DF1528B-4B71-4678-B389-A277AEAEDB21}"/>
                  </a:ext>
                </a:extLst>
              </p:cNvPr>
              <p:cNvGrpSpPr/>
              <p:nvPr/>
            </p:nvGrpSpPr>
            <p:grpSpPr>
              <a:xfrm>
                <a:off x="4101974" y="2687192"/>
                <a:ext cx="228600" cy="228600"/>
                <a:chOff x="6614096" y="3386015"/>
                <a:chExt cx="182880" cy="182880"/>
              </a:xfrm>
            </p:grpSpPr>
            <p:sp>
              <p:nvSpPr>
                <p:cNvPr id="200" name="Oval 199">
                  <a:extLst>
                    <a:ext uri="{FF2B5EF4-FFF2-40B4-BE49-F238E27FC236}">
                      <a16:creationId xmlns:a16="http://schemas.microsoft.com/office/drawing/2014/main" id="{B17CD0F4-6C0B-4502-B914-2AB52E47DAEF}"/>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1" name="Oval 200">
                  <a:extLst>
                    <a:ext uri="{FF2B5EF4-FFF2-40B4-BE49-F238E27FC236}">
                      <a16:creationId xmlns:a16="http://schemas.microsoft.com/office/drawing/2014/main" id="{B73FC3CC-B88F-44F6-8FF2-426EB28D0FC5}"/>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4" name="Group 193">
                <a:extLst>
                  <a:ext uri="{FF2B5EF4-FFF2-40B4-BE49-F238E27FC236}">
                    <a16:creationId xmlns:a16="http://schemas.microsoft.com/office/drawing/2014/main" id="{E342E03A-A354-4FA9-9744-FB04229EC2DC}"/>
                  </a:ext>
                </a:extLst>
              </p:cNvPr>
              <p:cNvGrpSpPr/>
              <p:nvPr/>
            </p:nvGrpSpPr>
            <p:grpSpPr>
              <a:xfrm>
                <a:off x="3958213" y="2894550"/>
                <a:ext cx="228600" cy="228600"/>
                <a:chOff x="6614096" y="3386015"/>
                <a:chExt cx="182880" cy="182880"/>
              </a:xfrm>
            </p:grpSpPr>
            <p:sp>
              <p:nvSpPr>
                <p:cNvPr id="198" name="Oval 197">
                  <a:extLst>
                    <a:ext uri="{FF2B5EF4-FFF2-40B4-BE49-F238E27FC236}">
                      <a16:creationId xmlns:a16="http://schemas.microsoft.com/office/drawing/2014/main" id="{CD93F9D5-55DA-40DA-AB5C-3AF9A07080BF}"/>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9" name="Oval 198">
                  <a:extLst>
                    <a:ext uri="{FF2B5EF4-FFF2-40B4-BE49-F238E27FC236}">
                      <a16:creationId xmlns:a16="http://schemas.microsoft.com/office/drawing/2014/main" id="{B76D7DD1-C1DD-43D0-866A-F6BDFBDFAE01}"/>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5" name="Group 194">
                <a:extLst>
                  <a:ext uri="{FF2B5EF4-FFF2-40B4-BE49-F238E27FC236}">
                    <a16:creationId xmlns:a16="http://schemas.microsoft.com/office/drawing/2014/main" id="{57A42FF2-E587-4007-8055-8D49DAEE4F02}"/>
                  </a:ext>
                </a:extLst>
              </p:cNvPr>
              <p:cNvGrpSpPr/>
              <p:nvPr/>
            </p:nvGrpSpPr>
            <p:grpSpPr>
              <a:xfrm>
                <a:off x="4245735" y="2894550"/>
                <a:ext cx="228600" cy="228600"/>
                <a:chOff x="6614096" y="3386015"/>
                <a:chExt cx="182880" cy="182880"/>
              </a:xfrm>
            </p:grpSpPr>
            <p:sp>
              <p:nvSpPr>
                <p:cNvPr id="196" name="Oval 195">
                  <a:extLst>
                    <a:ext uri="{FF2B5EF4-FFF2-40B4-BE49-F238E27FC236}">
                      <a16:creationId xmlns:a16="http://schemas.microsoft.com/office/drawing/2014/main" id="{6B072C32-3440-4714-A957-D31E7A245666}"/>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7" name="Oval 196">
                  <a:extLst>
                    <a:ext uri="{FF2B5EF4-FFF2-40B4-BE49-F238E27FC236}">
                      <a16:creationId xmlns:a16="http://schemas.microsoft.com/office/drawing/2014/main" id="{8AC2BFC8-B55B-4D1C-9281-5295DE600015}"/>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202" name="Group 201">
            <a:extLst>
              <a:ext uri="{FF2B5EF4-FFF2-40B4-BE49-F238E27FC236}">
                <a16:creationId xmlns:a16="http://schemas.microsoft.com/office/drawing/2014/main" id="{17B9DB50-76EB-4103-B054-DEC995FF9294}"/>
              </a:ext>
            </a:extLst>
          </p:cNvPr>
          <p:cNvGrpSpPr/>
          <p:nvPr/>
        </p:nvGrpSpPr>
        <p:grpSpPr>
          <a:xfrm>
            <a:off x="6316270" y="5768792"/>
            <a:ext cx="287122" cy="287122"/>
            <a:chOff x="3829879" y="2544417"/>
            <a:chExt cx="781878" cy="781878"/>
          </a:xfrm>
        </p:grpSpPr>
        <p:sp>
          <p:nvSpPr>
            <p:cNvPr id="203" name="Rectangle: Rounded Corners 202">
              <a:extLst>
                <a:ext uri="{FF2B5EF4-FFF2-40B4-BE49-F238E27FC236}">
                  <a16:creationId xmlns:a16="http://schemas.microsoft.com/office/drawing/2014/main" id="{A3FA0A20-D5AF-407D-A3AC-924A8FFDB9B4}"/>
                </a:ext>
              </a:extLst>
            </p:cNvPr>
            <p:cNvSpPr/>
            <p:nvPr/>
          </p:nvSpPr>
          <p:spPr>
            <a:xfrm>
              <a:off x="3829879" y="2544417"/>
              <a:ext cx="781878" cy="781878"/>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204" name="Group 203">
              <a:extLst>
                <a:ext uri="{FF2B5EF4-FFF2-40B4-BE49-F238E27FC236}">
                  <a16:creationId xmlns:a16="http://schemas.microsoft.com/office/drawing/2014/main" id="{AD5954AB-C122-45C4-817B-EFF3FD9F408C}"/>
                </a:ext>
              </a:extLst>
            </p:cNvPr>
            <p:cNvGrpSpPr/>
            <p:nvPr/>
          </p:nvGrpSpPr>
          <p:grpSpPr>
            <a:xfrm>
              <a:off x="3962757" y="2717377"/>
              <a:ext cx="516122" cy="435958"/>
              <a:chOff x="3958213" y="2687192"/>
              <a:chExt cx="516122" cy="435958"/>
            </a:xfrm>
          </p:grpSpPr>
          <p:grpSp>
            <p:nvGrpSpPr>
              <p:cNvPr id="205" name="Group 204">
                <a:extLst>
                  <a:ext uri="{FF2B5EF4-FFF2-40B4-BE49-F238E27FC236}">
                    <a16:creationId xmlns:a16="http://schemas.microsoft.com/office/drawing/2014/main" id="{AB4AB0DB-E040-40D9-B504-D8E0BBB3DB68}"/>
                  </a:ext>
                </a:extLst>
              </p:cNvPr>
              <p:cNvGrpSpPr/>
              <p:nvPr/>
            </p:nvGrpSpPr>
            <p:grpSpPr>
              <a:xfrm>
                <a:off x="4101974" y="2687192"/>
                <a:ext cx="228600" cy="228600"/>
                <a:chOff x="6614096" y="3386015"/>
                <a:chExt cx="182880" cy="182880"/>
              </a:xfrm>
            </p:grpSpPr>
            <p:sp>
              <p:nvSpPr>
                <p:cNvPr id="212" name="Oval 211">
                  <a:extLst>
                    <a:ext uri="{FF2B5EF4-FFF2-40B4-BE49-F238E27FC236}">
                      <a16:creationId xmlns:a16="http://schemas.microsoft.com/office/drawing/2014/main" id="{5D5BCCE0-5AD0-43EB-8ECE-FA13A06904FF}"/>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3" name="Oval 212">
                  <a:extLst>
                    <a:ext uri="{FF2B5EF4-FFF2-40B4-BE49-F238E27FC236}">
                      <a16:creationId xmlns:a16="http://schemas.microsoft.com/office/drawing/2014/main" id="{F89C37C2-5D14-47DD-97CB-4C9D730D09F8}"/>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6" name="Group 205">
                <a:extLst>
                  <a:ext uri="{FF2B5EF4-FFF2-40B4-BE49-F238E27FC236}">
                    <a16:creationId xmlns:a16="http://schemas.microsoft.com/office/drawing/2014/main" id="{14869799-A3AA-412E-BDDE-5CE4AEA031B3}"/>
                  </a:ext>
                </a:extLst>
              </p:cNvPr>
              <p:cNvGrpSpPr/>
              <p:nvPr/>
            </p:nvGrpSpPr>
            <p:grpSpPr>
              <a:xfrm>
                <a:off x="3958213" y="2894550"/>
                <a:ext cx="228600" cy="228600"/>
                <a:chOff x="6614096" y="3386015"/>
                <a:chExt cx="182880" cy="182880"/>
              </a:xfrm>
            </p:grpSpPr>
            <p:sp>
              <p:nvSpPr>
                <p:cNvPr id="210" name="Oval 209">
                  <a:extLst>
                    <a:ext uri="{FF2B5EF4-FFF2-40B4-BE49-F238E27FC236}">
                      <a16:creationId xmlns:a16="http://schemas.microsoft.com/office/drawing/2014/main" id="{49D109CB-514D-456F-AADF-CC0B7E242D69}"/>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1" name="Oval 210">
                  <a:extLst>
                    <a:ext uri="{FF2B5EF4-FFF2-40B4-BE49-F238E27FC236}">
                      <a16:creationId xmlns:a16="http://schemas.microsoft.com/office/drawing/2014/main" id="{5DE29220-C334-44BF-9BC4-28B8BB33A0F9}"/>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7" name="Group 206">
                <a:extLst>
                  <a:ext uri="{FF2B5EF4-FFF2-40B4-BE49-F238E27FC236}">
                    <a16:creationId xmlns:a16="http://schemas.microsoft.com/office/drawing/2014/main" id="{E586F0EC-F924-48E7-ACEA-525D482985AE}"/>
                  </a:ext>
                </a:extLst>
              </p:cNvPr>
              <p:cNvGrpSpPr/>
              <p:nvPr/>
            </p:nvGrpSpPr>
            <p:grpSpPr>
              <a:xfrm>
                <a:off x="4245735" y="2894550"/>
                <a:ext cx="228600" cy="228600"/>
                <a:chOff x="6614096" y="3386015"/>
                <a:chExt cx="182880" cy="182880"/>
              </a:xfrm>
            </p:grpSpPr>
            <p:sp>
              <p:nvSpPr>
                <p:cNvPr id="208" name="Oval 207">
                  <a:extLst>
                    <a:ext uri="{FF2B5EF4-FFF2-40B4-BE49-F238E27FC236}">
                      <a16:creationId xmlns:a16="http://schemas.microsoft.com/office/drawing/2014/main" id="{24F6C55B-5E58-4DD1-B59D-A5D5D930BBED}"/>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9" name="Oval 208">
                  <a:extLst>
                    <a:ext uri="{FF2B5EF4-FFF2-40B4-BE49-F238E27FC236}">
                      <a16:creationId xmlns:a16="http://schemas.microsoft.com/office/drawing/2014/main" id="{8049708C-6056-41E7-B64F-33E40CC1DFC9}"/>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235" name="Group 234">
            <a:extLst>
              <a:ext uri="{FF2B5EF4-FFF2-40B4-BE49-F238E27FC236}">
                <a16:creationId xmlns:a16="http://schemas.microsoft.com/office/drawing/2014/main" id="{71462941-D5A8-4823-B912-1AC7E63EC03B}"/>
              </a:ext>
            </a:extLst>
          </p:cNvPr>
          <p:cNvGrpSpPr/>
          <p:nvPr/>
        </p:nvGrpSpPr>
        <p:grpSpPr>
          <a:xfrm>
            <a:off x="358929" y="3282782"/>
            <a:ext cx="4785188" cy="894072"/>
            <a:chOff x="358929" y="3724384"/>
            <a:chExt cx="4785188" cy="894072"/>
          </a:xfrm>
        </p:grpSpPr>
        <p:grpSp>
          <p:nvGrpSpPr>
            <p:cNvPr id="215" name="Group 214">
              <a:extLst>
                <a:ext uri="{FF2B5EF4-FFF2-40B4-BE49-F238E27FC236}">
                  <a16:creationId xmlns:a16="http://schemas.microsoft.com/office/drawing/2014/main" id="{84C62D74-C193-4126-9D3B-4C31D8A81C61}"/>
                </a:ext>
              </a:extLst>
            </p:cNvPr>
            <p:cNvGrpSpPr/>
            <p:nvPr/>
          </p:nvGrpSpPr>
          <p:grpSpPr>
            <a:xfrm>
              <a:off x="1151754" y="3724384"/>
              <a:ext cx="3992363" cy="894072"/>
              <a:chOff x="6844031" y="4084501"/>
              <a:chExt cx="4072419" cy="912000"/>
            </a:xfrm>
          </p:grpSpPr>
          <p:sp>
            <p:nvSpPr>
              <p:cNvPr id="217" name="TextBox 216">
                <a:extLst>
                  <a:ext uri="{FF2B5EF4-FFF2-40B4-BE49-F238E27FC236}">
                    <a16:creationId xmlns:a16="http://schemas.microsoft.com/office/drawing/2014/main" id="{360365E7-D00A-421A-AC19-8698B8F583B4}"/>
                  </a:ext>
                </a:extLst>
              </p:cNvPr>
              <p:cNvSpPr txBox="1"/>
              <p:nvPr/>
            </p:nvSpPr>
            <p:spPr>
              <a:xfrm>
                <a:off x="6844032" y="4084501"/>
                <a:ext cx="1211971" cy="345343"/>
              </a:xfrm>
              <a:prstGeom prst="rect">
                <a:avLst/>
              </a:prstGeom>
              <a:noFill/>
            </p:spPr>
            <p:txBody>
              <a:bodyPr wrap="none" rtlCol="0">
                <a:spAutoFit/>
              </a:bodyPr>
              <a:lstStyle/>
              <a:p>
                <a:pPr defTabSz="448193"/>
                <a:r>
                  <a:rPr lang="en-US" sz="1600">
                    <a:solidFill>
                      <a:srgbClr val="0078D4"/>
                    </a:solidFill>
                    <a:latin typeface="Segoe UI Semibold" panose="020B0702040204020203" pitchFamily="34" charset="0"/>
                    <a:cs typeface="Segoe UI Semibold" panose="020B0702040204020203" pitchFamily="34" charset="0"/>
                  </a:rPr>
                  <a:t>Decoupled</a:t>
                </a:r>
              </a:p>
            </p:txBody>
          </p:sp>
          <p:sp>
            <p:nvSpPr>
              <p:cNvPr id="218" name="TextBox 217">
                <a:extLst>
                  <a:ext uri="{FF2B5EF4-FFF2-40B4-BE49-F238E27FC236}">
                    <a16:creationId xmlns:a16="http://schemas.microsoft.com/office/drawing/2014/main" id="{57B4E8EC-D55D-4861-B794-AD9886B4E0E2}"/>
                  </a:ext>
                </a:extLst>
              </p:cNvPr>
              <p:cNvSpPr txBox="1"/>
              <p:nvPr/>
            </p:nvSpPr>
            <p:spPr>
              <a:xfrm>
                <a:off x="6844031" y="4337210"/>
                <a:ext cx="4072419" cy="659291"/>
              </a:xfrm>
              <a:prstGeom prst="rect">
                <a:avLst/>
              </a:prstGeom>
              <a:noFill/>
            </p:spPr>
            <p:txBody>
              <a:bodyPr wrap="square" rtlCol="0">
                <a:spAutoFit/>
              </a:bodyPr>
              <a:lstStyle/>
              <a:p>
                <a:pPr defTabSz="448193"/>
                <a:r>
                  <a:rPr lang="en-US" sz="1200">
                    <a:latin typeface="Segoe UI" panose="020B0502040204020203" pitchFamily="34" charset="0"/>
                  </a:rPr>
                  <a:t>These service modules are highly decoupled building blocks that are small enough to implement a single functionality but together can form larger systems</a:t>
                </a:r>
              </a:p>
            </p:txBody>
          </p:sp>
        </p:grpSp>
        <p:grpSp>
          <p:nvGrpSpPr>
            <p:cNvPr id="232" name="Group 231">
              <a:extLst>
                <a:ext uri="{FF2B5EF4-FFF2-40B4-BE49-F238E27FC236}">
                  <a16:creationId xmlns:a16="http://schemas.microsoft.com/office/drawing/2014/main" id="{439346C6-2A92-4466-B2F4-E5C393B8C37F}"/>
                </a:ext>
              </a:extLst>
            </p:cNvPr>
            <p:cNvGrpSpPr/>
            <p:nvPr/>
          </p:nvGrpSpPr>
          <p:grpSpPr>
            <a:xfrm>
              <a:off x="358929" y="3826228"/>
              <a:ext cx="690384" cy="690384"/>
              <a:chOff x="174093" y="3762115"/>
              <a:chExt cx="896425" cy="896425"/>
            </a:xfrm>
          </p:grpSpPr>
          <p:sp>
            <p:nvSpPr>
              <p:cNvPr id="216" name="Oval 215">
                <a:extLst>
                  <a:ext uri="{FF2B5EF4-FFF2-40B4-BE49-F238E27FC236}">
                    <a16:creationId xmlns:a16="http://schemas.microsoft.com/office/drawing/2014/main" id="{70FD4FE4-1E20-41B1-BAC1-6CABE2AB0425}"/>
                  </a:ext>
                </a:extLst>
              </p:cNvPr>
              <p:cNvSpPr/>
              <p:nvPr/>
            </p:nvSpPr>
            <p:spPr>
              <a:xfrm>
                <a:off x="174093" y="3762115"/>
                <a:ext cx="896425" cy="896425"/>
              </a:xfrm>
              <a:prstGeom prst="ellipse">
                <a:avLst/>
              </a:prstGeom>
              <a:solidFill>
                <a:schemeClr val="bg1"/>
              </a:solidFill>
              <a:ln w="19050">
                <a:solidFill>
                  <a:srgbClr val="007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250">
                        <a:srgbClr val="505050"/>
                      </a:gs>
                      <a:gs pos="100000">
                        <a:srgbClr val="505050"/>
                      </a:gs>
                    </a:gsLst>
                    <a:lin ang="5400000" scaled="0"/>
                  </a:gradFill>
                  <a:effectLst/>
                  <a:uLnTx/>
                  <a:uFillTx/>
                  <a:latin typeface="Segoe UI"/>
                  <a:ea typeface="+mn-ea"/>
                  <a:cs typeface="+mn-cs"/>
                </a:endParaRPr>
              </a:p>
            </p:txBody>
          </p:sp>
          <p:pic>
            <p:nvPicPr>
              <p:cNvPr id="219" name="Graphic 218" descr="Network">
                <a:extLst>
                  <a:ext uri="{FF2B5EF4-FFF2-40B4-BE49-F238E27FC236}">
                    <a16:creationId xmlns:a16="http://schemas.microsoft.com/office/drawing/2014/main" id="{5F2D69D0-FCC2-4882-89B0-42EC7B05B39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16561" y="3904583"/>
                <a:ext cx="611489" cy="611489"/>
              </a:xfrm>
              <a:prstGeom prst="rect">
                <a:avLst/>
              </a:prstGeom>
            </p:spPr>
          </p:pic>
        </p:grpSp>
      </p:grpSp>
      <p:grpSp>
        <p:nvGrpSpPr>
          <p:cNvPr id="236" name="Group 235">
            <a:extLst>
              <a:ext uri="{FF2B5EF4-FFF2-40B4-BE49-F238E27FC236}">
                <a16:creationId xmlns:a16="http://schemas.microsoft.com/office/drawing/2014/main" id="{446CBD1D-134D-412E-BB40-B7E15E125681}"/>
              </a:ext>
            </a:extLst>
          </p:cNvPr>
          <p:cNvGrpSpPr/>
          <p:nvPr/>
        </p:nvGrpSpPr>
        <p:grpSpPr>
          <a:xfrm>
            <a:off x="358929" y="2059382"/>
            <a:ext cx="5006022" cy="880889"/>
            <a:chOff x="358929" y="2299222"/>
            <a:chExt cx="5006022" cy="880889"/>
          </a:xfrm>
        </p:grpSpPr>
        <p:grpSp>
          <p:nvGrpSpPr>
            <p:cNvPr id="221" name="Group 220">
              <a:extLst>
                <a:ext uri="{FF2B5EF4-FFF2-40B4-BE49-F238E27FC236}">
                  <a16:creationId xmlns:a16="http://schemas.microsoft.com/office/drawing/2014/main" id="{93826F4C-CB19-4613-B745-AB1541F13B15}"/>
                </a:ext>
              </a:extLst>
            </p:cNvPr>
            <p:cNvGrpSpPr/>
            <p:nvPr/>
          </p:nvGrpSpPr>
          <p:grpSpPr>
            <a:xfrm>
              <a:off x="1151754" y="2299222"/>
              <a:ext cx="4213197" cy="880889"/>
              <a:chOff x="6693144" y="1375398"/>
              <a:chExt cx="4297680" cy="898553"/>
            </a:xfrm>
          </p:grpSpPr>
          <p:sp>
            <p:nvSpPr>
              <p:cNvPr id="223" name="TextBox 222">
                <a:extLst>
                  <a:ext uri="{FF2B5EF4-FFF2-40B4-BE49-F238E27FC236}">
                    <a16:creationId xmlns:a16="http://schemas.microsoft.com/office/drawing/2014/main" id="{D9339AD2-0608-47BD-A7DC-CBBEBFA5008A}"/>
                  </a:ext>
                </a:extLst>
              </p:cNvPr>
              <p:cNvSpPr txBox="1"/>
              <p:nvPr/>
            </p:nvSpPr>
            <p:spPr>
              <a:xfrm>
                <a:off x="6693144" y="1375398"/>
                <a:ext cx="3008277" cy="345343"/>
              </a:xfrm>
              <a:prstGeom prst="rect">
                <a:avLst/>
              </a:prstGeom>
              <a:noFill/>
            </p:spPr>
            <p:txBody>
              <a:bodyPr wrap="none" rtlCol="0">
                <a:spAutoFit/>
              </a:body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A Software Architectural Style</a:t>
                </a:r>
              </a:p>
            </p:txBody>
          </p:sp>
          <p:sp>
            <p:nvSpPr>
              <p:cNvPr id="224" name="TextBox 223">
                <a:extLst>
                  <a:ext uri="{FF2B5EF4-FFF2-40B4-BE49-F238E27FC236}">
                    <a16:creationId xmlns:a16="http://schemas.microsoft.com/office/drawing/2014/main" id="{C40FC631-8FBC-4639-BC66-D11C479FBA12}"/>
                  </a:ext>
                </a:extLst>
              </p:cNvPr>
              <p:cNvSpPr txBox="1"/>
              <p:nvPr/>
            </p:nvSpPr>
            <p:spPr>
              <a:xfrm>
                <a:off x="6693144" y="1614660"/>
                <a:ext cx="4297680" cy="659291"/>
              </a:xfrm>
              <a:prstGeom prst="rect">
                <a:avLst/>
              </a:prstGeom>
              <a:noFill/>
            </p:spPr>
            <p:txBody>
              <a:bodyPr wrap="square" rtlCol="0">
                <a:spAutoFit/>
              </a:body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mn-ea"/>
                    <a:cs typeface="+mn-cs"/>
                  </a:rPr>
                  <a:t>Applications are composed of small, independent modules that communicate with each other using well-defined APIs. Not platform specific.</a:t>
                </a:r>
                <a:endParaRPr kumimoji="0" lang="en-US" sz="1200" b="0" i="0" u="none" strike="noStrike" kern="1200" cap="none" spc="0" normalizeH="0" baseline="0" noProof="0">
                  <a:ln>
                    <a:noFill/>
                  </a:ln>
                  <a:effectLst/>
                  <a:uLnTx/>
                  <a:uFillTx/>
                  <a:latin typeface="Segoe UI Semilight" panose="020B0402040204020203" pitchFamily="34" charset="0"/>
                  <a:ea typeface="+mn-ea"/>
                  <a:cs typeface="Segoe UI Semilight" panose="020B0402040204020203" pitchFamily="34" charset="0"/>
                </a:endParaRPr>
              </a:p>
            </p:txBody>
          </p:sp>
        </p:grpSp>
        <p:grpSp>
          <p:nvGrpSpPr>
            <p:cNvPr id="4" name="Group 3">
              <a:extLst>
                <a:ext uri="{FF2B5EF4-FFF2-40B4-BE49-F238E27FC236}">
                  <a16:creationId xmlns:a16="http://schemas.microsoft.com/office/drawing/2014/main" id="{0E781D85-1548-4B6B-8B73-BD73002A2B2E}"/>
                </a:ext>
              </a:extLst>
            </p:cNvPr>
            <p:cNvGrpSpPr/>
            <p:nvPr/>
          </p:nvGrpSpPr>
          <p:grpSpPr>
            <a:xfrm>
              <a:off x="358929" y="2394474"/>
              <a:ext cx="690384" cy="690384"/>
              <a:chOff x="134075" y="2330361"/>
              <a:chExt cx="896425" cy="896425"/>
            </a:xfrm>
          </p:grpSpPr>
          <p:sp>
            <p:nvSpPr>
              <p:cNvPr id="222" name="Oval 221">
                <a:extLst>
                  <a:ext uri="{FF2B5EF4-FFF2-40B4-BE49-F238E27FC236}">
                    <a16:creationId xmlns:a16="http://schemas.microsoft.com/office/drawing/2014/main" id="{DC1A9462-F3A6-49EA-8457-1B0301806BEB}"/>
                  </a:ext>
                </a:extLst>
              </p:cNvPr>
              <p:cNvSpPr/>
              <p:nvPr/>
            </p:nvSpPr>
            <p:spPr>
              <a:xfrm>
                <a:off x="134075" y="2330361"/>
                <a:ext cx="896425" cy="896425"/>
              </a:xfrm>
              <a:prstGeom prst="ellipse">
                <a:avLst/>
              </a:prstGeom>
              <a:solidFill>
                <a:schemeClr val="bg1"/>
              </a:solidFill>
              <a:ln w="19050">
                <a:solidFill>
                  <a:srgbClr val="007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250">
                        <a:srgbClr val="505050"/>
                      </a:gs>
                      <a:gs pos="100000">
                        <a:srgbClr val="505050"/>
                      </a:gs>
                    </a:gsLst>
                    <a:lin ang="5400000" scaled="0"/>
                  </a:gradFill>
                  <a:effectLst/>
                  <a:uLnTx/>
                  <a:uFillTx/>
                  <a:latin typeface="Segoe UI"/>
                  <a:ea typeface="+mn-ea"/>
                  <a:cs typeface="+mn-cs"/>
                </a:endParaRPr>
              </a:p>
            </p:txBody>
          </p:sp>
          <p:pic>
            <p:nvPicPr>
              <p:cNvPr id="225" name="Graphic 224" descr="Hierarchy">
                <a:extLst>
                  <a:ext uri="{FF2B5EF4-FFF2-40B4-BE49-F238E27FC236}">
                    <a16:creationId xmlns:a16="http://schemas.microsoft.com/office/drawing/2014/main" id="{82C45DBE-2676-4D99-B4EC-FD078770E0B8}"/>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1659" y="2477945"/>
                <a:ext cx="601257" cy="601257"/>
              </a:xfrm>
              <a:prstGeom prst="rect">
                <a:avLst/>
              </a:prstGeom>
            </p:spPr>
          </p:pic>
        </p:grpSp>
      </p:grpSp>
      <p:grpSp>
        <p:nvGrpSpPr>
          <p:cNvPr id="234" name="Group 233">
            <a:extLst>
              <a:ext uri="{FF2B5EF4-FFF2-40B4-BE49-F238E27FC236}">
                <a16:creationId xmlns:a16="http://schemas.microsoft.com/office/drawing/2014/main" id="{F06A1CBB-D37D-4311-A7E7-74E3AFF7F4F3}"/>
              </a:ext>
            </a:extLst>
          </p:cNvPr>
          <p:cNvGrpSpPr/>
          <p:nvPr/>
        </p:nvGrpSpPr>
        <p:grpSpPr>
          <a:xfrm>
            <a:off x="358929" y="4519364"/>
            <a:ext cx="5093811" cy="894072"/>
            <a:chOff x="358929" y="5238889"/>
            <a:chExt cx="5093811" cy="894072"/>
          </a:xfrm>
        </p:grpSpPr>
        <p:grpSp>
          <p:nvGrpSpPr>
            <p:cNvPr id="227" name="Group 226">
              <a:extLst>
                <a:ext uri="{FF2B5EF4-FFF2-40B4-BE49-F238E27FC236}">
                  <a16:creationId xmlns:a16="http://schemas.microsoft.com/office/drawing/2014/main" id="{01546285-C549-42B5-BA60-51D149B2379C}"/>
                </a:ext>
              </a:extLst>
            </p:cNvPr>
            <p:cNvGrpSpPr/>
            <p:nvPr/>
          </p:nvGrpSpPr>
          <p:grpSpPr>
            <a:xfrm>
              <a:off x="1151754" y="5238889"/>
              <a:ext cx="4300986" cy="894072"/>
              <a:chOff x="6635816" y="4329674"/>
              <a:chExt cx="4387230" cy="912000"/>
            </a:xfrm>
          </p:grpSpPr>
          <p:sp>
            <p:nvSpPr>
              <p:cNvPr id="229" name="TextBox 228">
                <a:extLst>
                  <a:ext uri="{FF2B5EF4-FFF2-40B4-BE49-F238E27FC236}">
                    <a16:creationId xmlns:a16="http://schemas.microsoft.com/office/drawing/2014/main" id="{30B99D24-A06C-446A-BB88-B04C9C14C62B}"/>
                  </a:ext>
                </a:extLst>
              </p:cNvPr>
              <p:cNvSpPr txBox="1"/>
              <p:nvPr/>
            </p:nvSpPr>
            <p:spPr>
              <a:xfrm>
                <a:off x="6635816" y="4329674"/>
                <a:ext cx="4387230" cy="345343"/>
              </a:xfrm>
              <a:prstGeom prst="rect">
                <a:avLst/>
              </a:prstGeom>
              <a:noFill/>
            </p:spPr>
            <p:txBody>
              <a:bodyPr wrap="none" rtlCol="0">
                <a:spAutoFit/>
              </a:bodyPr>
              <a:lstStyle/>
              <a:p>
                <a:pPr defTabSz="448193"/>
                <a:r>
                  <a:rPr lang="en-US" sz="1600">
                    <a:solidFill>
                      <a:srgbClr val="0078D4"/>
                    </a:solidFill>
                    <a:latin typeface="Segoe UI Semibold" panose="020B0702040204020203" pitchFamily="34" charset="0"/>
                    <a:cs typeface="Segoe UI Semibold" panose="020B0702040204020203" pitchFamily="34" charset="0"/>
                  </a:rPr>
                  <a:t>Independently versioned, deployed &amp; scaled</a:t>
                </a:r>
              </a:p>
            </p:txBody>
          </p:sp>
          <p:sp>
            <p:nvSpPr>
              <p:cNvPr id="230" name="TextBox 229">
                <a:extLst>
                  <a:ext uri="{FF2B5EF4-FFF2-40B4-BE49-F238E27FC236}">
                    <a16:creationId xmlns:a16="http://schemas.microsoft.com/office/drawing/2014/main" id="{3FFA6EDA-4AAE-43D8-AB82-1EE0BA06D8AE}"/>
                  </a:ext>
                </a:extLst>
              </p:cNvPr>
              <p:cNvSpPr txBox="1"/>
              <p:nvPr/>
            </p:nvSpPr>
            <p:spPr>
              <a:xfrm>
                <a:off x="6635816" y="4582383"/>
                <a:ext cx="4297680" cy="659291"/>
              </a:xfrm>
              <a:prstGeom prst="rect">
                <a:avLst/>
              </a:prstGeom>
              <a:noFill/>
            </p:spPr>
            <p:txBody>
              <a:bodyPr wrap="square" rtlCol="0">
                <a:spAutoFit/>
              </a:bodyPr>
              <a:lstStyle/>
              <a:p>
                <a:pPr defTabSz="448193"/>
                <a:r>
                  <a:rPr lang="en-US" sz="1200">
                    <a:latin typeface="Segoe UI" panose="020B0502040204020203" pitchFamily="34" charset="0"/>
                  </a:rPr>
                  <a:t>With a microservices architecture, developers can create, manage and improve application services independently, even using different languages</a:t>
                </a:r>
              </a:p>
            </p:txBody>
          </p:sp>
        </p:grpSp>
        <p:grpSp>
          <p:nvGrpSpPr>
            <p:cNvPr id="233" name="Group 232">
              <a:extLst>
                <a:ext uri="{FF2B5EF4-FFF2-40B4-BE49-F238E27FC236}">
                  <a16:creationId xmlns:a16="http://schemas.microsoft.com/office/drawing/2014/main" id="{8BBF90EA-EA38-4189-A2F3-7473DFF2C756}"/>
                </a:ext>
              </a:extLst>
            </p:cNvPr>
            <p:cNvGrpSpPr/>
            <p:nvPr/>
          </p:nvGrpSpPr>
          <p:grpSpPr>
            <a:xfrm>
              <a:off x="358929" y="5340733"/>
              <a:ext cx="690384" cy="690384"/>
              <a:chOff x="195753" y="5276619"/>
              <a:chExt cx="896425" cy="896425"/>
            </a:xfrm>
          </p:grpSpPr>
          <p:sp>
            <p:nvSpPr>
              <p:cNvPr id="228" name="Oval 227">
                <a:extLst>
                  <a:ext uri="{FF2B5EF4-FFF2-40B4-BE49-F238E27FC236}">
                    <a16:creationId xmlns:a16="http://schemas.microsoft.com/office/drawing/2014/main" id="{62D23A90-A1BE-4326-9F04-46BCECACB473}"/>
                  </a:ext>
                </a:extLst>
              </p:cNvPr>
              <p:cNvSpPr/>
              <p:nvPr/>
            </p:nvSpPr>
            <p:spPr>
              <a:xfrm>
                <a:off x="195753" y="5276619"/>
                <a:ext cx="896425" cy="896425"/>
              </a:xfrm>
              <a:prstGeom prst="ellipse">
                <a:avLst/>
              </a:prstGeom>
              <a:solidFill>
                <a:schemeClr val="bg1"/>
              </a:solidFill>
              <a:ln w="19050">
                <a:solidFill>
                  <a:srgbClr val="007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250">
                        <a:srgbClr val="505050"/>
                      </a:gs>
                      <a:gs pos="100000">
                        <a:srgbClr val="505050"/>
                      </a:gs>
                    </a:gsLst>
                    <a:lin ang="5400000" scaled="0"/>
                  </a:gradFill>
                  <a:effectLst/>
                  <a:uLnTx/>
                  <a:uFillTx/>
                  <a:latin typeface="Segoe UI"/>
                  <a:ea typeface="+mn-ea"/>
                  <a:cs typeface="+mn-cs"/>
                </a:endParaRPr>
              </a:p>
            </p:txBody>
          </p:sp>
          <p:pic>
            <p:nvPicPr>
              <p:cNvPr id="231" name="Graphic 230" descr="City">
                <a:extLst>
                  <a:ext uri="{FF2B5EF4-FFF2-40B4-BE49-F238E27FC236}">
                    <a16:creationId xmlns:a16="http://schemas.microsoft.com/office/drawing/2014/main" id="{8137BEB8-1183-438F-9400-48AD65995CC1}"/>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93462" y="5374328"/>
                <a:ext cx="701006" cy="701006"/>
              </a:xfrm>
              <a:prstGeom prst="rect">
                <a:avLst/>
              </a:prstGeom>
            </p:spPr>
          </p:pic>
        </p:grpSp>
      </p:grpSp>
      <p:sp>
        <p:nvSpPr>
          <p:cNvPr id="237" name="TextBox 236">
            <a:extLst>
              <a:ext uri="{FF2B5EF4-FFF2-40B4-BE49-F238E27FC236}">
                <a16:creationId xmlns:a16="http://schemas.microsoft.com/office/drawing/2014/main" id="{6BD40919-3A69-4E50-AD40-68929B8D5BEC}"/>
              </a:ext>
            </a:extLst>
          </p:cNvPr>
          <p:cNvSpPr txBox="1"/>
          <p:nvPr/>
        </p:nvSpPr>
        <p:spPr>
          <a:xfrm>
            <a:off x="501425" y="5707724"/>
            <a:ext cx="478247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US" sz="1400">
                <a:latin typeface="Segoe UI" panose="020B0502040204020203" pitchFamily="34" charset="0"/>
              </a:rPr>
              <a:t>Containers provide the consistent format and isolation desired by microservices.  </a:t>
            </a:r>
          </a:p>
        </p:txBody>
      </p:sp>
    </p:spTree>
    <p:extLst>
      <p:ext uri="{BB962C8B-B14F-4D97-AF65-F5344CB8AC3E}">
        <p14:creationId xmlns:p14="http://schemas.microsoft.com/office/powerpoint/2010/main" val="2193134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xit" presetSubtype="32" fill="hold" nodeType="clickEffect">
                                  <p:stCondLst>
                                    <p:cond delay="0"/>
                                  </p:stCondLst>
                                  <p:childTnLst>
                                    <p:anim calcmode="lin" valueType="num">
                                      <p:cBhvr>
                                        <p:cTn id="6" dur="500"/>
                                        <p:tgtEl>
                                          <p:spTgt spid="39"/>
                                        </p:tgtEl>
                                        <p:attrNameLst>
                                          <p:attrName>ppt_w</p:attrName>
                                        </p:attrNameLst>
                                      </p:cBhvr>
                                      <p:tavLst>
                                        <p:tav tm="0">
                                          <p:val>
                                            <p:strVal val="ppt_w"/>
                                          </p:val>
                                        </p:tav>
                                        <p:tav tm="100000">
                                          <p:val>
                                            <p:fltVal val="0"/>
                                          </p:val>
                                        </p:tav>
                                      </p:tavLst>
                                    </p:anim>
                                    <p:anim calcmode="lin" valueType="num">
                                      <p:cBhvr>
                                        <p:cTn id="7" dur="500"/>
                                        <p:tgtEl>
                                          <p:spTgt spid="39"/>
                                        </p:tgtEl>
                                        <p:attrNameLst>
                                          <p:attrName>ppt_h</p:attrName>
                                        </p:attrNameLst>
                                      </p:cBhvr>
                                      <p:tavLst>
                                        <p:tav tm="0">
                                          <p:val>
                                            <p:strVal val="ppt_h"/>
                                          </p:val>
                                        </p:tav>
                                        <p:tav tm="100000">
                                          <p:val>
                                            <p:fltVal val="0"/>
                                          </p:val>
                                        </p:tav>
                                      </p:tavLst>
                                    </p:anim>
                                    <p:animEffect transition="out" filter="fade">
                                      <p:cBhvr>
                                        <p:cTn id="8" dur="500"/>
                                        <p:tgtEl>
                                          <p:spTgt spid="39"/>
                                        </p:tgtEl>
                                      </p:cBhvr>
                                    </p:animEffect>
                                    <p:set>
                                      <p:cBhvr>
                                        <p:cTn id="9" dur="1" fill="hold">
                                          <p:stCondLst>
                                            <p:cond delay="499"/>
                                          </p:stCondLst>
                                        </p:cTn>
                                        <p:tgtEl>
                                          <p:spTgt spid="39"/>
                                        </p:tgtEl>
                                        <p:attrNameLst>
                                          <p:attrName>style.visibility</p:attrName>
                                        </p:attrNameLst>
                                      </p:cBhvr>
                                      <p:to>
                                        <p:strVal val="hidden"/>
                                      </p:to>
                                    </p:set>
                                  </p:childTnLst>
                                </p:cTn>
                              </p:par>
                              <p:par>
                                <p:cTn id="10" presetID="10" presetClass="exit" presetSubtype="0" fill="hold" grpId="0" nodeType="withEffect">
                                  <p:stCondLst>
                                    <p:cond delay="0"/>
                                  </p:stCondLst>
                                  <p:childTnLst>
                                    <p:animEffect transition="out" filter="fade">
                                      <p:cBhvr>
                                        <p:cTn id="11" dur="500"/>
                                        <p:tgtEl>
                                          <p:spTgt spid="51"/>
                                        </p:tgtEl>
                                      </p:cBhvr>
                                    </p:animEffect>
                                    <p:set>
                                      <p:cBhvr>
                                        <p:cTn id="12" dur="1" fill="hold">
                                          <p:stCondLst>
                                            <p:cond delay="499"/>
                                          </p:stCondLst>
                                        </p:cTn>
                                        <p:tgtEl>
                                          <p:spTgt spid="51"/>
                                        </p:tgtEl>
                                        <p:attrNameLst>
                                          <p:attrName>style.visibility</p:attrName>
                                        </p:attrNameLst>
                                      </p:cBhvr>
                                      <p:to>
                                        <p:strVal val="hidden"/>
                                      </p:to>
                                    </p:set>
                                  </p:childTnLst>
                                </p:cTn>
                              </p:par>
                            </p:childTnLst>
                          </p:cTn>
                        </p:par>
                        <p:par>
                          <p:cTn id="13" fill="hold">
                            <p:stCondLst>
                              <p:cond delay="500"/>
                            </p:stCondLst>
                            <p:childTnLst>
                              <p:par>
                                <p:cTn id="14" presetID="53" presetClass="entr" presetSubtype="16" fill="hold" nodeType="afterEffect">
                                  <p:stCondLst>
                                    <p:cond delay="0"/>
                                  </p:stCondLst>
                                  <p:childTnLst>
                                    <p:set>
                                      <p:cBhvr>
                                        <p:cTn id="15" dur="1" fill="hold">
                                          <p:stCondLst>
                                            <p:cond delay="0"/>
                                          </p:stCondLst>
                                        </p:cTn>
                                        <p:tgtEl>
                                          <p:spTgt spid="166"/>
                                        </p:tgtEl>
                                        <p:attrNameLst>
                                          <p:attrName>style.visibility</p:attrName>
                                        </p:attrNameLst>
                                      </p:cBhvr>
                                      <p:to>
                                        <p:strVal val="visible"/>
                                      </p:to>
                                    </p:set>
                                    <p:anim calcmode="lin" valueType="num">
                                      <p:cBhvr>
                                        <p:cTn id="16" dur="500" fill="hold"/>
                                        <p:tgtEl>
                                          <p:spTgt spid="166"/>
                                        </p:tgtEl>
                                        <p:attrNameLst>
                                          <p:attrName>ppt_w</p:attrName>
                                        </p:attrNameLst>
                                      </p:cBhvr>
                                      <p:tavLst>
                                        <p:tav tm="0">
                                          <p:val>
                                            <p:fltVal val="0"/>
                                          </p:val>
                                        </p:tav>
                                        <p:tav tm="100000">
                                          <p:val>
                                            <p:strVal val="#ppt_w"/>
                                          </p:val>
                                        </p:tav>
                                      </p:tavLst>
                                    </p:anim>
                                    <p:anim calcmode="lin" valueType="num">
                                      <p:cBhvr>
                                        <p:cTn id="17" dur="500" fill="hold"/>
                                        <p:tgtEl>
                                          <p:spTgt spid="166"/>
                                        </p:tgtEl>
                                        <p:attrNameLst>
                                          <p:attrName>ppt_h</p:attrName>
                                        </p:attrNameLst>
                                      </p:cBhvr>
                                      <p:tavLst>
                                        <p:tav tm="0">
                                          <p:val>
                                            <p:fltVal val="0"/>
                                          </p:val>
                                        </p:tav>
                                        <p:tav tm="100000">
                                          <p:val>
                                            <p:strVal val="#ppt_h"/>
                                          </p:val>
                                        </p:tav>
                                      </p:tavLst>
                                    </p:anim>
                                    <p:animEffect transition="in" filter="fade">
                                      <p:cBhvr>
                                        <p:cTn id="18" dur="500"/>
                                        <p:tgtEl>
                                          <p:spTgt spid="166"/>
                                        </p:tgtEl>
                                      </p:cBhvr>
                                    </p:animEffect>
                                  </p:childTnLst>
                                </p:cTn>
                              </p:par>
                            </p:childTnLst>
                          </p:cTn>
                        </p:par>
                        <p:par>
                          <p:cTn id="19" fill="hold">
                            <p:stCondLst>
                              <p:cond delay="1000"/>
                            </p:stCondLst>
                            <p:childTnLst>
                              <p:par>
                                <p:cTn id="20" presetID="53" presetClass="entr" presetSubtype="16" fill="hold" nodeType="afterEffect">
                                  <p:stCondLst>
                                    <p:cond delay="0"/>
                                  </p:stCondLst>
                                  <p:childTnLst>
                                    <p:set>
                                      <p:cBhvr>
                                        <p:cTn id="21" dur="1" fill="hold">
                                          <p:stCondLst>
                                            <p:cond delay="0"/>
                                          </p:stCondLst>
                                        </p:cTn>
                                        <p:tgtEl>
                                          <p:spTgt spid="178"/>
                                        </p:tgtEl>
                                        <p:attrNameLst>
                                          <p:attrName>style.visibility</p:attrName>
                                        </p:attrNameLst>
                                      </p:cBhvr>
                                      <p:to>
                                        <p:strVal val="visible"/>
                                      </p:to>
                                    </p:set>
                                    <p:anim calcmode="lin" valueType="num">
                                      <p:cBhvr>
                                        <p:cTn id="22" dur="500" fill="hold"/>
                                        <p:tgtEl>
                                          <p:spTgt spid="178"/>
                                        </p:tgtEl>
                                        <p:attrNameLst>
                                          <p:attrName>ppt_w</p:attrName>
                                        </p:attrNameLst>
                                      </p:cBhvr>
                                      <p:tavLst>
                                        <p:tav tm="0">
                                          <p:val>
                                            <p:fltVal val="0"/>
                                          </p:val>
                                        </p:tav>
                                        <p:tav tm="100000">
                                          <p:val>
                                            <p:strVal val="#ppt_w"/>
                                          </p:val>
                                        </p:tav>
                                      </p:tavLst>
                                    </p:anim>
                                    <p:anim calcmode="lin" valueType="num">
                                      <p:cBhvr>
                                        <p:cTn id="23" dur="500" fill="hold"/>
                                        <p:tgtEl>
                                          <p:spTgt spid="178"/>
                                        </p:tgtEl>
                                        <p:attrNameLst>
                                          <p:attrName>ppt_h</p:attrName>
                                        </p:attrNameLst>
                                      </p:cBhvr>
                                      <p:tavLst>
                                        <p:tav tm="0">
                                          <p:val>
                                            <p:fltVal val="0"/>
                                          </p:val>
                                        </p:tav>
                                        <p:tav tm="100000">
                                          <p:val>
                                            <p:strVal val="#ppt_h"/>
                                          </p:val>
                                        </p:tav>
                                      </p:tavLst>
                                    </p:anim>
                                    <p:animEffect transition="in" filter="fade">
                                      <p:cBhvr>
                                        <p:cTn id="24" dur="500"/>
                                        <p:tgtEl>
                                          <p:spTgt spid="178"/>
                                        </p:tgtEl>
                                      </p:cBhvr>
                                    </p:animEffect>
                                  </p:childTnLst>
                                </p:cTn>
                              </p:par>
                            </p:childTnLst>
                          </p:cTn>
                        </p:par>
                        <p:par>
                          <p:cTn id="25" fill="hold">
                            <p:stCondLst>
                              <p:cond delay="1500"/>
                            </p:stCondLst>
                            <p:childTnLst>
                              <p:par>
                                <p:cTn id="26" presetID="53" presetClass="entr" presetSubtype="16" fill="hold" nodeType="afterEffect">
                                  <p:stCondLst>
                                    <p:cond delay="0"/>
                                  </p:stCondLst>
                                  <p:childTnLst>
                                    <p:set>
                                      <p:cBhvr>
                                        <p:cTn id="27" dur="1" fill="hold">
                                          <p:stCondLst>
                                            <p:cond delay="0"/>
                                          </p:stCondLst>
                                        </p:cTn>
                                        <p:tgtEl>
                                          <p:spTgt spid="190"/>
                                        </p:tgtEl>
                                        <p:attrNameLst>
                                          <p:attrName>style.visibility</p:attrName>
                                        </p:attrNameLst>
                                      </p:cBhvr>
                                      <p:to>
                                        <p:strVal val="visible"/>
                                      </p:to>
                                    </p:set>
                                    <p:anim calcmode="lin" valueType="num">
                                      <p:cBhvr>
                                        <p:cTn id="28" dur="500" fill="hold"/>
                                        <p:tgtEl>
                                          <p:spTgt spid="190"/>
                                        </p:tgtEl>
                                        <p:attrNameLst>
                                          <p:attrName>ppt_w</p:attrName>
                                        </p:attrNameLst>
                                      </p:cBhvr>
                                      <p:tavLst>
                                        <p:tav tm="0">
                                          <p:val>
                                            <p:fltVal val="0"/>
                                          </p:val>
                                        </p:tav>
                                        <p:tav tm="100000">
                                          <p:val>
                                            <p:strVal val="#ppt_w"/>
                                          </p:val>
                                        </p:tav>
                                      </p:tavLst>
                                    </p:anim>
                                    <p:anim calcmode="lin" valueType="num">
                                      <p:cBhvr>
                                        <p:cTn id="29" dur="500" fill="hold"/>
                                        <p:tgtEl>
                                          <p:spTgt spid="190"/>
                                        </p:tgtEl>
                                        <p:attrNameLst>
                                          <p:attrName>ppt_h</p:attrName>
                                        </p:attrNameLst>
                                      </p:cBhvr>
                                      <p:tavLst>
                                        <p:tav tm="0">
                                          <p:val>
                                            <p:fltVal val="0"/>
                                          </p:val>
                                        </p:tav>
                                        <p:tav tm="100000">
                                          <p:val>
                                            <p:strVal val="#ppt_h"/>
                                          </p:val>
                                        </p:tav>
                                      </p:tavLst>
                                    </p:anim>
                                    <p:animEffect transition="in" filter="fade">
                                      <p:cBhvr>
                                        <p:cTn id="30" dur="500"/>
                                        <p:tgtEl>
                                          <p:spTgt spid="190"/>
                                        </p:tgtEl>
                                      </p:cBhvr>
                                    </p:animEffect>
                                  </p:childTnLst>
                                </p:cTn>
                              </p:par>
                            </p:childTnLst>
                          </p:cTn>
                        </p:par>
                        <p:par>
                          <p:cTn id="31" fill="hold">
                            <p:stCondLst>
                              <p:cond delay="2000"/>
                            </p:stCondLst>
                            <p:childTnLst>
                              <p:par>
                                <p:cTn id="32" presetID="53" presetClass="entr" presetSubtype="16" fill="hold" nodeType="afterEffect">
                                  <p:stCondLst>
                                    <p:cond delay="0"/>
                                  </p:stCondLst>
                                  <p:childTnLst>
                                    <p:set>
                                      <p:cBhvr>
                                        <p:cTn id="33" dur="1" fill="hold">
                                          <p:stCondLst>
                                            <p:cond delay="0"/>
                                          </p:stCondLst>
                                        </p:cTn>
                                        <p:tgtEl>
                                          <p:spTgt spid="202"/>
                                        </p:tgtEl>
                                        <p:attrNameLst>
                                          <p:attrName>style.visibility</p:attrName>
                                        </p:attrNameLst>
                                      </p:cBhvr>
                                      <p:to>
                                        <p:strVal val="visible"/>
                                      </p:to>
                                    </p:set>
                                    <p:anim calcmode="lin" valueType="num">
                                      <p:cBhvr>
                                        <p:cTn id="34" dur="500" fill="hold"/>
                                        <p:tgtEl>
                                          <p:spTgt spid="202"/>
                                        </p:tgtEl>
                                        <p:attrNameLst>
                                          <p:attrName>ppt_w</p:attrName>
                                        </p:attrNameLst>
                                      </p:cBhvr>
                                      <p:tavLst>
                                        <p:tav tm="0">
                                          <p:val>
                                            <p:fltVal val="0"/>
                                          </p:val>
                                        </p:tav>
                                        <p:tav tm="100000">
                                          <p:val>
                                            <p:strVal val="#ppt_w"/>
                                          </p:val>
                                        </p:tav>
                                      </p:tavLst>
                                    </p:anim>
                                    <p:anim calcmode="lin" valueType="num">
                                      <p:cBhvr>
                                        <p:cTn id="35" dur="500" fill="hold"/>
                                        <p:tgtEl>
                                          <p:spTgt spid="202"/>
                                        </p:tgtEl>
                                        <p:attrNameLst>
                                          <p:attrName>ppt_h</p:attrName>
                                        </p:attrNameLst>
                                      </p:cBhvr>
                                      <p:tavLst>
                                        <p:tav tm="0">
                                          <p:val>
                                            <p:fltVal val="0"/>
                                          </p:val>
                                        </p:tav>
                                        <p:tav tm="100000">
                                          <p:val>
                                            <p:strVal val="#ppt_h"/>
                                          </p:val>
                                        </p:tav>
                                      </p:tavLst>
                                    </p:anim>
                                    <p:animEffect transition="in" filter="fade">
                                      <p:cBhvr>
                                        <p:cTn id="36" dur="500"/>
                                        <p:tgtEl>
                                          <p:spTgt spid="202"/>
                                        </p:tgtEl>
                                      </p:cBhvr>
                                    </p:animEffect>
                                  </p:childTnLst>
                                </p:cTn>
                              </p:par>
                            </p:childTnLst>
                          </p:cTn>
                        </p:par>
                        <p:par>
                          <p:cTn id="37" fill="hold">
                            <p:stCondLst>
                              <p:cond delay="2500"/>
                            </p:stCondLst>
                            <p:childTnLst>
                              <p:par>
                                <p:cTn id="38" presetID="10" presetClass="entr" presetSubtype="0" fill="hold" grpId="0" nodeType="afterEffect">
                                  <p:stCondLst>
                                    <p:cond delay="0"/>
                                  </p:stCondLst>
                                  <p:childTnLst>
                                    <p:set>
                                      <p:cBhvr>
                                        <p:cTn id="39" dur="1" fill="hold">
                                          <p:stCondLst>
                                            <p:cond delay="0"/>
                                          </p:stCondLst>
                                        </p:cTn>
                                        <p:tgtEl>
                                          <p:spTgt spid="75"/>
                                        </p:tgtEl>
                                        <p:attrNameLst>
                                          <p:attrName>style.visibility</p:attrName>
                                        </p:attrNameLst>
                                      </p:cBhvr>
                                      <p:to>
                                        <p:strVal val="visible"/>
                                      </p:to>
                                    </p:set>
                                    <p:animEffect transition="in" filter="fade">
                                      <p:cBhvr>
                                        <p:cTn id="40" dur="500"/>
                                        <p:tgtEl>
                                          <p:spTgt spid="75"/>
                                        </p:tgtEl>
                                      </p:cBhvr>
                                    </p:animEffect>
                                  </p:childTnLst>
                                </p:cTn>
                              </p:par>
                            </p:childTnLst>
                          </p:cTn>
                        </p:par>
                        <p:par>
                          <p:cTn id="41" fill="hold">
                            <p:stCondLst>
                              <p:cond delay="3000"/>
                            </p:stCondLst>
                            <p:childTnLst>
                              <p:par>
                                <p:cTn id="42" presetID="53" presetClass="exit" presetSubtype="32" fill="hold" nodeType="afterEffect">
                                  <p:stCondLst>
                                    <p:cond delay="0"/>
                                  </p:stCondLst>
                                  <p:childTnLst>
                                    <p:anim calcmode="lin" valueType="num">
                                      <p:cBhvr>
                                        <p:cTn id="43" dur="500"/>
                                        <p:tgtEl>
                                          <p:spTgt spid="53"/>
                                        </p:tgtEl>
                                        <p:attrNameLst>
                                          <p:attrName>ppt_w</p:attrName>
                                        </p:attrNameLst>
                                      </p:cBhvr>
                                      <p:tavLst>
                                        <p:tav tm="0">
                                          <p:val>
                                            <p:strVal val="ppt_w"/>
                                          </p:val>
                                        </p:tav>
                                        <p:tav tm="100000">
                                          <p:val>
                                            <p:fltVal val="0"/>
                                          </p:val>
                                        </p:tav>
                                      </p:tavLst>
                                    </p:anim>
                                    <p:anim calcmode="lin" valueType="num">
                                      <p:cBhvr>
                                        <p:cTn id="44" dur="500"/>
                                        <p:tgtEl>
                                          <p:spTgt spid="53"/>
                                        </p:tgtEl>
                                        <p:attrNameLst>
                                          <p:attrName>ppt_h</p:attrName>
                                        </p:attrNameLst>
                                      </p:cBhvr>
                                      <p:tavLst>
                                        <p:tav tm="0">
                                          <p:val>
                                            <p:strVal val="ppt_h"/>
                                          </p:val>
                                        </p:tav>
                                        <p:tav tm="100000">
                                          <p:val>
                                            <p:fltVal val="0"/>
                                          </p:val>
                                        </p:tav>
                                      </p:tavLst>
                                    </p:anim>
                                    <p:animEffect transition="out" filter="fade">
                                      <p:cBhvr>
                                        <p:cTn id="45" dur="500"/>
                                        <p:tgtEl>
                                          <p:spTgt spid="53"/>
                                        </p:tgtEl>
                                      </p:cBhvr>
                                    </p:animEffect>
                                    <p:set>
                                      <p:cBhvr>
                                        <p:cTn id="46" dur="1" fill="hold">
                                          <p:stCondLst>
                                            <p:cond delay="499"/>
                                          </p:stCondLst>
                                        </p:cTn>
                                        <p:tgtEl>
                                          <p:spTgt spid="53"/>
                                        </p:tgtEl>
                                        <p:attrNameLst>
                                          <p:attrName>style.visibility</p:attrName>
                                        </p:attrNameLst>
                                      </p:cBhvr>
                                      <p:to>
                                        <p:strVal val="hidden"/>
                                      </p:to>
                                    </p:set>
                                  </p:childTnLst>
                                </p:cTn>
                              </p:par>
                              <p:par>
                                <p:cTn id="47" presetID="53" presetClass="exit" presetSubtype="32" fill="hold" nodeType="withEffect">
                                  <p:stCondLst>
                                    <p:cond delay="250"/>
                                  </p:stCondLst>
                                  <p:childTnLst>
                                    <p:anim calcmode="lin" valueType="num">
                                      <p:cBhvr>
                                        <p:cTn id="48" dur="500"/>
                                        <p:tgtEl>
                                          <p:spTgt spid="56"/>
                                        </p:tgtEl>
                                        <p:attrNameLst>
                                          <p:attrName>ppt_w</p:attrName>
                                        </p:attrNameLst>
                                      </p:cBhvr>
                                      <p:tavLst>
                                        <p:tav tm="0">
                                          <p:val>
                                            <p:strVal val="ppt_w"/>
                                          </p:val>
                                        </p:tav>
                                        <p:tav tm="100000">
                                          <p:val>
                                            <p:fltVal val="0"/>
                                          </p:val>
                                        </p:tav>
                                      </p:tavLst>
                                    </p:anim>
                                    <p:anim calcmode="lin" valueType="num">
                                      <p:cBhvr>
                                        <p:cTn id="49" dur="500"/>
                                        <p:tgtEl>
                                          <p:spTgt spid="56"/>
                                        </p:tgtEl>
                                        <p:attrNameLst>
                                          <p:attrName>ppt_h</p:attrName>
                                        </p:attrNameLst>
                                      </p:cBhvr>
                                      <p:tavLst>
                                        <p:tav tm="0">
                                          <p:val>
                                            <p:strVal val="ppt_h"/>
                                          </p:val>
                                        </p:tav>
                                        <p:tav tm="100000">
                                          <p:val>
                                            <p:fltVal val="0"/>
                                          </p:val>
                                        </p:tav>
                                      </p:tavLst>
                                    </p:anim>
                                    <p:animEffect transition="out" filter="fade">
                                      <p:cBhvr>
                                        <p:cTn id="50" dur="500"/>
                                        <p:tgtEl>
                                          <p:spTgt spid="56"/>
                                        </p:tgtEl>
                                      </p:cBhvr>
                                    </p:animEffect>
                                    <p:set>
                                      <p:cBhvr>
                                        <p:cTn id="51" dur="1" fill="hold">
                                          <p:stCondLst>
                                            <p:cond delay="499"/>
                                          </p:stCondLst>
                                        </p:cTn>
                                        <p:tgtEl>
                                          <p:spTgt spid="56"/>
                                        </p:tgtEl>
                                        <p:attrNameLst>
                                          <p:attrName>style.visibility</p:attrName>
                                        </p:attrNameLst>
                                      </p:cBhvr>
                                      <p:to>
                                        <p:strVal val="hidden"/>
                                      </p:to>
                                    </p:set>
                                  </p:childTnLst>
                                </p:cTn>
                              </p:par>
                              <p:par>
                                <p:cTn id="52" presetID="53" presetClass="exit" presetSubtype="32" fill="hold" nodeType="withEffect">
                                  <p:stCondLst>
                                    <p:cond delay="0"/>
                                  </p:stCondLst>
                                  <p:childTnLst>
                                    <p:anim calcmode="lin" valueType="num">
                                      <p:cBhvr>
                                        <p:cTn id="53" dur="500"/>
                                        <p:tgtEl>
                                          <p:spTgt spid="59"/>
                                        </p:tgtEl>
                                        <p:attrNameLst>
                                          <p:attrName>ppt_w</p:attrName>
                                        </p:attrNameLst>
                                      </p:cBhvr>
                                      <p:tavLst>
                                        <p:tav tm="0">
                                          <p:val>
                                            <p:strVal val="ppt_w"/>
                                          </p:val>
                                        </p:tav>
                                        <p:tav tm="100000">
                                          <p:val>
                                            <p:fltVal val="0"/>
                                          </p:val>
                                        </p:tav>
                                      </p:tavLst>
                                    </p:anim>
                                    <p:anim calcmode="lin" valueType="num">
                                      <p:cBhvr>
                                        <p:cTn id="54" dur="500"/>
                                        <p:tgtEl>
                                          <p:spTgt spid="59"/>
                                        </p:tgtEl>
                                        <p:attrNameLst>
                                          <p:attrName>ppt_h</p:attrName>
                                        </p:attrNameLst>
                                      </p:cBhvr>
                                      <p:tavLst>
                                        <p:tav tm="0">
                                          <p:val>
                                            <p:strVal val="ppt_h"/>
                                          </p:val>
                                        </p:tav>
                                        <p:tav tm="100000">
                                          <p:val>
                                            <p:fltVal val="0"/>
                                          </p:val>
                                        </p:tav>
                                      </p:tavLst>
                                    </p:anim>
                                    <p:animEffect transition="out" filter="fade">
                                      <p:cBhvr>
                                        <p:cTn id="55" dur="500"/>
                                        <p:tgtEl>
                                          <p:spTgt spid="59"/>
                                        </p:tgtEl>
                                      </p:cBhvr>
                                    </p:animEffect>
                                    <p:set>
                                      <p:cBhvr>
                                        <p:cTn id="56" dur="1" fill="hold">
                                          <p:stCondLst>
                                            <p:cond delay="499"/>
                                          </p:stCondLst>
                                        </p:cTn>
                                        <p:tgtEl>
                                          <p:spTgt spid="59"/>
                                        </p:tgtEl>
                                        <p:attrNameLst>
                                          <p:attrName>style.visibility</p:attrName>
                                        </p:attrNameLst>
                                      </p:cBhvr>
                                      <p:to>
                                        <p:strVal val="hidden"/>
                                      </p:to>
                                    </p:set>
                                  </p:childTnLst>
                                </p:cTn>
                              </p:par>
                              <p:par>
                                <p:cTn id="57" presetID="53" presetClass="exit" presetSubtype="32" fill="hold" nodeType="withEffect">
                                  <p:stCondLst>
                                    <p:cond delay="250"/>
                                  </p:stCondLst>
                                  <p:childTnLst>
                                    <p:anim calcmode="lin" valueType="num">
                                      <p:cBhvr>
                                        <p:cTn id="58" dur="500"/>
                                        <p:tgtEl>
                                          <p:spTgt spid="63"/>
                                        </p:tgtEl>
                                        <p:attrNameLst>
                                          <p:attrName>ppt_w</p:attrName>
                                        </p:attrNameLst>
                                      </p:cBhvr>
                                      <p:tavLst>
                                        <p:tav tm="0">
                                          <p:val>
                                            <p:strVal val="ppt_w"/>
                                          </p:val>
                                        </p:tav>
                                        <p:tav tm="100000">
                                          <p:val>
                                            <p:fltVal val="0"/>
                                          </p:val>
                                        </p:tav>
                                      </p:tavLst>
                                    </p:anim>
                                    <p:anim calcmode="lin" valueType="num">
                                      <p:cBhvr>
                                        <p:cTn id="59" dur="500"/>
                                        <p:tgtEl>
                                          <p:spTgt spid="63"/>
                                        </p:tgtEl>
                                        <p:attrNameLst>
                                          <p:attrName>ppt_h</p:attrName>
                                        </p:attrNameLst>
                                      </p:cBhvr>
                                      <p:tavLst>
                                        <p:tav tm="0">
                                          <p:val>
                                            <p:strVal val="ppt_h"/>
                                          </p:val>
                                        </p:tav>
                                        <p:tav tm="100000">
                                          <p:val>
                                            <p:fltVal val="0"/>
                                          </p:val>
                                        </p:tav>
                                      </p:tavLst>
                                    </p:anim>
                                    <p:animEffect transition="out" filter="fade">
                                      <p:cBhvr>
                                        <p:cTn id="60" dur="500"/>
                                        <p:tgtEl>
                                          <p:spTgt spid="63"/>
                                        </p:tgtEl>
                                      </p:cBhvr>
                                    </p:animEffect>
                                    <p:set>
                                      <p:cBhvr>
                                        <p:cTn id="61" dur="1" fill="hold">
                                          <p:stCondLst>
                                            <p:cond delay="499"/>
                                          </p:stCondLst>
                                        </p:cTn>
                                        <p:tgtEl>
                                          <p:spTgt spid="63"/>
                                        </p:tgtEl>
                                        <p:attrNameLst>
                                          <p:attrName>style.visibility</p:attrName>
                                        </p:attrNameLst>
                                      </p:cBhvr>
                                      <p:to>
                                        <p:strVal val="hidden"/>
                                      </p:to>
                                    </p:set>
                                  </p:childTnLst>
                                </p:cTn>
                              </p:par>
                              <p:par>
                                <p:cTn id="62" presetID="53" presetClass="exit" presetSubtype="32" fill="hold" nodeType="withEffect">
                                  <p:stCondLst>
                                    <p:cond delay="500"/>
                                  </p:stCondLst>
                                  <p:childTnLst>
                                    <p:anim calcmode="lin" valueType="num">
                                      <p:cBhvr>
                                        <p:cTn id="63" dur="500"/>
                                        <p:tgtEl>
                                          <p:spTgt spid="66"/>
                                        </p:tgtEl>
                                        <p:attrNameLst>
                                          <p:attrName>ppt_w</p:attrName>
                                        </p:attrNameLst>
                                      </p:cBhvr>
                                      <p:tavLst>
                                        <p:tav tm="0">
                                          <p:val>
                                            <p:strVal val="ppt_w"/>
                                          </p:val>
                                        </p:tav>
                                        <p:tav tm="100000">
                                          <p:val>
                                            <p:fltVal val="0"/>
                                          </p:val>
                                        </p:tav>
                                      </p:tavLst>
                                    </p:anim>
                                    <p:anim calcmode="lin" valueType="num">
                                      <p:cBhvr>
                                        <p:cTn id="64" dur="500"/>
                                        <p:tgtEl>
                                          <p:spTgt spid="66"/>
                                        </p:tgtEl>
                                        <p:attrNameLst>
                                          <p:attrName>ppt_h</p:attrName>
                                        </p:attrNameLst>
                                      </p:cBhvr>
                                      <p:tavLst>
                                        <p:tav tm="0">
                                          <p:val>
                                            <p:strVal val="ppt_h"/>
                                          </p:val>
                                        </p:tav>
                                        <p:tav tm="100000">
                                          <p:val>
                                            <p:fltVal val="0"/>
                                          </p:val>
                                        </p:tav>
                                      </p:tavLst>
                                    </p:anim>
                                    <p:animEffect transition="out" filter="fade">
                                      <p:cBhvr>
                                        <p:cTn id="65" dur="500"/>
                                        <p:tgtEl>
                                          <p:spTgt spid="66"/>
                                        </p:tgtEl>
                                      </p:cBhvr>
                                    </p:animEffect>
                                    <p:set>
                                      <p:cBhvr>
                                        <p:cTn id="66" dur="1" fill="hold">
                                          <p:stCondLst>
                                            <p:cond delay="499"/>
                                          </p:stCondLst>
                                        </p:cTn>
                                        <p:tgtEl>
                                          <p:spTgt spid="66"/>
                                        </p:tgtEl>
                                        <p:attrNameLst>
                                          <p:attrName>style.visibility</p:attrName>
                                        </p:attrNameLst>
                                      </p:cBhvr>
                                      <p:to>
                                        <p:strVal val="hidden"/>
                                      </p:to>
                                    </p:set>
                                  </p:childTnLst>
                                </p:cTn>
                              </p:par>
                              <p:par>
                                <p:cTn id="67" presetID="53" presetClass="exit" presetSubtype="32" fill="hold" nodeType="withEffect">
                                  <p:stCondLst>
                                    <p:cond delay="250"/>
                                  </p:stCondLst>
                                  <p:childTnLst>
                                    <p:anim calcmode="lin" valueType="num">
                                      <p:cBhvr>
                                        <p:cTn id="68" dur="500"/>
                                        <p:tgtEl>
                                          <p:spTgt spid="69"/>
                                        </p:tgtEl>
                                        <p:attrNameLst>
                                          <p:attrName>ppt_w</p:attrName>
                                        </p:attrNameLst>
                                      </p:cBhvr>
                                      <p:tavLst>
                                        <p:tav tm="0">
                                          <p:val>
                                            <p:strVal val="ppt_w"/>
                                          </p:val>
                                        </p:tav>
                                        <p:tav tm="100000">
                                          <p:val>
                                            <p:fltVal val="0"/>
                                          </p:val>
                                        </p:tav>
                                      </p:tavLst>
                                    </p:anim>
                                    <p:anim calcmode="lin" valueType="num">
                                      <p:cBhvr>
                                        <p:cTn id="69" dur="500"/>
                                        <p:tgtEl>
                                          <p:spTgt spid="69"/>
                                        </p:tgtEl>
                                        <p:attrNameLst>
                                          <p:attrName>ppt_h</p:attrName>
                                        </p:attrNameLst>
                                      </p:cBhvr>
                                      <p:tavLst>
                                        <p:tav tm="0">
                                          <p:val>
                                            <p:strVal val="ppt_h"/>
                                          </p:val>
                                        </p:tav>
                                        <p:tav tm="100000">
                                          <p:val>
                                            <p:fltVal val="0"/>
                                          </p:val>
                                        </p:tav>
                                      </p:tavLst>
                                    </p:anim>
                                    <p:animEffect transition="out" filter="fade">
                                      <p:cBhvr>
                                        <p:cTn id="70" dur="500"/>
                                        <p:tgtEl>
                                          <p:spTgt spid="69"/>
                                        </p:tgtEl>
                                      </p:cBhvr>
                                    </p:animEffect>
                                    <p:set>
                                      <p:cBhvr>
                                        <p:cTn id="71" dur="1" fill="hold">
                                          <p:stCondLst>
                                            <p:cond delay="499"/>
                                          </p:stCondLst>
                                        </p:cTn>
                                        <p:tgtEl>
                                          <p:spTgt spid="69"/>
                                        </p:tgtEl>
                                        <p:attrNameLst>
                                          <p:attrName>style.visibility</p:attrName>
                                        </p:attrNameLst>
                                      </p:cBhvr>
                                      <p:to>
                                        <p:strVal val="hidden"/>
                                      </p:to>
                                    </p:set>
                                  </p:childTnLst>
                                </p:cTn>
                              </p:par>
                            </p:childTnLst>
                          </p:cTn>
                        </p:par>
                        <p:par>
                          <p:cTn id="72" fill="hold">
                            <p:stCondLst>
                              <p:cond delay="4000"/>
                            </p:stCondLst>
                            <p:childTnLst>
                              <p:par>
                                <p:cTn id="73" presetID="53" presetClass="entr" presetSubtype="16" fill="hold" nodeType="afterEffect">
                                  <p:stCondLst>
                                    <p:cond delay="0"/>
                                  </p:stCondLst>
                                  <p:childTnLst>
                                    <p:set>
                                      <p:cBhvr>
                                        <p:cTn id="74" dur="1" fill="hold">
                                          <p:stCondLst>
                                            <p:cond delay="0"/>
                                          </p:stCondLst>
                                        </p:cTn>
                                        <p:tgtEl>
                                          <p:spTgt spid="98"/>
                                        </p:tgtEl>
                                        <p:attrNameLst>
                                          <p:attrName>style.visibility</p:attrName>
                                        </p:attrNameLst>
                                      </p:cBhvr>
                                      <p:to>
                                        <p:strVal val="visible"/>
                                      </p:to>
                                    </p:set>
                                    <p:anim calcmode="lin" valueType="num">
                                      <p:cBhvr>
                                        <p:cTn id="75" dur="500" fill="hold"/>
                                        <p:tgtEl>
                                          <p:spTgt spid="98"/>
                                        </p:tgtEl>
                                        <p:attrNameLst>
                                          <p:attrName>ppt_w</p:attrName>
                                        </p:attrNameLst>
                                      </p:cBhvr>
                                      <p:tavLst>
                                        <p:tav tm="0">
                                          <p:val>
                                            <p:fltVal val="0"/>
                                          </p:val>
                                        </p:tav>
                                        <p:tav tm="100000">
                                          <p:val>
                                            <p:strVal val="#ppt_w"/>
                                          </p:val>
                                        </p:tav>
                                      </p:tavLst>
                                    </p:anim>
                                    <p:anim calcmode="lin" valueType="num">
                                      <p:cBhvr>
                                        <p:cTn id="76" dur="500" fill="hold"/>
                                        <p:tgtEl>
                                          <p:spTgt spid="98"/>
                                        </p:tgtEl>
                                        <p:attrNameLst>
                                          <p:attrName>ppt_h</p:attrName>
                                        </p:attrNameLst>
                                      </p:cBhvr>
                                      <p:tavLst>
                                        <p:tav tm="0">
                                          <p:val>
                                            <p:fltVal val="0"/>
                                          </p:val>
                                        </p:tav>
                                        <p:tav tm="100000">
                                          <p:val>
                                            <p:strVal val="#ppt_h"/>
                                          </p:val>
                                        </p:tav>
                                      </p:tavLst>
                                    </p:anim>
                                    <p:animEffect transition="in" filter="fade">
                                      <p:cBhvr>
                                        <p:cTn id="77" dur="500"/>
                                        <p:tgtEl>
                                          <p:spTgt spid="98"/>
                                        </p:tgtEl>
                                      </p:cBhvr>
                                    </p:animEffect>
                                  </p:childTnLst>
                                </p:cTn>
                              </p:par>
                              <p:par>
                                <p:cTn id="78" presetID="53" presetClass="entr" presetSubtype="16" fill="hold" nodeType="withEffect">
                                  <p:stCondLst>
                                    <p:cond delay="0"/>
                                  </p:stCondLst>
                                  <p:childTnLst>
                                    <p:set>
                                      <p:cBhvr>
                                        <p:cTn id="79" dur="1" fill="hold">
                                          <p:stCondLst>
                                            <p:cond delay="0"/>
                                          </p:stCondLst>
                                        </p:cTn>
                                        <p:tgtEl>
                                          <p:spTgt spid="136"/>
                                        </p:tgtEl>
                                        <p:attrNameLst>
                                          <p:attrName>style.visibility</p:attrName>
                                        </p:attrNameLst>
                                      </p:cBhvr>
                                      <p:to>
                                        <p:strVal val="visible"/>
                                      </p:to>
                                    </p:set>
                                    <p:anim calcmode="lin" valueType="num">
                                      <p:cBhvr>
                                        <p:cTn id="80" dur="500" fill="hold"/>
                                        <p:tgtEl>
                                          <p:spTgt spid="136"/>
                                        </p:tgtEl>
                                        <p:attrNameLst>
                                          <p:attrName>ppt_w</p:attrName>
                                        </p:attrNameLst>
                                      </p:cBhvr>
                                      <p:tavLst>
                                        <p:tav tm="0">
                                          <p:val>
                                            <p:fltVal val="0"/>
                                          </p:val>
                                        </p:tav>
                                        <p:tav tm="100000">
                                          <p:val>
                                            <p:strVal val="#ppt_w"/>
                                          </p:val>
                                        </p:tav>
                                      </p:tavLst>
                                    </p:anim>
                                    <p:anim calcmode="lin" valueType="num">
                                      <p:cBhvr>
                                        <p:cTn id="81" dur="500" fill="hold"/>
                                        <p:tgtEl>
                                          <p:spTgt spid="136"/>
                                        </p:tgtEl>
                                        <p:attrNameLst>
                                          <p:attrName>ppt_h</p:attrName>
                                        </p:attrNameLst>
                                      </p:cBhvr>
                                      <p:tavLst>
                                        <p:tav tm="0">
                                          <p:val>
                                            <p:fltVal val="0"/>
                                          </p:val>
                                        </p:tav>
                                        <p:tav tm="100000">
                                          <p:val>
                                            <p:strVal val="#ppt_h"/>
                                          </p:val>
                                        </p:tav>
                                      </p:tavLst>
                                    </p:anim>
                                    <p:animEffect transition="in" filter="fade">
                                      <p:cBhvr>
                                        <p:cTn id="82" dur="500"/>
                                        <p:tgtEl>
                                          <p:spTgt spid="136"/>
                                        </p:tgtEl>
                                      </p:cBhvr>
                                    </p:animEffect>
                                  </p:childTnLst>
                                </p:cTn>
                              </p:par>
                              <p:par>
                                <p:cTn id="83" presetID="53" presetClass="entr" presetSubtype="16" fill="hold" nodeType="withEffect">
                                  <p:stCondLst>
                                    <p:cond delay="0"/>
                                  </p:stCondLst>
                                  <p:childTnLst>
                                    <p:set>
                                      <p:cBhvr>
                                        <p:cTn id="84" dur="1" fill="hold">
                                          <p:stCondLst>
                                            <p:cond delay="0"/>
                                          </p:stCondLst>
                                        </p:cTn>
                                        <p:tgtEl>
                                          <p:spTgt spid="151"/>
                                        </p:tgtEl>
                                        <p:attrNameLst>
                                          <p:attrName>style.visibility</p:attrName>
                                        </p:attrNameLst>
                                      </p:cBhvr>
                                      <p:to>
                                        <p:strVal val="visible"/>
                                      </p:to>
                                    </p:set>
                                    <p:anim calcmode="lin" valueType="num">
                                      <p:cBhvr>
                                        <p:cTn id="85" dur="500" fill="hold"/>
                                        <p:tgtEl>
                                          <p:spTgt spid="151"/>
                                        </p:tgtEl>
                                        <p:attrNameLst>
                                          <p:attrName>ppt_w</p:attrName>
                                        </p:attrNameLst>
                                      </p:cBhvr>
                                      <p:tavLst>
                                        <p:tav tm="0">
                                          <p:val>
                                            <p:fltVal val="0"/>
                                          </p:val>
                                        </p:tav>
                                        <p:tav tm="100000">
                                          <p:val>
                                            <p:strVal val="#ppt_w"/>
                                          </p:val>
                                        </p:tav>
                                      </p:tavLst>
                                    </p:anim>
                                    <p:anim calcmode="lin" valueType="num">
                                      <p:cBhvr>
                                        <p:cTn id="86" dur="500" fill="hold"/>
                                        <p:tgtEl>
                                          <p:spTgt spid="151"/>
                                        </p:tgtEl>
                                        <p:attrNameLst>
                                          <p:attrName>ppt_h</p:attrName>
                                        </p:attrNameLst>
                                      </p:cBhvr>
                                      <p:tavLst>
                                        <p:tav tm="0">
                                          <p:val>
                                            <p:fltVal val="0"/>
                                          </p:val>
                                        </p:tav>
                                        <p:tav tm="100000">
                                          <p:val>
                                            <p:strVal val="#ppt_h"/>
                                          </p:val>
                                        </p:tav>
                                      </p:tavLst>
                                    </p:anim>
                                    <p:animEffect transition="in" filter="fade">
                                      <p:cBhvr>
                                        <p:cTn id="87" dur="500"/>
                                        <p:tgtEl>
                                          <p:spTgt spid="151"/>
                                        </p:tgtEl>
                                      </p:cBhvr>
                                    </p:animEffect>
                                  </p:childTnLst>
                                </p:cTn>
                              </p:par>
                              <p:par>
                                <p:cTn id="88" presetID="53" presetClass="entr" presetSubtype="16" fill="hold" nodeType="withEffect">
                                  <p:stCondLst>
                                    <p:cond delay="250"/>
                                  </p:stCondLst>
                                  <p:childTnLst>
                                    <p:set>
                                      <p:cBhvr>
                                        <p:cTn id="89" dur="1" fill="hold">
                                          <p:stCondLst>
                                            <p:cond delay="0"/>
                                          </p:stCondLst>
                                        </p:cTn>
                                        <p:tgtEl>
                                          <p:spTgt spid="160"/>
                                        </p:tgtEl>
                                        <p:attrNameLst>
                                          <p:attrName>style.visibility</p:attrName>
                                        </p:attrNameLst>
                                      </p:cBhvr>
                                      <p:to>
                                        <p:strVal val="visible"/>
                                      </p:to>
                                    </p:set>
                                    <p:anim calcmode="lin" valueType="num">
                                      <p:cBhvr>
                                        <p:cTn id="90" dur="500" fill="hold"/>
                                        <p:tgtEl>
                                          <p:spTgt spid="160"/>
                                        </p:tgtEl>
                                        <p:attrNameLst>
                                          <p:attrName>ppt_w</p:attrName>
                                        </p:attrNameLst>
                                      </p:cBhvr>
                                      <p:tavLst>
                                        <p:tav tm="0">
                                          <p:val>
                                            <p:fltVal val="0"/>
                                          </p:val>
                                        </p:tav>
                                        <p:tav tm="100000">
                                          <p:val>
                                            <p:strVal val="#ppt_w"/>
                                          </p:val>
                                        </p:tav>
                                      </p:tavLst>
                                    </p:anim>
                                    <p:anim calcmode="lin" valueType="num">
                                      <p:cBhvr>
                                        <p:cTn id="91" dur="500" fill="hold"/>
                                        <p:tgtEl>
                                          <p:spTgt spid="160"/>
                                        </p:tgtEl>
                                        <p:attrNameLst>
                                          <p:attrName>ppt_h</p:attrName>
                                        </p:attrNameLst>
                                      </p:cBhvr>
                                      <p:tavLst>
                                        <p:tav tm="0">
                                          <p:val>
                                            <p:fltVal val="0"/>
                                          </p:val>
                                        </p:tav>
                                        <p:tav tm="100000">
                                          <p:val>
                                            <p:strVal val="#ppt_h"/>
                                          </p:val>
                                        </p:tav>
                                      </p:tavLst>
                                    </p:anim>
                                    <p:animEffect transition="in" filter="fade">
                                      <p:cBhvr>
                                        <p:cTn id="92" dur="500"/>
                                        <p:tgtEl>
                                          <p:spTgt spid="160"/>
                                        </p:tgtEl>
                                      </p:cBhvr>
                                    </p:animEffect>
                                  </p:childTnLst>
                                </p:cTn>
                              </p:par>
                              <p:par>
                                <p:cTn id="93" presetID="53" presetClass="entr" presetSubtype="16" fill="hold" nodeType="withEffect">
                                  <p:stCondLst>
                                    <p:cond delay="250"/>
                                  </p:stCondLst>
                                  <p:childTnLst>
                                    <p:set>
                                      <p:cBhvr>
                                        <p:cTn id="94" dur="1" fill="hold">
                                          <p:stCondLst>
                                            <p:cond delay="0"/>
                                          </p:stCondLst>
                                        </p:cTn>
                                        <p:tgtEl>
                                          <p:spTgt spid="115"/>
                                        </p:tgtEl>
                                        <p:attrNameLst>
                                          <p:attrName>style.visibility</p:attrName>
                                        </p:attrNameLst>
                                      </p:cBhvr>
                                      <p:to>
                                        <p:strVal val="visible"/>
                                      </p:to>
                                    </p:set>
                                    <p:anim calcmode="lin" valueType="num">
                                      <p:cBhvr>
                                        <p:cTn id="95" dur="500" fill="hold"/>
                                        <p:tgtEl>
                                          <p:spTgt spid="115"/>
                                        </p:tgtEl>
                                        <p:attrNameLst>
                                          <p:attrName>ppt_w</p:attrName>
                                        </p:attrNameLst>
                                      </p:cBhvr>
                                      <p:tavLst>
                                        <p:tav tm="0">
                                          <p:val>
                                            <p:fltVal val="0"/>
                                          </p:val>
                                        </p:tav>
                                        <p:tav tm="100000">
                                          <p:val>
                                            <p:strVal val="#ppt_w"/>
                                          </p:val>
                                        </p:tav>
                                      </p:tavLst>
                                    </p:anim>
                                    <p:anim calcmode="lin" valueType="num">
                                      <p:cBhvr>
                                        <p:cTn id="96" dur="500" fill="hold"/>
                                        <p:tgtEl>
                                          <p:spTgt spid="115"/>
                                        </p:tgtEl>
                                        <p:attrNameLst>
                                          <p:attrName>ppt_h</p:attrName>
                                        </p:attrNameLst>
                                      </p:cBhvr>
                                      <p:tavLst>
                                        <p:tav tm="0">
                                          <p:val>
                                            <p:fltVal val="0"/>
                                          </p:val>
                                        </p:tav>
                                        <p:tav tm="100000">
                                          <p:val>
                                            <p:strVal val="#ppt_h"/>
                                          </p:val>
                                        </p:tav>
                                      </p:tavLst>
                                    </p:anim>
                                    <p:animEffect transition="in" filter="fade">
                                      <p:cBhvr>
                                        <p:cTn id="97" dur="500"/>
                                        <p:tgtEl>
                                          <p:spTgt spid="115"/>
                                        </p:tgtEl>
                                      </p:cBhvr>
                                    </p:animEffect>
                                  </p:childTnLst>
                                </p:cTn>
                              </p:par>
                              <p:par>
                                <p:cTn id="98" presetID="53" presetClass="entr" presetSubtype="16" fill="hold" nodeType="withEffect">
                                  <p:stCondLst>
                                    <p:cond delay="250"/>
                                  </p:stCondLst>
                                  <p:childTnLst>
                                    <p:set>
                                      <p:cBhvr>
                                        <p:cTn id="99" dur="1" fill="hold">
                                          <p:stCondLst>
                                            <p:cond delay="0"/>
                                          </p:stCondLst>
                                        </p:cTn>
                                        <p:tgtEl>
                                          <p:spTgt spid="124"/>
                                        </p:tgtEl>
                                        <p:attrNameLst>
                                          <p:attrName>style.visibility</p:attrName>
                                        </p:attrNameLst>
                                      </p:cBhvr>
                                      <p:to>
                                        <p:strVal val="visible"/>
                                      </p:to>
                                    </p:set>
                                    <p:anim calcmode="lin" valueType="num">
                                      <p:cBhvr>
                                        <p:cTn id="100" dur="500" fill="hold"/>
                                        <p:tgtEl>
                                          <p:spTgt spid="124"/>
                                        </p:tgtEl>
                                        <p:attrNameLst>
                                          <p:attrName>ppt_w</p:attrName>
                                        </p:attrNameLst>
                                      </p:cBhvr>
                                      <p:tavLst>
                                        <p:tav tm="0">
                                          <p:val>
                                            <p:fltVal val="0"/>
                                          </p:val>
                                        </p:tav>
                                        <p:tav tm="100000">
                                          <p:val>
                                            <p:strVal val="#ppt_w"/>
                                          </p:val>
                                        </p:tav>
                                      </p:tavLst>
                                    </p:anim>
                                    <p:anim calcmode="lin" valueType="num">
                                      <p:cBhvr>
                                        <p:cTn id="101" dur="500" fill="hold"/>
                                        <p:tgtEl>
                                          <p:spTgt spid="124"/>
                                        </p:tgtEl>
                                        <p:attrNameLst>
                                          <p:attrName>ppt_h</p:attrName>
                                        </p:attrNameLst>
                                      </p:cBhvr>
                                      <p:tavLst>
                                        <p:tav tm="0">
                                          <p:val>
                                            <p:fltVal val="0"/>
                                          </p:val>
                                        </p:tav>
                                        <p:tav tm="100000">
                                          <p:val>
                                            <p:strVal val="#ppt_h"/>
                                          </p:val>
                                        </p:tav>
                                      </p:tavLst>
                                    </p:anim>
                                    <p:animEffect transition="in" filter="fade">
                                      <p:cBhvr>
                                        <p:cTn id="102" dur="500"/>
                                        <p:tgtEl>
                                          <p:spTgt spid="124"/>
                                        </p:tgtEl>
                                      </p:cBhvr>
                                    </p:animEffect>
                                  </p:childTnLst>
                                </p:cTn>
                              </p:par>
                              <p:par>
                                <p:cTn id="103" presetID="53" presetClass="entr" presetSubtype="16" fill="hold" nodeType="withEffect">
                                  <p:stCondLst>
                                    <p:cond delay="750"/>
                                  </p:stCondLst>
                                  <p:childTnLst>
                                    <p:set>
                                      <p:cBhvr>
                                        <p:cTn id="104" dur="1" fill="hold">
                                          <p:stCondLst>
                                            <p:cond delay="0"/>
                                          </p:stCondLst>
                                        </p:cTn>
                                        <p:tgtEl>
                                          <p:spTgt spid="104"/>
                                        </p:tgtEl>
                                        <p:attrNameLst>
                                          <p:attrName>style.visibility</p:attrName>
                                        </p:attrNameLst>
                                      </p:cBhvr>
                                      <p:to>
                                        <p:strVal val="visible"/>
                                      </p:to>
                                    </p:set>
                                    <p:anim calcmode="lin" valueType="num">
                                      <p:cBhvr>
                                        <p:cTn id="105" dur="500" fill="hold"/>
                                        <p:tgtEl>
                                          <p:spTgt spid="104"/>
                                        </p:tgtEl>
                                        <p:attrNameLst>
                                          <p:attrName>ppt_w</p:attrName>
                                        </p:attrNameLst>
                                      </p:cBhvr>
                                      <p:tavLst>
                                        <p:tav tm="0">
                                          <p:val>
                                            <p:fltVal val="0"/>
                                          </p:val>
                                        </p:tav>
                                        <p:tav tm="100000">
                                          <p:val>
                                            <p:strVal val="#ppt_w"/>
                                          </p:val>
                                        </p:tav>
                                      </p:tavLst>
                                    </p:anim>
                                    <p:anim calcmode="lin" valueType="num">
                                      <p:cBhvr>
                                        <p:cTn id="106" dur="500" fill="hold"/>
                                        <p:tgtEl>
                                          <p:spTgt spid="104"/>
                                        </p:tgtEl>
                                        <p:attrNameLst>
                                          <p:attrName>ppt_h</p:attrName>
                                        </p:attrNameLst>
                                      </p:cBhvr>
                                      <p:tavLst>
                                        <p:tav tm="0">
                                          <p:val>
                                            <p:fltVal val="0"/>
                                          </p:val>
                                        </p:tav>
                                        <p:tav tm="100000">
                                          <p:val>
                                            <p:strVal val="#ppt_h"/>
                                          </p:val>
                                        </p:tav>
                                      </p:tavLst>
                                    </p:anim>
                                    <p:animEffect transition="in" filter="fade">
                                      <p:cBhvr>
                                        <p:cTn id="107" dur="500"/>
                                        <p:tgtEl>
                                          <p:spTgt spid="104"/>
                                        </p:tgtEl>
                                      </p:cBhvr>
                                    </p:animEffect>
                                  </p:childTnLst>
                                </p:cTn>
                              </p:par>
                              <p:par>
                                <p:cTn id="108" presetID="53" presetClass="entr" presetSubtype="16" fill="hold" nodeType="withEffect">
                                  <p:stCondLst>
                                    <p:cond delay="750"/>
                                  </p:stCondLst>
                                  <p:childTnLst>
                                    <p:set>
                                      <p:cBhvr>
                                        <p:cTn id="109" dur="1" fill="hold">
                                          <p:stCondLst>
                                            <p:cond delay="0"/>
                                          </p:stCondLst>
                                        </p:cTn>
                                        <p:tgtEl>
                                          <p:spTgt spid="127"/>
                                        </p:tgtEl>
                                        <p:attrNameLst>
                                          <p:attrName>style.visibility</p:attrName>
                                        </p:attrNameLst>
                                      </p:cBhvr>
                                      <p:to>
                                        <p:strVal val="visible"/>
                                      </p:to>
                                    </p:set>
                                    <p:anim calcmode="lin" valueType="num">
                                      <p:cBhvr>
                                        <p:cTn id="110" dur="500" fill="hold"/>
                                        <p:tgtEl>
                                          <p:spTgt spid="127"/>
                                        </p:tgtEl>
                                        <p:attrNameLst>
                                          <p:attrName>ppt_w</p:attrName>
                                        </p:attrNameLst>
                                      </p:cBhvr>
                                      <p:tavLst>
                                        <p:tav tm="0">
                                          <p:val>
                                            <p:fltVal val="0"/>
                                          </p:val>
                                        </p:tav>
                                        <p:tav tm="100000">
                                          <p:val>
                                            <p:strVal val="#ppt_w"/>
                                          </p:val>
                                        </p:tav>
                                      </p:tavLst>
                                    </p:anim>
                                    <p:anim calcmode="lin" valueType="num">
                                      <p:cBhvr>
                                        <p:cTn id="111" dur="500" fill="hold"/>
                                        <p:tgtEl>
                                          <p:spTgt spid="127"/>
                                        </p:tgtEl>
                                        <p:attrNameLst>
                                          <p:attrName>ppt_h</p:attrName>
                                        </p:attrNameLst>
                                      </p:cBhvr>
                                      <p:tavLst>
                                        <p:tav tm="0">
                                          <p:val>
                                            <p:fltVal val="0"/>
                                          </p:val>
                                        </p:tav>
                                        <p:tav tm="100000">
                                          <p:val>
                                            <p:strVal val="#ppt_h"/>
                                          </p:val>
                                        </p:tav>
                                      </p:tavLst>
                                    </p:anim>
                                    <p:animEffect transition="in" filter="fade">
                                      <p:cBhvr>
                                        <p:cTn id="112" dur="500"/>
                                        <p:tgtEl>
                                          <p:spTgt spid="127"/>
                                        </p:tgtEl>
                                      </p:cBhvr>
                                    </p:animEffect>
                                  </p:childTnLst>
                                </p:cTn>
                              </p:par>
                              <p:par>
                                <p:cTn id="113" presetID="53" presetClass="entr" presetSubtype="16" fill="hold" nodeType="withEffect">
                                  <p:stCondLst>
                                    <p:cond delay="750"/>
                                  </p:stCondLst>
                                  <p:childTnLst>
                                    <p:set>
                                      <p:cBhvr>
                                        <p:cTn id="114" dur="1" fill="hold">
                                          <p:stCondLst>
                                            <p:cond delay="0"/>
                                          </p:stCondLst>
                                        </p:cTn>
                                        <p:tgtEl>
                                          <p:spTgt spid="118"/>
                                        </p:tgtEl>
                                        <p:attrNameLst>
                                          <p:attrName>style.visibility</p:attrName>
                                        </p:attrNameLst>
                                      </p:cBhvr>
                                      <p:to>
                                        <p:strVal val="visible"/>
                                      </p:to>
                                    </p:set>
                                    <p:anim calcmode="lin" valueType="num">
                                      <p:cBhvr>
                                        <p:cTn id="115" dur="500" fill="hold"/>
                                        <p:tgtEl>
                                          <p:spTgt spid="118"/>
                                        </p:tgtEl>
                                        <p:attrNameLst>
                                          <p:attrName>ppt_w</p:attrName>
                                        </p:attrNameLst>
                                      </p:cBhvr>
                                      <p:tavLst>
                                        <p:tav tm="0">
                                          <p:val>
                                            <p:fltVal val="0"/>
                                          </p:val>
                                        </p:tav>
                                        <p:tav tm="100000">
                                          <p:val>
                                            <p:strVal val="#ppt_w"/>
                                          </p:val>
                                        </p:tav>
                                      </p:tavLst>
                                    </p:anim>
                                    <p:anim calcmode="lin" valueType="num">
                                      <p:cBhvr>
                                        <p:cTn id="116" dur="500" fill="hold"/>
                                        <p:tgtEl>
                                          <p:spTgt spid="118"/>
                                        </p:tgtEl>
                                        <p:attrNameLst>
                                          <p:attrName>ppt_h</p:attrName>
                                        </p:attrNameLst>
                                      </p:cBhvr>
                                      <p:tavLst>
                                        <p:tav tm="0">
                                          <p:val>
                                            <p:fltVal val="0"/>
                                          </p:val>
                                        </p:tav>
                                        <p:tav tm="100000">
                                          <p:val>
                                            <p:strVal val="#ppt_h"/>
                                          </p:val>
                                        </p:tav>
                                      </p:tavLst>
                                    </p:anim>
                                    <p:animEffect transition="in" filter="fade">
                                      <p:cBhvr>
                                        <p:cTn id="117" dur="500"/>
                                        <p:tgtEl>
                                          <p:spTgt spid="118"/>
                                        </p:tgtEl>
                                      </p:cBhvr>
                                    </p:animEffect>
                                  </p:childTnLst>
                                </p:cTn>
                              </p:par>
                              <p:par>
                                <p:cTn id="118" presetID="53" presetClass="entr" presetSubtype="16" fill="hold" nodeType="withEffect">
                                  <p:stCondLst>
                                    <p:cond delay="0"/>
                                  </p:stCondLst>
                                  <p:childTnLst>
                                    <p:set>
                                      <p:cBhvr>
                                        <p:cTn id="119" dur="1" fill="hold">
                                          <p:stCondLst>
                                            <p:cond delay="0"/>
                                          </p:stCondLst>
                                        </p:cTn>
                                        <p:tgtEl>
                                          <p:spTgt spid="133"/>
                                        </p:tgtEl>
                                        <p:attrNameLst>
                                          <p:attrName>style.visibility</p:attrName>
                                        </p:attrNameLst>
                                      </p:cBhvr>
                                      <p:to>
                                        <p:strVal val="visible"/>
                                      </p:to>
                                    </p:set>
                                    <p:anim calcmode="lin" valueType="num">
                                      <p:cBhvr>
                                        <p:cTn id="120" dur="500" fill="hold"/>
                                        <p:tgtEl>
                                          <p:spTgt spid="133"/>
                                        </p:tgtEl>
                                        <p:attrNameLst>
                                          <p:attrName>ppt_w</p:attrName>
                                        </p:attrNameLst>
                                      </p:cBhvr>
                                      <p:tavLst>
                                        <p:tav tm="0">
                                          <p:val>
                                            <p:fltVal val="0"/>
                                          </p:val>
                                        </p:tav>
                                        <p:tav tm="100000">
                                          <p:val>
                                            <p:strVal val="#ppt_w"/>
                                          </p:val>
                                        </p:tav>
                                      </p:tavLst>
                                    </p:anim>
                                    <p:anim calcmode="lin" valueType="num">
                                      <p:cBhvr>
                                        <p:cTn id="121" dur="500" fill="hold"/>
                                        <p:tgtEl>
                                          <p:spTgt spid="133"/>
                                        </p:tgtEl>
                                        <p:attrNameLst>
                                          <p:attrName>ppt_h</p:attrName>
                                        </p:attrNameLst>
                                      </p:cBhvr>
                                      <p:tavLst>
                                        <p:tav tm="0">
                                          <p:val>
                                            <p:fltVal val="0"/>
                                          </p:val>
                                        </p:tav>
                                        <p:tav tm="100000">
                                          <p:val>
                                            <p:strVal val="#ppt_h"/>
                                          </p:val>
                                        </p:tav>
                                      </p:tavLst>
                                    </p:anim>
                                    <p:animEffect transition="in" filter="fade">
                                      <p:cBhvr>
                                        <p:cTn id="122" dur="500"/>
                                        <p:tgtEl>
                                          <p:spTgt spid="133"/>
                                        </p:tgtEl>
                                      </p:cBhvr>
                                    </p:animEffect>
                                  </p:childTnLst>
                                </p:cTn>
                              </p:par>
                              <p:par>
                                <p:cTn id="123" presetID="53" presetClass="entr" presetSubtype="16" fill="hold" nodeType="withEffect">
                                  <p:stCondLst>
                                    <p:cond delay="0"/>
                                  </p:stCondLst>
                                  <p:childTnLst>
                                    <p:set>
                                      <p:cBhvr>
                                        <p:cTn id="124" dur="1" fill="hold">
                                          <p:stCondLst>
                                            <p:cond delay="0"/>
                                          </p:stCondLst>
                                        </p:cTn>
                                        <p:tgtEl>
                                          <p:spTgt spid="142"/>
                                        </p:tgtEl>
                                        <p:attrNameLst>
                                          <p:attrName>style.visibility</p:attrName>
                                        </p:attrNameLst>
                                      </p:cBhvr>
                                      <p:to>
                                        <p:strVal val="visible"/>
                                      </p:to>
                                    </p:set>
                                    <p:anim calcmode="lin" valueType="num">
                                      <p:cBhvr>
                                        <p:cTn id="125" dur="500" fill="hold"/>
                                        <p:tgtEl>
                                          <p:spTgt spid="142"/>
                                        </p:tgtEl>
                                        <p:attrNameLst>
                                          <p:attrName>ppt_w</p:attrName>
                                        </p:attrNameLst>
                                      </p:cBhvr>
                                      <p:tavLst>
                                        <p:tav tm="0">
                                          <p:val>
                                            <p:fltVal val="0"/>
                                          </p:val>
                                        </p:tav>
                                        <p:tav tm="100000">
                                          <p:val>
                                            <p:strVal val="#ppt_w"/>
                                          </p:val>
                                        </p:tav>
                                      </p:tavLst>
                                    </p:anim>
                                    <p:anim calcmode="lin" valueType="num">
                                      <p:cBhvr>
                                        <p:cTn id="126" dur="500" fill="hold"/>
                                        <p:tgtEl>
                                          <p:spTgt spid="142"/>
                                        </p:tgtEl>
                                        <p:attrNameLst>
                                          <p:attrName>ppt_h</p:attrName>
                                        </p:attrNameLst>
                                      </p:cBhvr>
                                      <p:tavLst>
                                        <p:tav tm="0">
                                          <p:val>
                                            <p:fltVal val="0"/>
                                          </p:val>
                                        </p:tav>
                                        <p:tav tm="100000">
                                          <p:val>
                                            <p:strVal val="#ppt_h"/>
                                          </p:val>
                                        </p:tav>
                                      </p:tavLst>
                                    </p:anim>
                                    <p:animEffect transition="in" filter="fade">
                                      <p:cBhvr>
                                        <p:cTn id="127" dur="500"/>
                                        <p:tgtEl>
                                          <p:spTgt spid="142"/>
                                        </p:tgtEl>
                                      </p:cBhvr>
                                    </p:animEffect>
                                  </p:childTnLst>
                                </p:cTn>
                              </p:par>
                              <p:par>
                                <p:cTn id="128" presetID="53" presetClass="entr" presetSubtype="16" fill="hold" nodeType="withEffect">
                                  <p:stCondLst>
                                    <p:cond delay="0"/>
                                  </p:stCondLst>
                                  <p:childTnLst>
                                    <p:set>
                                      <p:cBhvr>
                                        <p:cTn id="129" dur="1" fill="hold">
                                          <p:stCondLst>
                                            <p:cond delay="0"/>
                                          </p:stCondLst>
                                        </p:cTn>
                                        <p:tgtEl>
                                          <p:spTgt spid="101"/>
                                        </p:tgtEl>
                                        <p:attrNameLst>
                                          <p:attrName>style.visibility</p:attrName>
                                        </p:attrNameLst>
                                      </p:cBhvr>
                                      <p:to>
                                        <p:strVal val="visible"/>
                                      </p:to>
                                    </p:set>
                                    <p:anim calcmode="lin" valueType="num">
                                      <p:cBhvr>
                                        <p:cTn id="130" dur="500" fill="hold"/>
                                        <p:tgtEl>
                                          <p:spTgt spid="101"/>
                                        </p:tgtEl>
                                        <p:attrNameLst>
                                          <p:attrName>ppt_w</p:attrName>
                                        </p:attrNameLst>
                                      </p:cBhvr>
                                      <p:tavLst>
                                        <p:tav tm="0">
                                          <p:val>
                                            <p:fltVal val="0"/>
                                          </p:val>
                                        </p:tav>
                                        <p:tav tm="100000">
                                          <p:val>
                                            <p:strVal val="#ppt_w"/>
                                          </p:val>
                                        </p:tav>
                                      </p:tavLst>
                                    </p:anim>
                                    <p:anim calcmode="lin" valueType="num">
                                      <p:cBhvr>
                                        <p:cTn id="131" dur="500" fill="hold"/>
                                        <p:tgtEl>
                                          <p:spTgt spid="101"/>
                                        </p:tgtEl>
                                        <p:attrNameLst>
                                          <p:attrName>ppt_h</p:attrName>
                                        </p:attrNameLst>
                                      </p:cBhvr>
                                      <p:tavLst>
                                        <p:tav tm="0">
                                          <p:val>
                                            <p:fltVal val="0"/>
                                          </p:val>
                                        </p:tav>
                                        <p:tav tm="100000">
                                          <p:val>
                                            <p:strVal val="#ppt_h"/>
                                          </p:val>
                                        </p:tav>
                                      </p:tavLst>
                                    </p:anim>
                                    <p:animEffect transition="in" filter="fade">
                                      <p:cBhvr>
                                        <p:cTn id="132" dur="500"/>
                                        <p:tgtEl>
                                          <p:spTgt spid="101"/>
                                        </p:tgtEl>
                                      </p:cBhvr>
                                    </p:animEffect>
                                  </p:childTnLst>
                                </p:cTn>
                              </p:par>
                              <p:par>
                                <p:cTn id="133" presetID="53" presetClass="entr" presetSubtype="16" fill="hold" nodeType="withEffect">
                                  <p:stCondLst>
                                    <p:cond delay="250"/>
                                  </p:stCondLst>
                                  <p:childTnLst>
                                    <p:set>
                                      <p:cBhvr>
                                        <p:cTn id="134" dur="1" fill="hold">
                                          <p:stCondLst>
                                            <p:cond delay="0"/>
                                          </p:stCondLst>
                                        </p:cTn>
                                        <p:tgtEl>
                                          <p:spTgt spid="107"/>
                                        </p:tgtEl>
                                        <p:attrNameLst>
                                          <p:attrName>style.visibility</p:attrName>
                                        </p:attrNameLst>
                                      </p:cBhvr>
                                      <p:to>
                                        <p:strVal val="visible"/>
                                      </p:to>
                                    </p:set>
                                    <p:anim calcmode="lin" valueType="num">
                                      <p:cBhvr>
                                        <p:cTn id="135" dur="500" fill="hold"/>
                                        <p:tgtEl>
                                          <p:spTgt spid="107"/>
                                        </p:tgtEl>
                                        <p:attrNameLst>
                                          <p:attrName>ppt_w</p:attrName>
                                        </p:attrNameLst>
                                      </p:cBhvr>
                                      <p:tavLst>
                                        <p:tav tm="0">
                                          <p:val>
                                            <p:fltVal val="0"/>
                                          </p:val>
                                        </p:tav>
                                        <p:tav tm="100000">
                                          <p:val>
                                            <p:strVal val="#ppt_w"/>
                                          </p:val>
                                        </p:tav>
                                      </p:tavLst>
                                    </p:anim>
                                    <p:anim calcmode="lin" valueType="num">
                                      <p:cBhvr>
                                        <p:cTn id="136" dur="500" fill="hold"/>
                                        <p:tgtEl>
                                          <p:spTgt spid="107"/>
                                        </p:tgtEl>
                                        <p:attrNameLst>
                                          <p:attrName>ppt_h</p:attrName>
                                        </p:attrNameLst>
                                      </p:cBhvr>
                                      <p:tavLst>
                                        <p:tav tm="0">
                                          <p:val>
                                            <p:fltVal val="0"/>
                                          </p:val>
                                        </p:tav>
                                        <p:tav tm="100000">
                                          <p:val>
                                            <p:strVal val="#ppt_h"/>
                                          </p:val>
                                        </p:tav>
                                      </p:tavLst>
                                    </p:anim>
                                    <p:animEffect transition="in" filter="fade">
                                      <p:cBhvr>
                                        <p:cTn id="137" dur="500"/>
                                        <p:tgtEl>
                                          <p:spTgt spid="107"/>
                                        </p:tgtEl>
                                      </p:cBhvr>
                                    </p:animEffect>
                                  </p:childTnLst>
                                </p:cTn>
                              </p:par>
                              <p:par>
                                <p:cTn id="138" presetID="53" presetClass="entr" presetSubtype="16" fill="hold" nodeType="withEffect">
                                  <p:stCondLst>
                                    <p:cond delay="250"/>
                                  </p:stCondLst>
                                  <p:childTnLst>
                                    <p:set>
                                      <p:cBhvr>
                                        <p:cTn id="139" dur="1" fill="hold">
                                          <p:stCondLst>
                                            <p:cond delay="0"/>
                                          </p:stCondLst>
                                        </p:cTn>
                                        <p:tgtEl>
                                          <p:spTgt spid="145"/>
                                        </p:tgtEl>
                                        <p:attrNameLst>
                                          <p:attrName>style.visibility</p:attrName>
                                        </p:attrNameLst>
                                      </p:cBhvr>
                                      <p:to>
                                        <p:strVal val="visible"/>
                                      </p:to>
                                    </p:set>
                                    <p:anim calcmode="lin" valueType="num">
                                      <p:cBhvr>
                                        <p:cTn id="140" dur="500" fill="hold"/>
                                        <p:tgtEl>
                                          <p:spTgt spid="145"/>
                                        </p:tgtEl>
                                        <p:attrNameLst>
                                          <p:attrName>ppt_w</p:attrName>
                                        </p:attrNameLst>
                                      </p:cBhvr>
                                      <p:tavLst>
                                        <p:tav tm="0">
                                          <p:val>
                                            <p:fltVal val="0"/>
                                          </p:val>
                                        </p:tav>
                                        <p:tav tm="100000">
                                          <p:val>
                                            <p:strVal val="#ppt_w"/>
                                          </p:val>
                                        </p:tav>
                                      </p:tavLst>
                                    </p:anim>
                                    <p:anim calcmode="lin" valueType="num">
                                      <p:cBhvr>
                                        <p:cTn id="141" dur="500" fill="hold"/>
                                        <p:tgtEl>
                                          <p:spTgt spid="145"/>
                                        </p:tgtEl>
                                        <p:attrNameLst>
                                          <p:attrName>ppt_h</p:attrName>
                                        </p:attrNameLst>
                                      </p:cBhvr>
                                      <p:tavLst>
                                        <p:tav tm="0">
                                          <p:val>
                                            <p:fltVal val="0"/>
                                          </p:val>
                                        </p:tav>
                                        <p:tav tm="100000">
                                          <p:val>
                                            <p:strVal val="#ppt_h"/>
                                          </p:val>
                                        </p:tav>
                                      </p:tavLst>
                                    </p:anim>
                                    <p:animEffect transition="in" filter="fade">
                                      <p:cBhvr>
                                        <p:cTn id="142" dur="500"/>
                                        <p:tgtEl>
                                          <p:spTgt spid="145"/>
                                        </p:tgtEl>
                                      </p:cBhvr>
                                    </p:animEffect>
                                  </p:childTnLst>
                                </p:cTn>
                              </p:par>
                              <p:par>
                                <p:cTn id="143" presetID="53" presetClass="entr" presetSubtype="16" fill="hold" nodeType="withEffect">
                                  <p:stCondLst>
                                    <p:cond delay="250"/>
                                  </p:stCondLst>
                                  <p:childTnLst>
                                    <p:set>
                                      <p:cBhvr>
                                        <p:cTn id="144" dur="1" fill="hold">
                                          <p:stCondLst>
                                            <p:cond delay="0"/>
                                          </p:stCondLst>
                                        </p:cTn>
                                        <p:tgtEl>
                                          <p:spTgt spid="139"/>
                                        </p:tgtEl>
                                        <p:attrNameLst>
                                          <p:attrName>style.visibility</p:attrName>
                                        </p:attrNameLst>
                                      </p:cBhvr>
                                      <p:to>
                                        <p:strVal val="visible"/>
                                      </p:to>
                                    </p:set>
                                    <p:anim calcmode="lin" valueType="num">
                                      <p:cBhvr>
                                        <p:cTn id="145" dur="500" fill="hold"/>
                                        <p:tgtEl>
                                          <p:spTgt spid="139"/>
                                        </p:tgtEl>
                                        <p:attrNameLst>
                                          <p:attrName>ppt_w</p:attrName>
                                        </p:attrNameLst>
                                      </p:cBhvr>
                                      <p:tavLst>
                                        <p:tav tm="0">
                                          <p:val>
                                            <p:fltVal val="0"/>
                                          </p:val>
                                        </p:tav>
                                        <p:tav tm="100000">
                                          <p:val>
                                            <p:strVal val="#ppt_w"/>
                                          </p:val>
                                        </p:tav>
                                      </p:tavLst>
                                    </p:anim>
                                    <p:anim calcmode="lin" valueType="num">
                                      <p:cBhvr>
                                        <p:cTn id="146" dur="500" fill="hold"/>
                                        <p:tgtEl>
                                          <p:spTgt spid="139"/>
                                        </p:tgtEl>
                                        <p:attrNameLst>
                                          <p:attrName>ppt_h</p:attrName>
                                        </p:attrNameLst>
                                      </p:cBhvr>
                                      <p:tavLst>
                                        <p:tav tm="0">
                                          <p:val>
                                            <p:fltVal val="0"/>
                                          </p:val>
                                        </p:tav>
                                        <p:tav tm="100000">
                                          <p:val>
                                            <p:strVal val="#ppt_h"/>
                                          </p:val>
                                        </p:tav>
                                      </p:tavLst>
                                    </p:anim>
                                    <p:animEffect transition="in" filter="fade">
                                      <p:cBhvr>
                                        <p:cTn id="147" dur="500"/>
                                        <p:tgtEl>
                                          <p:spTgt spid="139"/>
                                        </p:tgtEl>
                                      </p:cBhvr>
                                    </p:animEffect>
                                  </p:childTnLst>
                                </p:cTn>
                              </p:par>
                              <p:par>
                                <p:cTn id="148" presetID="53" presetClass="entr" presetSubtype="16" fill="hold" nodeType="withEffect">
                                  <p:stCondLst>
                                    <p:cond delay="500"/>
                                  </p:stCondLst>
                                  <p:childTnLst>
                                    <p:set>
                                      <p:cBhvr>
                                        <p:cTn id="149" dur="1" fill="hold">
                                          <p:stCondLst>
                                            <p:cond delay="0"/>
                                          </p:stCondLst>
                                        </p:cTn>
                                        <p:tgtEl>
                                          <p:spTgt spid="154"/>
                                        </p:tgtEl>
                                        <p:attrNameLst>
                                          <p:attrName>style.visibility</p:attrName>
                                        </p:attrNameLst>
                                      </p:cBhvr>
                                      <p:to>
                                        <p:strVal val="visible"/>
                                      </p:to>
                                    </p:set>
                                    <p:anim calcmode="lin" valueType="num">
                                      <p:cBhvr>
                                        <p:cTn id="150" dur="500" fill="hold"/>
                                        <p:tgtEl>
                                          <p:spTgt spid="154"/>
                                        </p:tgtEl>
                                        <p:attrNameLst>
                                          <p:attrName>ppt_w</p:attrName>
                                        </p:attrNameLst>
                                      </p:cBhvr>
                                      <p:tavLst>
                                        <p:tav tm="0">
                                          <p:val>
                                            <p:fltVal val="0"/>
                                          </p:val>
                                        </p:tav>
                                        <p:tav tm="100000">
                                          <p:val>
                                            <p:strVal val="#ppt_w"/>
                                          </p:val>
                                        </p:tav>
                                      </p:tavLst>
                                    </p:anim>
                                    <p:anim calcmode="lin" valueType="num">
                                      <p:cBhvr>
                                        <p:cTn id="151" dur="500" fill="hold"/>
                                        <p:tgtEl>
                                          <p:spTgt spid="154"/>
                                        </p:tgtEl>
                                        <p:attrNameLst>
                                          <p:attrName>ppt_h</p:attrName>
                                        </p:attrNameLst>
                                      </p:cBhvr>
                                      <p:tavLst>
                                        <p:tav tm="0">
                                          <p:val>
                                            <p:fltVal val="0"/>
                                          </p:val>
                                        </p:tav>
                                        <p:tav tm="100000">
                                          <p:val>
                                            <p:strVal val="#ppt_h"/>
                                          </p:val>
                                        </p:tav>
                                      </p:tavLst>
                                    </p:anim>
                                    <p:animEffect transition="in" filter="fade">
                                      <p:cBhvr>
                                        <p:cTn id="152" dur="500"/>
                                        <p:tgtEl>
                                          <p:spTgt spid="154"/>
                                        </p:tgtEl>
                                      </p:cBhvr>
                                    </p:animEffect>
                                  </p:childTnLst>
                                </p:cTn>
                              </p:par>
                              <p:par>
                                <p:cTn id="153" presetID="53" presetClass="entr" presetSubtype="16" fill="hold" nodeType="withEffect">
                                  <p:stCondLst>
                                    <p:cond delay="500"/>
                                  </p:stCondLst>
                                  <p:childTnLst>
                                    <p:set>
                                      <p:cBhvr>
                                        <p:cTn id="154" dur="1" fill="hold">
                                          <p:stCondLst>
                                            <p:cond delay="0"/>
                                          </p:stCondLst>
                                        </p:cTn>
                                        <p:tgtEl>
                                          <p:spTgt spid="148"/>
                                        </p:tgtEl>
                                        <p:attrNameLst>
                                          <p:attrName>style.visibility</p:attrName>
                                        </p:attrNameLst>
                                      </p:cBhvr>
                                      <p:to>
                                        <p:strVal val="visible"/>
                                      </p:to>
                                    </p:set>
                                    <p:anim calcmode="lin" valueType="num">
                                      <p:cBhvr>
                                        <p:cTn id="155" dur="500" fill="hold"/>
                                        <p:tgtEl>
                                          <p:spTgt spid="148"/>
                                        </p:tgtEl>
                                        <p:attrNameLst>
                                          <p:attrName>ppt_w</p:attrName>
                                        </p:attrNameLst>
                                      </p:cBhvr>
                                      <p:tavLst>
                                        <p:tav tm="0">
                                          <p:val>
                                            <p:fltVal val="0"/>
                                          </p:val>
                                        </p:tav>
                                        <p:tav tm="100000">
                                          <p:val>
                                            <p:strVal val="#ppt_w"/>
                                          </p:val>
                                        </p:tav>
                                      </p:tavLst>
                                    </p:anim>
                                    <p:anim calcmode="lin" valueType="num">
                                      <p:cBhvr>
                                        <p:cTn id="156" dur="500" fill="hold"/>
                                        <p:tgtEl>
                                          <p:spTgt spid="148"/>
                                        </p:tgtEl>
                                        <p:attrNameLst>
                                          <p:attrName>ppt_h</p:attrName>
                                        </p:attrNameLst>
                                      </p:cBhvr>
                                      <p:tavLst>
                                        <p:tav tm="0">
                                          <p:val>
                                            <p:fltVal val="0"/>
                                          </p:val>
                                        </p:tav>
                                        <p:tav tm="100000">
                                          <p:val>
                                            <p:strVal val="#ppt_h"/>
                                          </p:val>
                                        </p:tav>
                                      </p:tavLst>
                                    </p:anim>
                                    <p:animEffect transition="in" filter="fade">
                                      <p:cBhvr>
                                        <p:cTn id="157" dur="500"/>
                                        <p:tgtEl>
                                          <p:spTgt spid="148"/>
                                        </p:tgtEl>
                                      </p:cBhvr>
                                    </p:animEffect>
                                  </p:childTnLst>
                                </p:cTn>
                              </p:par>
                              <p:par>
                                <p:cTn id="158" presetID="53" presetClass="entr" presetSubtype="16" fill="hold" nodeType="withEffect">
                                  <p:stCondLst>
                                    <p:cond delay="500"/>
                                  </p:stCondLst>
                                  <p:childTnLst>
                                    <p:set>
                                      <p:cBhvr>
                                        <p:cTn id="159" dur="1" fill="hold">
                                          <p:stCondLst>
                                            <p:cond delay="0"/>
                                          </p:stCondLst>
                                        </p:cTn>
                                        <p:tgtEl>
                                          <p:spTgt spid="121"/>
                                        </p:tgtEl>
                                        <p:attrNameLst>
                                          <p:attrName>style.visibility</p:attrName>
                                        </p:attrNameLst>
                                      </p:cBhvr>
                                      <p:to>
                                        <p:strVal val="visible"/>
                                      </p:to>
                                    </p:set>
                                    <p:anim calcmode="lin" valueType="num">
                                      <p:cBhvr>
                                        <p:cTn id="160" dur="500" fill="hold"/>
                                        <p:tgtEl>
                                          <p:spTgt spid="121"/>
                                        </p:tgtEl>
                                        <p:attrNameLst>
                                          <p:attrName>ppt_w</p:attrName>
                                        </p:attrNameLst>
                                      </p:cBhvr>
                                      <p:tavLst>
                                        <p:tav tm="0">
                                          <p:val>
                                            <p:fltVal val="0"/>
                                          </p:val>
                                        </p:tav>
                                        <p:tav tm="100000">
                                          <p:val>
                                            <p:strVal val="#ppt_w"/>
                                          </p:val>
                                        </p:tav>
                                      </p:tavLst>
                                    </p:anim>
                                    <p:anim calcmode="lin" valueType="num">
                                      <p:cBhvr>
                                        <p:cTn id="161" dur="500" fill="hold"/>
                                        <p:tgtEl>
                                          <p:spTgt spid="121"/>
                                        </p:tgtEl>
                                        <p:attrNameLst>
                                          <p:attrName>ppt_h</p:attrName>
                                        </p:attrNameLst>
                                      </p:cBhvr>
                                      <p:tavLst>
                                        <p:tav tm="0">
                                          <p:val>
                                            <p:fltVal val="0"/>
                                          </p:val>
                                        </p:tav>
                                        <p:tav tm="100000">
                                          <p:val>
                                            <p:strVal val="#ppt_h"/>
                                          </p:val>
                                        </p:tav>
                                      </p:tavLst>
                                    </p:anim>
                                    <p:animEffect transition="in" filter="fade">
                                      <p:cBhvr>
                                        <p:cTn id="162" dur="500"/>
                                        <p:tgtEl>
                                          <p:spTgt spid="121"/>
                                        </p:tgtEl>
                                      </p:cBhvr>
                                    </p:animEffect>
                                  </p:childTnLst>
                                </p:cTn>
                              </p:par>
                              <p:par>
                                <p:cTn id="163" presetID="53" presetClass="entr" presetSubtype="16" fill="hold" nodeType="withEffect">
                                  <p:stCondLst>
                                    <p:cond delay="500"/>
                                  </p:stCondLst>
                                  <p:childTnLst>
                                    <p:set>
                                      <p:cBhvr>
                                        <p:cTn id="164" dur="1" fill="hold">
                                          <p:stCondLst>
                                            <p:cond delay="0"/>
                                          </p:stCondLst>
                                        </p:cTn>
                                        <p:tgtEl>
                                          <p:spTgt spid="130"/>
                                        </p:tgtEl>
                                        <p:attrNameLst>
                                          <p:attrName>style.visibility</p:attrName>
                                        </p:attrNameLst>
                                      </p:cBhvr>
                                      <p:to>
                                        <p:strVal val="visible"/>
                                      </p:to>
                                    </p:set>
                                    <p:anim calcmode="lin" valueType="num">
                                      <p:cBhvr>
                                        <p:cTn id="165" dur="500" fill="hold"/>
                                        <p:tgtEl>
                                          <p:spTgt spid="130"/>
                                        </p:tgtEl>
                                        <p:attrNameLst>
                                          <p:attrName>ppt_w</p:attrName>
                                        </p:attrNameLst>
                                      </p:cBhvr>
                                      <p:tavLst>
                                        <p:tav tm="0">
                                          <p:val>
                                            <p:fltVal val="0"/>
                                          </p:val>
                                        </p:tav>
                                        <p:tav tm="100000">
                                          <p:val>
                                            <p:strVal val="#ppt_w"/>
                                          </p:val>
                                        </p:tav>
                                      </p:tavLst>
                                    </p:anim>
                                    <p:anim calcmode="lin" valueType="num">
                                      <p:cBhvr>
                                        <p:cTn id="166" dur="500" fill="hold"/>
                                        <p:tgtEl>
                                          <p:spTgt spid="130"/>
                                        </p:tgtEl>
                                        <p:attrNameLst>
                                          <p:attrName>ppt_h</p:attrName>
                                        </p:attrNameLst>
                                      </p:cBhvr>
                                      <p:tavLst>
                                        <p:tav tm="0">
                                          <p:val>
                                            <p:fltVal val="0"/>
                                          </p:val>
                                        </p:tav>
                                        <p:tav tm="100000">
                                          <p:val>
                                            <p:strVal val="#ppt_h"/>
                                          </p:val>
                                        </p:tav>
                                      </p:tavLst>
                                    </p:anim>
                                    <p:animEffect transition="in" filter="fade">
                                      <p:cBhvr>
                                        <p:cTn id="167" dur="500"/>
                                        <p:tgtEl>
                                          <p:spTgt spid="130"/>
                                        </p:tgtEl>
                                      </p:cBhvr>
                                    </p:animEffect>
                                  </p:childTnLst>
                                </p:cTn>
                              </p:par>
                              <p:par>
                                <p:cTn id="168" presetID="53" presetClass="entr" presetSubtype="16" fill="hold" nodeType="withEffect">
                                  <p:stCondLst>
                                    <p:cond delay="250"/>
                                  </p:stCondLst>
                                  <p:childTnLst>
                                    <p:set>
                                      <p:cBhvr>
                                        <p:cTn id="169" dur="1" fill="hold">
                                          <p:stCondLst>
                                            <p:cond delay="0"/>
                                          </p:stCondLst>
                                        </p:cTn>
                                        <p:tgtEl>
                                          <p:spTgt spid="157"/>
                                        </p:tgtEl>
                                        <p:attrNameLst>
                                          <p:attrName>style.visibility</p:attrName>
                                        </p:attrNameLst>
                                      </p:cBhvr>
                                      <p:to>
                                        <p:strVal val="visible"/>
                                      </p:to>
                                    </p:set>
                                    <p:anim calcmode="lin" valueType="num">
                                      <p:cBhvr>
                                        <p:cTn id="170" dur="500" fill="hold"/>
                                        <p:tgtEl>
                                          <p:spTgt spid="157"/>
                                        </p:tgtEl>
                                        <p:attrNameLst>
                                          <p:attrName>ppt_w</p:attrName>
                                        </p:attrNameLst>
                                      </p:cBhvr>
                                      <p:tavLst>
                                        <p:tav tm="0">
                                          <p:val>
                                            <p:fltVal val="0"/>
                                          </p:val>
                                        </p:tav>
                                        <p:tav tm="100000">
                                          <p:val>
                                            <p:strVal val="#ppt_w"/>
                                          </p:val>
                                        </p:tav>
                                      </p:tavLst>
                                    </p:anim>
                                    <p:anim calcmode="lin" valueType="num">
                                      <p:cBhvr>
                                        <p:cTn id="171" dur="500" fill="hold"/>
                                        <p:tgtEl>
                                          <p:spTgt spid="157"/>
                                        </p:tgtEl>
                                        <p:attrNameLst>
                                          <p:attrName>ppt_h</p:attrName>
                                        </p:attrNameLst>
                                      </p:cBhvr>
                                      <p:tavLst>
                                        <p:tav tm="0">
                                          <p:val>
                                            <p:fltVal val="0"/>
                                          </p:val>
                                        </p:tav>
                                        <p:tav tm="100000">
                                          <p:val>
                                            <p:strVal val="#ppt_h"/>
                                          </p:val>
                                        </p:tav>
                                      </p:tavLst>
                                    </p:anim>
                                    <p:animEffect transition="in" filter="fade">
                                      <p:cBhvr>
                                        <p:cTn id="172" dur="500"/>
                                        <p:tgtEl>
                                          <p:spTgt spid="157"/>
                                        </p:tgtEl>
                                      </p:cBhvr>
                                    </p:animEffect>
                                  </p:childTnLst>
                                </p:cTn>
                              </p:par>
                              <p:par>
                                <p:cTn id="173" presetID="53" presetClass="entr" presetSubtype="16" fill="hold" nodeType="withEffect">
                                  <p:stCondLst>
                                    <p:cond delay="0"/>
                                  </p:stCondLst>
                                  <p:childTnLst>
                                    <p:set>
                                      <p:cBhvr>
                                        <p:cTn id="174" dur="1" fill="hold">
                                          <p:stCondLst>
                                            <p:cond delay="0"/>
                                          </p:stCondLst>
                                        </p:cTn>
                                        <p:tgtEl>
                                          <p:spTgt spid="163"/>
                                        </p:tgtEl>
                                        <p:attrNameLst>
                                          <p:attrName>style.visibility</p:attrName>
                                        </p:attrNameLst>
                                      </p:cBhvr>
                                      <p:to>
                                        <p:strVal val="visible"/>
                                      </p:to>
                                    </p:set>
                                    <p:anim calcmode="lin" valueType="num">
                                      <p:cBhvr>
                                        <p:cTn id="175" dur="500" fill="hold"/>
                                        <p:tgtEl>
                                          <p:spTgt spid="163"/>
                                        </p:tgtEl>
                                        <p:attrNameLst>
                                          <p:attrName>ppt_w</p:attrName>
                                        </p:attrNameLst>
                                      </p:cBhvr>
                                      <p:tavLst>
                                        <p:tav tm="0">
                                          <p:val>
                                            <p:fltVal val="0"/>
                                          </p:val>
                                        </p:tav>
                                        <p:tav tm="100000">
                                          <p:val>
                                            <p:strVal val="#ppt_w"/>
                                          </p:val>
                                        </p:tav>
                                      </p:tavLst>
                                    </p:anim>
                                    <p:anim calcmode="lin" valueType="num">
                                      <p:cBhvr>
                                        <p:cTn id="176" dur="500" fill="hold"/>
                                        <p:tgtEl>
                                          <p:spTgt spid="163"/>
                                        </p:tgtEl>
                                        <p:attrNameLst>
                                          <p:attrName>ppt_h</p:attrName>
                                        </p:attrNameLst>
                                      </p:cBhvr>
                                      <p:tavLst>
                                        <p:tav tm="0">
                                          <p:val>
                                            <p:fltVal val="0"/>
                                          </p:val>
                                        </p:tav>
                                        <p:tav tm="100000">
                                          <p:val>
                                            <p:strVal val="#ppt_h"/>
                                          </p:val>
                                        </p:tav>
                                      </p:tavLst>
                                    </p:anim>
                                    <p:animEffect transition="in" filter="fade">
                                      <p:cBhvr>
                                        <p:cTn id="177" dur="500"/>
                                        <p:tgtEl>
                                          <p:spTgt spid="163"/>
                                        </p:tgtEl>
                                      </p:cBhvr>
                                    </p:animEffect>
                                  </p:childTnLst>
                                </p:cTn>
                              </p:par>
                            </p:childTnLst>
                          </p:cTn>
                        </p:par>
                        <p:par>
                          <p:cTn id="178" fill="hold">
                            <p:stCondLst>
                              <p:cond delay="5250"/>
                            </p:stCondLst>
                            <p:childTnLst>
                              <p:par>
                                <p:cTn id="179" presetID="10" presetClass="entr" presetSubtype="0" fill="hold" grpId="0" nodeType="afterEffect">
                                  <p:stCondLst>
                                    <p:cond delay="0"/>
                                  </p:stCondLst>
                                  <p:childTnLst>
                                    <p:set>
                                      <p:cBhvr>
                                        <p:cTn id="180" dur="1" fill="hold">
                                          <p:stCondLst>
                                            <p:cond delay="0"/>
                                          </p:stCondLst>
                                        </p:cTn>
                                        <p:tgtEl>
                                          <p:spTgt spid="76"/>
                                        </p:tgtEl>
                                        <p:attrNameLst>
                                          <p:attrName>style.visibility</p:attrName>
                                        </p:attrNameLst>
                                      </p:cBhvr>
                                      <p:to>
                                        <p:strVal val="visible"/>
                                      </p:to>
                                    </p:set>
                                    <p:animEffect transition="in" filter="fade">
                                      <p:cBhvr>
                                        <p:cTn id="181"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75" grpId="0"/>
      <p:bldP spid="7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Benefits</a:t>
            </a:r>
          </a:p>
        </p:txBody>
      </p:sp>
      <p:sp>
        <p:nvSpPr>
          <p:cNvPr id="7" name="Text Placeholder 6">
            <a:extLst>
              <a:ext uri="{FF2B5EF4-FFF2-40B4-BE49-F238E27FC236}">
                <a16:creationId xmlns:a16="http://schemas.microsoft.com/office/drawing/2014/main" id="{720FDE57-AAF9-4A6B-B2B1-004391794B7D}"/>
              </a:ext>
            </a:extLst>
          </p:cNvPr>
          <p:cNvSpPr>
            <a:spLocks noGrp="1"/>
          </p:cNvSpPr>
          <p:nvPr>
            <p:ph type="body" sz="quarter" idx="10"/>
          </p:nvPr>
        </p:nvSpPr>
        <p:spPr>
          <a:xfrm>
            <a:off x="586390" y="1434370"/>
            <a:ext cx="11018520" cy="5632311"/>
          </a:xfrm>
        </p:spPr>
        <p:txBody>
          <a:bodyPr/>
          <a:lstStyle/>
          <a:p>
            <a:pPr>
              <a:spcBef>
                <a:spcPts val="1200"/>
              </a:spcBef>
            </a:pPr>
            <a:r>
              <a:rPr lang="en-US"/>
              <a:t>Encapsulates business functionality into small targeted services, </a:t>
            </a:r>
            <a:br>
              <a:rPr lang="en-US"/>
            </a:br>
            <a:r>
              <a:rPr lang="en-US"/>
              <a:t>organized around business capabilities</a:t>
            </a:r>
          </a:p>
          <a:p>
            <a:pPr>
              <a:spcBef>
                <a:spcPts val="1200"/>
              </a:spcBef>
            </a:pPr>
            <a:r>
              <a:rPr lang="en-US"/>
              <a:t>Services deploy frequently and evolve independently</a:t>
            </a:r>
          </a:p>
          <a:p>
            <a:pPr>
              <a:spcBef>
                <a:spcPts val="1200"/>
              </a:spcBef>
            </a:pPr>
            <a:r>
              <a:rPr lang="en-US"/>
              <a:t>Services scale Independently</a:t>
            </a:r>
          </a:p>
          <a:p>
            <a:pPr>
              <a:spcBef>
                <a:spcPts val="1200"/>
              </a:spcBef>
            </a:pPr>
            <a:r>
              <a:rPr lang="en-US"/>
              <a:t>Enables technology diversity</a:t>
            </a:r>
          </a:p>
          <a:p>
            <a:pPr marL="288925" lvl="1" indent="-288925">
              <a:spcBef>
                <a:spcPts val="1200"/>
              </a:spcBef>
              <a:buFont typeface="Arial" panose="020B0604020202020204" pitchFamily="34" charset="0"/>
              <a:buChar char="•"/>
            </a:pPr>
            <a:r>
              <a:rPr lang="en-US">
                <a:latin typeface="Segoe UI" panose="020B0502040204020203" pitchFamily="34" charset="0"/>
                <a:cs typeface="Segoe UI" panose="020B0502040204020203" pitchFamily="34" charset="0"/>
              </a:rPr>
              <a:t>Mix multiple programming platforms and data-storage technologies—best tool for the job</a:t>
            </a:r>
          </a:p>
          <a:p>
            <a:pPr marL="288925" lvl="1" indent="-288925">
              <a:spcBef>
                <a:spcPts val="1200"/>
              </a:spcBef>
              <a:buFont typeface="Arial" panose="020B0604020202020204" pitchFamily="34" charset="0"/>
              <a:buChar char="•"/>
            </a:pPr>
            <a:r>
              <a:rPr lang="en-US">
                <a:latin typeface="Segoe UI" panose="020B0502040204020203" pitchFamily="34" charset="0"/>
                <a:cs typeface="Segoe UI" panose="020B0502040204020203" pitchFamily="34" charset="0"/>
              </a:rPr>
              <a:t>Rewriting/modernizing a single service is feasible</a:t>
            </a:r>
          </a:p>
          <a:p>
            <a:pPr marL="288925" lvl="1" indent="-288925">
              <a:spcBef>
                <a:spcPts val="1200"/>
              </a:spcBef>
              <a:buFont typeface="Arial" panose="020B0604020202020204" pitchFamily="34" charset="0"/>
              <a:buChar char="•"/>
            </a:pPr>
            <a:r>
              <a:rPr lang="en-US">
                <a:latin typeface="Segoe UI" panose="020B0502040204020203" pitchFamily="34" charset="0"/>
                <a:cs typeface="Segoe UI" panose="020B0502040204020203" pitchFamily="34" charset="0"/>
              </a:rPr>
              <a:t>“Future-proofs” application investment against obsolete technology stacks</a:t>
            </a:r>
          </a:p>
          <a:p>
            <a:pPr>
              <a:spcBef>
                <a:spcPts val="1200"/>
              </a:spcBef>
            </a:pPr>
            <a:r>
              <a:rPr lang="en-US"/>
              <a:t>Failure in one service less likely to cause system-wide failure</a:t>
            </a:r>
          </a:p>
          <a:p>
            <a:pPr>
              <a:spcBef>
                <a:spcPts val="1200"/>
              </a:spcBef>
            </a:pPr>
            <a:endParaRPr lang="en-US" sz="2400"/>
          </a:p>
          <a:p>
            <a:pPr>
              <a:spcBef>
                <a:spcPts val="1200"/>
              </a:spcBef>
            </a:pPr>
            <a:endParaRPr lang="en-US" sz="2400"/>
          </a:p>
        </p:txBody>
      </p:sp>
      <p:grpSp>
        <p:nvGrpSpPr>
          <p:cNvPr id="15" name="Group 14">
            <a:extLst>
              <a:ext uri="{FF2B5EF4-FFF2-40B4-BE49-F238E27FC236}">
                <a16:creationId xmlns:a16="http://schemas.microsoft.com/office/drawing/2014/main" id="{AB706DCA-1F8F-44CD-B214-3655549EB0EB}"/>
              </a:ext>
            </a:extLst>
          </p:cNvPr>
          <p:cNvGrpSpPr/>
          <p:nvPr/>
        </p:nvGrpSpPr>
        <p:grpSpPr>
          <a:xfrm>
            <a:off x="10671586" y="359313"/>
            <a:ext cx="1160878" cy="1213761"/>
            <a:chOff x="9543380" y="750622"/>
            <a:chExt cx="1651935" cy="1727187"/>
          </a:xfrm>
          <a:solidFill>
            <a:schemeClr val="bg1"/>
          </a:solidFill>
        </p:grpSpPr>
        <p:sp>
          <p:nvSpPr>
            <p:cNvPr id="16" name="Hexagon 15">
              <a:extLst>
                <a:ext uri="{FF2B5EF4-FFF2-40B4-BE49-F238E27FC236}">
                  <a16:creationId xmlns:a16="http://schemas.microsoft.com/office/drawing/2014/main" id="{1772F944-A1AC-46F9-BDBC-7EFD3F6124C6}"/>
                </a:ext>
              </a:extLst>
            </p:cNvPr>
            <p:cNvSpPr/>
            <p:nvPr/>
          </p:nvSpPr>
          <p:spPr>
            <a:xfrm>
              <a:off x="10018442" y="750622"/>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Hexagon 16">
              <a:extLst>
                <a:ext uri="{FF2B5EF4-FFF2-40B4-BE49-F238E27FC236}">
                  <a16:creationId xmlns:a16="http://schemas.microsoft.com/office/drawing/2014/main" id="{7FCD86A3-47F8-40D5-A014-FE2212A14637}"/>
                </a:ext>
              </a:extLst>
            </p:cNvPr>
            <p:cNvSpPr/>
            <p:nvPr/>
          </p:nvSpPr>
          <p:spPr>
            <a:xfrm>
              <a:off x="10018443" y="1269197"/>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Hexagon 17">
              <a:extLst>
                <a:ext uri="{FF2B5EF4-FFF2-40B4-BE49-F238E27FC236}">
                  <a16:creationId xmlns:a16="http://schemas.microsoft.com/office/drawing/2014/main" id="{1CC27136-3A7D-4456-A002-31E0297EEE08}"/>
                </a:ext>
              </a:extLst>
            </p:cNvPr>
            <p:cNvSpPr/>
            <p:nvPr/>
          </p:nvSpPr>
          <p:spPr>
            <a:xfrm>
              <a:off x="10493501" y="1004414"/>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Hexagon 18">
              <a:extLst>
                <a:ext uri="{FF2B5EF4-FFF2-40B4-BE49-F238E27FC236}">
                  <a16:creationId xmlns:a16="http://schemas.microsoft.com/office/drawing/2014/main" id="{ADFF42BA-7505-49D1-8602-49E7AFC0FD3A}"/>
                </a:ext>
              </a:extLst>
            </p:cNvPr>
            <p:cNvSpPr/>
            <p:nvPr/>
          </p:nvSpPr>
          <p:spPr>
            <a:xfrm>
              <a:off x="9543380" y="986956"/>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Hexagon 19">
              <a:extLst>
                <a:ext uri="{FF2B5EF4-FFF2-40B4-BE49-F238E27FC236}">
                  <a16:creationId xmlns:a16="http://schemas.microsoft.com/office/drawing/2014/main" id="{3457AA96-46DA-466F-B2AD-D316BC3A4F97}"/>
                </a:ext>
              </a:extLst>
            </p:cNvPr>
            <p:cNvSpPr/>
            <p:nvPr/>
          </p:nvSpPr>
          <p:spPr>
            <a:xfrm>
              <a:off x="10218394" y="2020609"/>
              <a:ext cx="524934"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Hexagon 20">
              <a:extLst>
                <a:ext uri="{FF2B5EF4-FFF2-40B4-BE49-F238E27FC236}">
                  <a16:creationId xmlns:a16="http://schemas.microsoft.com/office/drawing/2014/main" id="{20E84C2F-57CE-43D8-B23C-0558573DBA18}"/>
                </a:ext>
              </a:extLst>
            </p:cNvPr>
            <p:cNvSpPr/>
            <p:nvPr/>
          </p:nvSpPr>
          <p:spPr>
            <a:xfrm>
              <a:off x="9552772" y="1533980"/>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Hexagon 21">
              <a:extLst>
                <a:ext uri="{FF2B5EF4-FFF2-40B4-BE49-F238E27FC236}">
                  <a16:creationId xmlns:a16="http://schemas.microsoft.com/office/drawing/2014/main" id="{3DB8ECD9-08EB-4724-A6C0-61D360D0C407}"/>
                </a:ext>
              </a:extLst>
            </p:cNvPr>
            <p:cNvSpPr/>
            <p:nvPr/>
          </p:nvSpPr>
          <p:spPr>
            <a:xfrm>
              <a:off x="10670382" y="1738004"/>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493559524"/>
      </p:ext>
    </p:extLst>
  </p:cSld>
  <p:clrMapOvr>
    <a:masterClrMapping/>
  </p:clrMapOvr>
  <mc:AlternateContent xmlns:mc="http://schemas.openxmlformats.org/markup-compatibility/2006" xmlns:p14="http://schemas.microsoft.com/office/powerpoint/2010/main">
    <mc:Choice Requires="p14">
      <p:transition spd="med" p14:dur="700" advTm="129136">
        <p:fade/>
      </p:transition>
    </mc:Choice>
    <mc:Fallback xmlns="">
      <p:transition spd="med" advTm="129136">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Challenges</a:t>
            </a:r>
          </a:p>
        </p:txBody>
      </p:sp>
      <p:sp>
        <p:nvSpPr>
          <p:cNvPr id="5" name="Text Placeholder 4">
            <a:extLst>
              <a:ext uri="{FF2B5EF4-FFF2-40B4-BE49-F238E27FC236}">
                <a16:creationId xmlns:a16="http://schemas.microsoft.com/office/drawing/2014/main" id="{4BBD6D25-93CA-48E5-82BB-29D83392F397}"/>
              </a:ext>
            </a:extLst>
          </p:cNvPr>
          <p:cNvSpPr>
            <a:spLocks noGrp="1"/>
          </p:cNvSpPr>
          <p:nvPr>
            <p:ph type="body" sz="quarter" idx="10"/>
          </p:nvPr>
        </p:nvSpPr>
        <p:spPr>
          <a:xfrm>
            <a:off x="584200" y="1435497"/>
            <a:ext cx="11018520" cy="4773102"/>
          </a:xfrm>
        </p:spPr>
        <p:txBody>
          <a:bodyPr vert="horz" wrap="square" lIns="0" tIns="0" rIns="0" bIns="0" rtlCol="0">
            <a:spAutoFit/>
          </a:bodyPr>
          <a:lstStyle/>
          <a:p>
            <a:pPr marL="0" lvl="1" indent="0">
              <a:spcBef>
                <a:spcPts val="1700"/>
              </a:spcBef>
              <a:buNone/>
            </a:pPr>
            <a:r>
              <a:rPr lang="en-US" sz="2800">
                <a:latin typeface="Segoe UI Semilight" panose="020B0402040204020203" pitchFamily="34" charset="0"/>
                <a:cs typeface="Segoe UI Semilight" panose="020B0402040204020203" pitchFamily="34" charset="0"/>
              </a:rPr>
              <a:t>No free lunch…</a:t>
            </a:r>
          </a:p>
          <a:p>
            <a:pPr marL="342900" lvl="1" indent="-342900">
              <a:spcBef>
                <a:spcPts val="1200"/>
              </a:spcBef>
            </a:pPr>
            <a:r>
              <a:rPr lang="en-US">
                <a:latin typeface="Segoe UI" panose="020B0502040204020203" pitchFamily="34" charset="0"/>
                <a:cs typeface="Segoe UI" panose="020B0502040204020203" pitchFamily="34" charset="0"/>
              </a:rPr>
              <a:t>Architectural and operational complexity increase</a:t>
            </a:r>
          </a:p>
          <a:p>
            <a:pPr marL="342900" lvl="1" indent="-342900">
              <a:spcBef>
                <a:spcPts val="1200"/>
              </a:spcBef>
            </a:pPr>
            <a:r>
              <a:rPr lang="en-US">
                <a:latin typeface="Segoe UI" panose="020B0502040204020203" pitchFamily="34" charset="0"/>
                <a:cs typeface="Segoe UI" panose="020B0502040204020203" pitchFamily="34" charset="0"/>
              </a:rPr>
              <a:t>Remote calls escalate network I/O, congestion and latency</a:t>
            </a:r>
          </a:p>
          <a:p>
            <a:pPr marL="342900" lvl="1" indent="-342900">
              <a:spcBef>
                <a:spcPts val="1200"/>
              </a:spcBef>
            </a:pPr>
            <a:r>
              <a:rPr lang="en-US">
                <a:latin typeface="Segoe UI" panose="020B0502040204020203" pitchFamily="34" charset="0"/>
                <a:cs typeface="Segoe UI" panose="020B0502040204020203" pitchFamily="34" charset="0"/>
              </a:rPr>
              <a:t>Distributed services expose points of failure, reducing reliability</a:t>
            </a:r>
          </a:p>
          <a:p>
            <a:pPr marL="342900" lvl="1" indent="-342900">
              <a:spcBef>
                <a:spcPts val="1200"/>
              </a:spcBef>
            </a:pPr>
            <a:r>
              <a:rPr lang="en-US">
                <a:latin typeface="Segoe UI" panose="020B0502040204020203" pitchFamily="34" charset="0"/>
                <a:cs typeface="Segoe UI" panose="020B0502040204020203" pitchFamily="34" charset="0"/>
              </a:rPr>
              <a:t>Decentralized data require eventual consistency delays </a:t>
            </a:r>
          </a:p>
          <a:p>
            <a:pPr marL="342900" lvl="1" indent="-342900">
              <a:spcBef>
                <a:spcPts val="1200"/>
              </a:spcBef>
            </a:pPr>
            <a:r>
              <a:rPr lang="en-US">
                <a:latin typeface="Segoe UI" panose="020B0502040204020203" pitchFamily="34" charset="0"/>
                <a:cs typeface="Segoe UI" panose="020B0502040204020203" pitchFamily="34" charset="0"/>
              </a:rPr>
              <a:t>Integration and versioning concerns become critical </a:t>
            </a:r>
          </a:p>
          <a:p>
            <a:pPr marL="342900" lvl="1" indent="-342900">
              <a:spcBef>
                <a:spcPts val="1200"/>
              </a:spcBef>
            </a:pPr>
            <a:r>
              <a:rPr lang="en-US">
                <a:latin typeface="Segoe UI" panose="020B0502040204020203" pitchFamily="34" charset="0"/>
                <a:cs typeface="Segoe UI" panose="020B0502040204020203" pitchFamily="34" charset="0"/>
              </a:rPr>
              <a:t>Service discovery and routing concerns must be handled</a:t>
            </a:r>
          </a:p>
          <a:p>
            <a:pPr marL="342900" lvl="1" indent="-342900">
              <a:spcBef>
                <a:spcPts val="1200"/>
              </a:spcBef>
            </a:pPr>
            <a:r>
              <a:rPr lang="en-US">
                <a:latin typeface="Segoe UI" panose="020B0502040204020203" pitchFamily="34" charset="0"/>
                <a:cs typeface="Segoe UI" panose="020B0502040204020203" pitchFamily="34" charset="0"/>
              </a:rPr>
              <a:t>Testing—stubs/mocks become key</a:t>
            </a:r>
          </a:p>
          <a:p>
            <a:pPr marL="342900" lvl="1" indent="-342900">
              <a:spcBef>
                <a:spcPts val="1200"/>
              </a:spcBef>
            </a:pPr>
            <a:r>
              <a:rPr lang="en-US">
                <a:latin typeface="Segoe UI" panose="020B0502040204020203" pitchFamily="34" charset="0"/>
                <a:cs typeface="Segoe UI" panose="020B0502040204020203" pitchFamily="34" charset="0"/>
              </a:rPr>
              <a:t>Orchestration, management, and monitoring are mandatory</a:t>
            </a:r>
          </a:p>
          <a:p>
            <a:pPr marL="0" lvl="1" indent="0">
              <a:spcBef>
                <a:spcPts val="1700"/>
              </a:spcBef>
              <a:buNone/>
            </a:pPr>
            <a:endParaRPr lang="en-US" sz="280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735485929"/>
      </p:ext>
    </p:extLst>
  </p:cSld>
  <p:clrMapOvr>
    <a:masterClrMapping/>
  </p:clrMapOvr>
  <mc:AlternateContent xmlns:mc="http://schemas.openxmlformats.org/markup-compatibility/2006" xmlns:p14="http://schemas.microsoft.com/office/powerpoint/2010/main">
    <mc:Choice Requires="p14">
      <p:transition spd="slow" p14:dur="2000" advTm="81277"/>
    </mc:Choice>
    <mc:Fallback xmlns="">
      <p:transition spd="slow" advTm="81277"/>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Microservice candidates</a:t>
            </a:r>
          </a:p>
        </p:txBody>
      </p:sp>
      <p:sp>
        <p:nvSpPr>
          <p:cNvPr id="6" name="Text Placeholder 5"/>
          <p:cNvSpPr>
            <a:spLocks noGrp="1"/>
          </p:cNvSpPr>
          <p:nvPr>
            <p:ph type="body" sz="quarter" idx="10"/>
          </p:nvPr>
        </p:nvSpPr>
        <p:spPr>
          <a:xfrm>
            <a:off x="584200" y="1435497"/>
            <a:ext cx="11018520" cy="4570482"/>
          </a:xfrm>
        </p:spPr>
        <p:txBody>
          <a:bodyPr/>
          <a:lstStyle/>
          <a:p>
            <a:pPr marL="0" lvl="1" indent="0">
              <a:spcBef>
                <a:spcPts val="1800"/>
              </a:spcBef>
              <a:buNone/>
            </a:pPr>
            <a:r>
              <a:rPr lang="en-US" sz="2800">
                <a:latin typeface="Segoe UI Semilight" panose="020B0402040204020203" pitchFamily="34" charset="0"/>
                <a:cs typeface="Segoe UI Semilight" panose="020B0402040204020203" pitchFamily="34" charset="0"/>
              </a:rPr>
              <a:t>Most solutions do not warrant a microservices architecture</a:t>
            </a:r>
          </a:p>
          <a:p>
            <a:pPr marL="0" lvl="1" indent="0">
              <a:spcBef>
                <a:spcPts val="1800"/>
              </a:spcBef>
              <a:buNone/>
            </a:pPr>
            <a:r>
              <a:rPr lang="en-US" sz="2800">
                <a:latin typeface="Segoe UI Semilight" panose="020B0402040204020203" pitchFamily="34" charset="0"/>
                <a:cs typeface="Segoe UI Semilight" panose="020B0402040204020203" pitchFamily="34" charset="0"/>
              </a:rPr>
              <a:t>Consider microservices, when…</a:t>
            </a:r>
          </a:p>
          <a:p>
            <a:pPr marL="288925" lvl="1" indent="-288925">
              <a:spcBef>
                <a:spcPts val="1200"/>
              </a:spcBef>
              <a:buFont typeface="Arial" panose="020B0604020202020204" pitchFamily="34" charset="0"/>
              <a:buChar char="•"/>
            </a:pPr>
            <a:r>
              <a:rPr lang="en-US"/>
              <a:t>Large, strategic enterprise systems that need to align business capabilities/features</a:t>
            </a:r>
            <a:endParaRPr lang="en-US">
              <a:latin typeface="Segoe UI" panose="020B0502040204020203" pitchFamily="34" charset="0"/>
              <a:cs typeface="Segoe UI" panose="020B0502040204020203" pitchFamily="34" charset="0"/>
            </a:endParaRPr>
          </a:p>
          <a:p>
            <a:pPr marL="288925" lvl="1" indent="-288925">
              <a:spcBef>
                <a:spcPts val="1200"/>
              </a:spcBef>
              <a:buFont typeface="Arial" panose="020B0604020202020204" pitchFamily="34" charset="0"/>
              <a:buChar char="•"/>
            </a:pPr>
            <a:r>
              <a:rPr lang="en-US"/>
              <a:t>Systems that require a high release velocity: Frequent feature releases with high confidence</a:t>
            </a:r>
          </a:p>
          <a:p>
            <a:pPr marL="288925" lvl="1" indent="-288925">
              <a:spcBef>
                <a:spcPts val="1200"/>
              </a:spcBef>
              <a:buFont typeface="Arial" panose="020B0604020202020204" pitchFamily="34" charset="0"/>
              <a:buChar char="•"/>
            </a:pPr>
            <a:r>
              <a:rPr lang="en-US"/>
              <a:t>Applications developed by heterogenous teams with expertise in different technology stacks – Polyglot languages and tools</a:t>
            </a:r>
          </a:p>
          <a:p>
            <a:pPr marL="288925" lvl="1" indent="-288925">
              <a:spcBef>
                <a:spcPts val="1200"/>
              </a:spcBef>
              <a:buFont typeface="Arial" panose="020B0604020202020204" pitchFamily="34" charset="0"/>
              <a:buChar char="•"/>
            </a:pPr>
            <a:r>
              <a:rPr lang="en-US"/>
              <a:t>Application with components that must scale independently</a:t>
            </a:r>
            <a:endParaRPr lang="en-US">
              <a:latin typeface="Segoe UI Semilight" panose="020B0402040204020203" pitchFamily="34" charset="0"/>
              <a:cs typeface="Segoe UI Semilight" panose="020B0402040204020203" pitchFamily="34" charset="0"/>
            </a:endParaRPr>
          </a:p>
          <a:p>
            <a:pPr marL="0" lvl="1" indent="0">
              <a:spcBef>
                <a:spcPts val="1800"/>
              </a:spcBef>
              <a:buNone/>
            </a:pPr>
            <a:endParaRPr lang="en-US" sz="2800">
              <a:latin typeface="Segoe UI Semilight" panose="020B0402040204020203" pitchFamily="34" charset="0"/>
              <a:cs typeface="Segoe UI Semilight" panose="020B0402040204020203" pitchFamily="34" charset="0"/>
            </a:endParaRPr>
          </a:p>
          <a:p>
            <a:pPr marL="0" lvl="1" indent="0">
              <a:spcBef>
                <a:spcPts val="1800"/>
              </a:spcBef>
              <a:buNone/>
            </a:pPr>
            <a:endParaRPr lang="en-US" sz="280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187983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C600E24B-1BA4-4E86-9988-22FB9D760E83}"/>
              </a:ext>
            </a:extLst>
          </p:cNvPr>
          <p:cNvGrpSpPr/>
          <p:nvPr/>
        </p:nvGrpSpPr>
        <p:grpSpPr>
          <a:xfrm>
            <a:off x="770684" y="2203003"/>
            <a:ext cx="10650632" cy="3828401"/>
            <a:chOff x="984950" y="2203003"/>
            <a:chExt cx="10650632" cy="3828401"/>
          </a:xfrm>
        </p:grpSpPr>
        <p:grpSp>
          <p:nvGrpSpPr>
            <p:cNvPr id="36" name="Group 35">
              <a:extLst>
                <a:ext uri="{FF2B5EF4-FFF2-40B4-BE49-F238E27FC236}">
                  <a16:creationId xmlns:a16="http://schemas.microsoft.com/office/drawing/2014/main" id="{3FE29046-E64E-4327-A0DC-7246A818F0F0}"/>
                </a:ext>
              </a:extLst>
            </p:cNvPr>
            <p:cNvGrpSpPr/>
            <p:nvPr/>
          </p:nvGrpSpPr>
          <p:grpSpPr>
            <a:xfrm>
              <a:off x="4847226" y="2203003"/>
              <a:ext cx="2926080" cy="3551402"/>
              <a:chOff x="4847226" y="2203003"/>
              <a:chExt cx="2926080" cy="3551402"/>
            </a:xfrm>
          </p:grpSpPr>
          <p:sp>
            <p:nvSpPr>
              <p:cNvPr id="57" name="TextBox 56">
                <a:extLst>
                  <a:ext uri="{FF2B5EF4-FFF2-40B4-BE49-F238E27FC236}">
                    <a16:creationId xmlns:a16="http://schemas.microsoft.com/office/drawing/2014/main" id="{EE891875-5544-4E92-8286-0E2429C8B38E}"/>
                  </a:ext>
                </a:extLst>
              </p:cNvPr>
              <p:cNvSpPr txBox="1"/>
              <p:nvPr/>
            </p:nvSpPr>
            <p:spPr>
              <a:xfrm>
                <a:off x="4847226" y="4910750"/>
                <a:ext cx="2926080" cy="843655"/>
              </a:xfrm>
              <a:prstGeom prst="rect">
                <a:avLst/>
              </a:prstGeom>
              <a:noFill/>
            </p:spPr>
            <p:txBody>
              <a:bodyPr wrap="square" lIns="143428" tIns="143428" rIns="143428" bIns="143428"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b="0" i="0" u="none" strike="noStrike" kern="1200" cap="none" spc="0" normalizeH="0" baseline="0" noProof="0">
                    <a:ln>
                      <a:noFill/>
                    </a:ln>
                    <a:solidFill>
                      <a:srgbClr val="000000"/>
                    </a:solidFill>
                    <a:effectLst/>
                    <a:uLnTx/>
                    <a:uFillTx/>
                    <a:latin typeface="Segoe UI"/>
                    <a:ea typeface="+mn-ea"/>
                  </a:rPr>
                  <a:t>Accelerate containerized application development</a:t>
                </a:r>
                <a:endParaRPr kumimoji="0" lang="en-US"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endParaRPr>
              </a:p>
            </p:txBody>
          </p:sp>
          <p:sp>
            <p:nvSpPr>
              <p:cNvPr id="58" name="TextBox 57">
                <a:extLst>
                  <a:ext uri="{FF2B5EF4-FFF2-40B4-BE49-F238E27FC236}">
                    <a16:creationId xmlns:a16="http://schemas.microsoft.com/office/drawing/2014/main" id="{07B5738B-0C40-440A-BA5B-CDA880F63800}"/>
                  </a:ext>
                </a:extLst>
              </p:cNvPr>
              <p:cNvSpPr txBox="1"/>
              <p:nvPr/>
            </p:nvSpPr>
            <p:spPr>
              <a:xfrm>
                <a:off x="5138460" y="4512619"/>
                <a:ext cx="2343612" cy="6220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panose="020B0702040204020203" pitchFamily="34" charset="0"/>
                    <a:cs typeface="Segoe UI Semibold" panose="020B0702040204020203" pitchFamily="34" charset="0"/>
                  </a:rPr>
                  <a:t>Productivity</a:t>
                </a:r>
              </a:p>
            </p:txBody>
          </p:sp>
          <p:pic>
            <p:nvPicPr>
              <p:cNvPr id="59" name="Graphic 58">
                <a:extLst>
                  <a:ext uri="{FF2B5EF4-FFF2-40B4-BE49-F238E27FC236}">
                    <a16:creationId xmlns:a16="http://schemas.microsoft.com/office/drawing/2014/main" id="{B63503F5-A9E5-47E4-B52F-ED2263987C62}"/>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11850" t="14794" r="11250" b="8907"/>
              <a:stretch/>
            </p:blipFill>
            <p:spPr>
              <a:xfrm>
                <a:off x="5442364" y="2203003"/>
                <a:ext cx="1735805" cy="1712623"/>
              </a:xfrm>
              <a:prstGeom prst="ellipse">
                <a:avLst/>
              </a:prstGeom>
            </p:spPr>
          </p:pic>
        </p:grpSp>
        <p:grpSp>
          <p:nvGrpSpPr>
            <p:cNvPr id="39" name="Group 38">
              <a:extLst>
                <a:ext uri="{FF2B5EF4-FFF2-40B4-BE49-F238E27FC236}">
                  <a16:creationId xmlns:a16="http://schemas.microsoft.com/office/drawing/2014/main" id="{A145F420-5048-4B95-96F6-98F4C7E47D28}"/>
                </a:ext>
              </a:extLst>
            </p:cNvPr>
            <p:cNvGrpSpPr/>
            <p:nvPr/>
          </p:nvGrpSpPr>
          <p:grpSpPr>
            <a:xfrm>
              <a:off x="984950" y="2218129"/>
              <a:ext cx="2926080" cy="3813275"/>
              <a:chOff x="984950" y="2218129"/>
              <a:chExt cx="2926080" cy="3813275"/>
            </a:xfrm>
          </p:grpSpPr>
          <p:sp>
            <p:nvSpPr>
              <p:cNvPr id="50" name="TextBox 49">
                <a:extLst>
                  <a:ext uri="{FF2B5EF4-FFF2-40B4-BE49-F238E27FC236}">
                    <a16:creationId xmlns:a16="http://schemas.microsoft.com/office/drawing/2014/main" id="{396D2452-6CCE-4A6E-B18F-CE89572F475B}"/>
                  </a:ext>
                </a:extLst>
              </p:cNvPr>
              <p:cNvSpPr txBox="1"/>
              <p:nvPr/>
            </p:nvSpPr>
            <p:spPr>
              <a:xfrm>
                <a:off x="984950" y="4910750"/>
                <a:ext cx="2926080" cy="1120654"/>
              </a:xfrm>
              <a:prstGeom prst="rect">
                <a:avLst/>
              </a:prstGeom>
              <a:noFill/>
            </p:spPr>
            <p:txBody>
              <a:bodyPr wrap="square" lIns="143428" tIns="143428" rIns="143428" bIns="143428"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b="0" i="0" u="none" strike="noStrike" kern="1200" cap="none" spc="0" normalizeH="0" baseline="0" noProof="0">
                    <a:ln>
                      <a:noFill/>
                    </a:ln>
                    <a:solidFill>
                      <a:srgbClr val="000000"/>
                    </a:solidFill>
                    <a:effectLst/>
                    <a:uLnTx/>
                    <a:uFillTx/>
                    <a:latin typeface="Segoe UI"/>
                    <a:ea typeface="+mn-ea"/>
                  </a:rPr>
                  <a:t>Deploy containerized applications in your preferred environment</a:t>
                </a:r>
                <a:endParaRPr kumimoji="0" lang="en-US"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endParaRPr>
              </a:p>
            </p:txBody>
          </p:sp>
          <p:sp>
            <p:nvSpPr>
              <p:cNvPr id="54" name="TextBox 53">
                <a:extLst>
                  <a:ext uri="{FF2B5EF4-FFF2-40B4-BE49-F238E27FC236}">
                    <a16:creationId xmlns:a16="http://schemas.microsoft.com/office/drawing/2014/main" id="{ABCA85DB-FA02-459F-9D69-9B78C578834D}"/>
                  </a:ext>
                </a:extLst>
              </p:cNvPr>
              <p:cNvSpPr txBox="1"/>
              <p:nvPr/>
            </p:nvSpPr>
            <p:spPr>
              <a:xfrm>
                <a:off x="1560183" y="4512619"/>
                <a:ext cx="1775615" cy="6220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panose="020B0702040204020203" pitchFamily="34" charset="0"/>
                    <a:cs typeface="Segoe UI Semibold" panose="020B0702040204020203" pitchFamily="34" charset="0"/>
                  </a:rPr>
                  <a:t>Flexibility</a:t>
                </a:r>
              </a:p>
            </p:txBody>
          </p:sp>
          <p:pic>
            <p:nvPicPr>
              <p:cNvPr id="56" name="Graphic 55">
                <a:extLst>
                  <a:ext uri="{FF2B5EF4-FFF2-40B4-BE49-F238E27FC236}">
                    <a16:creationId xmlns:a16="http://schemas.microsoft.com/office/drawing/2014/main" id="{7CB339B4-804A-447D-93DD-E1498F4E6B39}"/>
                  </a:ext>
                </a:extLst>
              </p:cNvPr>
              <p:cNvPicPr>
                <a:picLocks noChangeAspect="1"/>
              </p:cNvPicPr>
              <p:nvPr/>
            </p:nvPicPr>
            <p:blipFill rotWithShape="1">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5661" t="12270" r="13153" b="12168"/>
              <a:stretch/>
            </p:blipFill>
            <p:spPr>
              <a:xfrm>
                <a:off x="1564925" y="2218129"/>
                <a:ext cx="1766131" cy="1682370"/>
              </a:xfrm>
              <a:prstGeom prst="ellipse">
                <a:avLst/>
              </a:prstGeom>
            </p:spPr>
          </p:pic>
        </p:grpSp>
        <p:grpSp>
          <p:nvGrpSpPr>
            <p:cNvPr id="46" name="Group 45">
              <a:extLst>
                <a:ext uri="{FF2B5EF4-FFF2-40B4-BE49-F238E27FC236}">
                  <a16:creationId xmlns:a16="http://schemas.microsoft.com/office/drawing/2014/main" id="{AF79C4AB-569A-417D-9D71-290B526BA70A}"/>
                </a:ext>
              </a:extLst>
            </p:cNvPr>
            <p:cNvGrpSpPr/>
            <p:nvPr/>
          </p:nvGrpSpPr>
          <p:grpSpPr>
            <a:xfrm>
              <a:off x="8709502" y="2271830"/>
              <a:ext cx="2926080" cy="3759574"/>
              <a:chOff x="8709502" y="2271830"/>
              <a:chExt cx="2926080" cy="3759574"/>
            </a:xfrm>
          </p:grpSpPr>
          <p:sp>
            <p:nvSpPr>
              <p:cNvPr id="47" name="TextBox 46">
                <a:extLst>
                  <a:ext uri="{FF2B5EF4-FFF2-40B4-BE49-F238E27FC236}">
                    <a16:creationId xmlns:a16="http://schemas.microsoft.com/office/drawing/2014/main" id="{33982D04-DC81-4A37-B5D8-C7511770A503}"/>
                  </a:ext>
                </a:extLst>
              </p:cNvPr>
              <p:cNvSpPr txBox="1"/>
              <p:nvPr/>
            </p:nvSpPr>
            <p:spPr>
              <a:xfrm>
                <a:off x="8709502" y="4910750"/>
                <a:ext cx="2926080" cy="1120654"/>
              </a:xfrm>
              <a:prstGeom prst="rect">
                <a:avLst/>
              </a:prstGeom>
              <a:noFill/>
            </p:spPr>
            <p:txBody>
              <a:bodyPr wrap="square" lIns="143428" tIns="143428" rIns="143428" bIns="143428"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b="0" i="0" u="none" strike="noStrike" kern="1200" cap="none" spc="0" normalizeH="0" baseline="0" noProof="0">
                    <a:ln>
                      <a:noFill/>
                    </a:ln>
                    <a:solidFill>
                      <a:srgbClr val="000000"/>
                    </a:solidFill>
                    <a:effectLst/>
                    <a:uLnTx/>
                    <a:uFillTx/>
                    <a:latin typeface="Segoe UI"/>
                    <a:ea typeface="+mn-ea"/>
                  </a:rPr>
                  <a:t>Manage, monitor, </a:t>
                </a:r>
                <a:br>
                  <a:rPr kumimoji="0" lang="en-US" b="0" i="0" u="none" strike="noStrike" kern="1200" cap="none" spc="0" normalizeH="0" baseline="0" noProof="0">
                    <a:ln>
                      <a:noFill/>
                    </a:ln>
                    <a:solidFill>
                      <a:srgbClr val="000000"/>
                    </a:solidFill>
                    <a:effectLst/>
                    <a:uLnTx/>
                    <a:uFillTx/>
                    <a:latin typeface="Segoe UI"/>
                    <a:ea typeface="+mn-ea"/>
                  </a:rPr>
                </a:br>
                <a:r>
                  <a:rPr kumimoji="0" lang="en-US" b="0" i="0" u="none" strike="noStrike" kern="1200" cap="none" spc="0" normalizeH="0" baseline="0" noProof="0">
                    <a:ln>
                      <a:noFill/>
                    </a:ln>
                    <a:solidFill>
                      <a:srgbClr val="000000"/>
                    </a:solidFill>
                    <a:effectLst/>
                    <a:uLnTx/>
                    <a:uFillTx/>
                    <a:latin typeface="Segoe UI"/>
                    <a:ea typeface="+mn-ea"/>
                  </a:rPr>
                  <a:t>and secure your containers</a:t>
                </a:r>
                <a:r>
                  <a:rPr kumimoji="0" lang="en-US" b="0" i="0" u="none" strike="noStrike" kern="1200" cap="none" spc="0" normalizeH="0" noProof="0">
                    <a:ln>
                      <a:noFill/>
                    </a:ln>
                    <a:solidFill>
                      <a:srgbClr val="000000"/>
                    </a:solidFill>
                    <a:effectLst/>
                    <a:uLnTx/>
                    <a:uFillTx/>
                    <a:latin typeface="Segoe UI"/>
                    <a:ea typeface="+mn-ea"/>
                  </a:rPr>
                  <a:t> easily </a:t>
                </a:r>
                <a:endParaRPr kumimoji="0" lang="en-US"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endParaRPr>
              </a:p>
            </p:txBody>
          </p:sp>
          <p:sp>
            <p:nvSpPr>
              <p:cNvPr id="48" name="TextBox 47">
                <a:extLst>
                  <a:ext uri="{FF2B5EF4-FFF2-40B4-BE49-F238E27FC236}">
                    <a16:creationId xmlns:a16="http://schemas.microsoft.com/office/drawing/2014/main" id="{681F2374-9616-45B5-A545-4552B7B2177C}"/>
                  </a:ext>
                </a:extLst>
              </p:cNvPr>
              <p:cNvSpPr txBox="1"/>
              <p:nvPr/>
            </p:nvSpPr>
            <p:spPr>
              <a:xfrm>
                <a:off x="9144754" y="4512619"/>
                <a:ext cx="2055576" cy="6220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panose="020B0702040204020203" pitchFamily="34" charset="0"/>
                    <a:cs typeface="Segoe UI Semibold" panose="020B0702040204020203" pitchFamily="34" charset="0"/>
                  </a:rPr>
                  <a:t>Trust </a:t>
                </a:r>
              </a:p>
            </p:txBody>
          </p:sp>
          <p:pic>
            <p:nvPicPr>
              <p:cNvPr id="49" name="Graphic 48">
                <a:extLst>
                  <a:ext uri="{FF2B5EF4-FFF2-40B4-BE49-F238E27FC236}">
                    <a16:creationId xmlns:a16="http://schemas.microsoft.com/office/drawing/2014/main" id="{03291D70-BF13-43C5-996A-21F811455713}"/>
                  </a:ext>
                </a:extLst>
              </p:cNvPr>
              <p:cNvPicPr>
                <a:picLocks noChangeAspect="1"/>
              </p:cNvPicPr>
              <p:nvPr/>
            </p:nvPicPr>
            <p:blipFill rotWithShape="1">
              <a:blip r:embed="rId7" cstate="print">
                <a:alphaModFix/>
                <a:extLst>
                  <a:ext uri="{28A0092B-C50C-407E-A947-70E740481C1C}">
                    <a14:useLocalDpi xmlns:a14="http://schemas.microsoft.com/office/drawing/2010/main"/>
                  </a:ext>
                  <a:ext uri="{96DAC541-7B7A-43D3-8B79-37D633B846F1}">
                    <asvg:svgBlip xmlns:asvg="http://schemas.microsoft.com/office/drawing/2016/SVG/main" r:embed="rId8"/>
                  </a:ext>
                </a:extLst>
              </a:blip>
              <a:srcRect l="32569" t="20221" r="17724" b="19447"/>
              <a:stretch/>
            </p:blipFill>
            <p:spPr>
              <a:xfrm>
                <a:off x="9413127" y="2271830"/>
                <a:ext cx="1518830" cy="1574969"/>
              </a:xfrm>
              <a:prstGeom prst="rect">
                <a:avLst/>
              </a:prstGeom>
            </p:spPr>
          </p:pic>
        </p:grpSp>
      </p:grpSp>
      <p:sp>
        <p:nvSpPr>
          <p:cNvPr id="60" name="Title 24">
            <a:extLst>
              <a:ext uri="{FF2B5EF4-FFF2-40B4-BE49-F238E27FC236}">
                <a16:creationId xmlns:a16="http://schemas.microsoft.com/office/drawing/2014/main" id="{1F8B29A9-EC45-4E70-B71B-270B5AF63B8C}"/>
              </a:ext>
            </a:extLst>
          </p:cNvPr>
          <p:cNvSpPr txBox="1">
            <a:spLocks/>
          </p:cNvSpPr>
          <p:nvPr/>
        </p:nvSpPr>
        <p:spPr>
          <a:xfrm>
            <a:off x="588263" y="880012"/>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spcAft>
                <a:spcPts val="1200"/>
              </a:spcAft>
              <a:buSzPct val="90000"/>
              <a:defRPr/>
            </a:pPr>
            <a:r>
              <a:rPr lang="en-US">
                <a:solidFill>
                  <a:srgbClr val="000000"/>
                </a:solidFill>
                <a:latin typeface="Segoe UI Light" panose="020B0502040204020203" pitchFamily="34" charset="0"/>
                <a:cs typeface="Segoe UI Light" panose="020B0502040204020203" pitchFamily="34" charset="0"/>
              </a:rPr>
              <a:t>How </a:t>
            </a:r>
            <a:r>
              <a:rPr lang="en-US">
                <a:solidFill>
                  <a:srgbClr val="0078D4"/>
                </a:solidFill>
                <a:latin typeface="Selawik Semibold" panose="020B0702040204020203" pitchFamily="34" charset="0"/>
                <a:cs typeface="Segoe UI Light" panose="020B0502040204020203" pitchFamily="34" charset="0"/>
              </a:rPr>
              <a:t>Azure</a:t>
            </a:r>
            <a:r>
              <a:rPr lang="en-US">
                <a:solidFill>
                  <a:srgbClr val="000000"/>
                </a:solidFill>
                <a:latin typeface="Segoe UI Light" panose="020B0502040204020203" pitchFamily="34" charset="0"/>
                <a:cs typeface="Segoe UI Light" panose="020B0502040204020203" pitchFamily="34" charset="0"/>
              </a:rPr>
              <a:t> helps</a:t>
            </a:r>
          </a:p>
        </p:txBody>
      </p:sp>
    </p:spTree>
    <p:extLst>
      <p:ext uri="{BB962C8B-B14F-4D97-AF65-F5344CB8AC3E}">
        <p14:creationId xmlns:p14="http://schemas.microsoft.com/office/powerpoint/2010/main" val="4127399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BB8B40-F3D1-4331-B430-E127860A693D}"/>
              </a:ext>
            </a:extLst>
          </p:cNvPr>
          <p:cNvSpPr>
            <a:spLocks noGrp="1"/>
          </p:cNvSpPr>
          <p:nvPr>
            <p:ph type="title"/>
          </p:nvPr>
        </p:nvSpPr>
        <p:spPr>
          <a:xfrm>
            <a:off x="588262" y="2942606"/>
            <a:ext cx="6189056" cy="590931"/>
          </a:xfrm>
        </p:spPr>
        <p:txBody>
          <a:bodyPr>
            <a:spAutoFit/>
          </a:bodyPr>
          <a:lstStyle/>
          <a:p>
            <a:r>
              <a:rPr lang="en-US" sz="3600" b="1" spc="-50">
                <a:ln w="3175">
                  <a:noFill/>
                </a:ln>
                <a:solidFill>
                  <a:srgbClr val="000000"/>
                </a:solidFill>
                <a:ea typeface="+mn-ea"/>
                <a:cs typeface="Segoe UI" pitchFamily="34" charset="0"/>
              </a:rPr>
              <a:t>Containers and Microservices </a:t>
            </a:r>
          </a:p>
        </p:txBody>
      </p:sp>
      <p:sp>
        <p:nvSpPr>
          <p:cNvPr id="7" name="Text Placeholder 6">
            <a:extLst>
              <a:ext uri="{FF2B5EF4-FFF2-40B4-BE49-F238E27FC236}">
                <a16:creationId xmlns:a16="http://schemas.microsoft.com/office/drawing/2014/main" id="{5B233F29-D5A5-4DF5-AA87-020831D2ED66}"/>
              </a:ext>
            </a:extLst>
          </p:cNvPr>
          <p:cNvSpPr>
            <a:spLocks noGrp="1"/>
          </p:cNvSpPr>
          <p:nvPr>
            <p:ph type="body" sz="quarter" idx="12"/>
          </p:nvPr>
        </p:nvSpPr>
        <p:spPr>
          <a:xfrm>
            <a:off x="710990" y="3970492"/>
            <a:ext cx="5943600" cy="553998"/>
          </a:xfrm>
        </p:spPr>
        <p:txBody>
          <a:bodyPr/>
          <a:lstStyle/>
          <a:p>
            <a:r>
              <a:rPr lang="de-DE" dirty="0">
                <a:solidFill>
                  <a:srgbClr val="000000"/>
                </a:solidFill>
              </a:rPr>
              <a:t>Greg Hoelzer</a:t>
            </a:r>
          </a:p>
          <a:p>
            <a:r>
              <a:rPr lang="de-DE">
                <a:solidFill>
                  <a:srgbClr val="000000"/>
                </a:solidFill>
              </a:rPr>
              <a:t>Azure App Dev Tech Specialist</a:t>
            </a:r>
            <a:endParaRPr lang="de-DE" dirty="0">
              <a:solidFill>
                <a:srgbClr val="000000"/>
              </a:solidFill>
            </a:endParaRPr>
          </a:p>
        </p:txBody>
      </p:sp>
    </p:spTree>
    <p:extLst>
      <p:ext uri="{BB962C8B-B14F-4D97-AF65-F5344CB8AC3E}">
        <p14:creationId xmlns:p14="http://schemas.microsoft.com/office/powerpoint/2010/main" val="1869999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24">
            <a:extLst>
              <a:ext uri="{FF2B5EF4-FFF2-40B4-BE49-F238E27FC236}">
                <a16:creationId xmlns:a16="http://schemas.microsoft.com/office/drawing/2014/main" id="{C2F0F001-582C-4114-A84F-84EB2D905352}"/>
              </a:ext>
            </a:extLst>
          </p:cNvPr>
          <p:cNvSpPr txBox="1">
            <a:spLocks/>
          </p:cNvSpPr>
          <p:nvPr/>
        </p:nvSpPr>
        <p:spPr>
          <a:xfrm>
            <a:off x="588263" y="880012"/>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spcAft>
                <a:spcPts val="1200"/>
              </a:spcAft>
              <a:buSzPct val="90000"/>
              <a:defRPr/>
            </a:pPr>
            <a:r>
              <a:rPr lang="en-US">
                <a:solidFill>
                  <a:srgbClr val="0078D4"/>
                </a:solidFill>
                <a:latin typeface="Selawik Semibold" panose="020B0702040204020203" pitchFamily="34" charset="0"/>
                <a:cs typeface="Segoe UI Light" panose="020B0502040204020203" pitchFamily="34" charset="0"/>
              </a:rPr>
              <a:t>Containers</a:t>
            </a:r>
            <a:r>
              <a:rPr lang="en-US">
                <a:solidFill>
                  <a:srgbClr val="000000"/>
                </a:solidFill>
                <a:latin typeface="Segoe UI Light" panose="020B0502040204020203" pitchFamily="34" charset="0"/>
                <a:cs typeface="Segoe UI Light" panose="020B0502040204020203" pitchFamily="34" charset="0"/>
              </a:rPr>
              <a:t> in Azure</a:t>
            </a:r>
          </a:p>
        </p:txBody>
      </p:sp>
      <p:cxnSp>
        <p:nvCxnSpPr>
          <p:cNvPr id="90" name="Straight Arrow Connector 89">
            <a:extLst>
              <a:ext uri="{FF2B5EF4-FFF2-40B4-BE49-F238E27FC236}">
                <a16:creationId xmlns:a16="http://schemas.microsoft.com/office/drawing/2014/main" id="{07A24066-09FB-4267-8C76-167CC61EC7C2}"/>
              </a:ext>
            </a:extLst>
          </p:cNvPr>
          <p:cNvCxnSpPr>
            <a:cxnSpLocks/>
          </p:cNvCxnSpPr>
          <p:nvPr/>
        </p:nvCxnSpPr>
        <p:spPr>
          <a:xfrm>
            <a:off x="425962" y="6395624"/>
            <a:ext cx="11340077" cy="0"/>
          </a:xfrm>
          <a:prstGeom prst="straightConnector1">
            <a:avLst/>
          </a:prstGeom>
          <a:ln w="28575" cap="rnd">
            <a:solidFill>
              <a:srgbClr val="0078D4"/>
            </a:solidFill>
            <a:prstDash val="dash"/>
            <a:headEnd type="none"/>
            <a:tailEnd type="none" w="lg" len="lg"/>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4F0CC211-EA84-4351-9688-8608B169036A}"/>
              </a:ext>
            </a:extLst>
          </p:cNvPr>
          <p:cNvSpPr txBox="1"/>
          <p:nvPr/>
        </p:nvSpPr>
        <p:spPr>
          <a:xfrm>
            <a:off x="3749710" y="6109392"/>
            <a:ext cx="4692580" cy="572464"/>
          </a:xfrm>
          <a:prstGeom prst="rect">
            <a:avLst/>
          </a:prstGeom>
          <a:solidFill>
            <a:schemeClr val="bg1"/>
          </a:solidFill>
        </p:spPr>
        <p:txBody>
          <a:bodyPr wrap="square" lIns="182880" tIns="146304" rIns="182880" bIns="146304" rtlCol="0">
            <a:spAutoFit/>
          </a:bodyPr>
          <a:lstStyle/>
          <a:p>
            <a:pPr algn="ctr">
              <a:lnSpc>
                <a:spcPct val="90000"/>
              </a:lnSpc>
              <a:spcAft>
                <a:spcPts val="600"/>
              </a:spcAft>
            </a:pPr>
            <a:r>
              <a:rPr lang="en-US" sz="2000">
                <a:solidFill>
                  <a:srgbClr val="0078D4"/>
                </a:solidFill>
                <a:latin typeface="Segoe UI Semibold" panose="020B0702040204020203" pitchFamily="34" charset="0"/>
                <a:cs typeface="Segoe UI Semibold" panose="020B0702040204020203" pitchFamily="34" charset="0"/>
              </a:rPr>
              <a:t>Choice of developer tools and clients</a:t>
            </a:r>
          </a:p>
        </p:txBody>
      </p:sp>
      <p:grpSp>
        <p:nvGrpSpPr>
          <p:cNvPr id="16" name="Group 15">
            <a:extLst>
              <a:ext uri="{FF2B5EF4-FFF2-40B4-BE49-F238E27FC236}">
                <a16:creationId xmlns:a16="http://schemas.microsoft.com/office/drawing/2014/main" id="{4B3DB48F-BC8B-433D-96D8-A0F977B1C7BC}"/>
              </a:ext>
            </a:extLst>
          </p:cNvPr>
          <p:cNvGrpSpPr/>
          <p:nvPr/>
        </p:nvGrpSpPr>
        <p:grpSpPr>
          <a:xfrm>
            <a:off x="1937111" y="5024175"/>
            <a:ext cx="8317779" cy="934485"/>
            <a:chOff x="2626551" y="5024175"/>
            <a:chExt cx="8317779" cy="934485"/>
          </a:xfrm>
        </p:grpSpPr>
        <p:grpSp>
          <p:nvGrpSpPr>
            <p:cNvPr id="15" name="Group 14">
              <a:extLst>
                <a:ext uri="{FF2B5EF4-FFF2-40B4-BE49-F238E27FC236}">
                  <a16:creationId xmlns:a16="http://schemas.microsoft.com/office/drawing/2014/main" id="{54464C46-7D36-4E94-9B30-88229484B223}"/>
                </a:ext>
              </a:extLst>
            </p:cNvPr>
            <p:cNvGrpSpPr/>
            <p:nvPr/>
          </p:nvGrpSpPr>
          <p:grpSpPr>
            <a:xfrm>
              <a:off x="2626551" y="5024175"/>
              <a:ext cx="4095796" cy="934485"/>
              <a:chOff x="425963" y="5114611"/>
              <a:chExt cx="4095796" cy="934485"/>
            </a:xfrm>
          </p:grpSpPr>
          <p:sp>
            <p:nvSpPr>
              <p:cNvPr id="91" name="Rectangle: Rounded Corners 90">
                <a:extLst>
                  <a:ext uri="{FF2B5EF4-FFF2-40B4-BE49-F238E27FC236}">
                    <a16:creationId xmlns:a16="http://schemas.microsoft.com/office/drawing/2014/main" id="{09C1DAD8-997D-4960-8A7A-A123010D9084}"/>
                  </a:ext>
                </a:extLst>
              </p:cNvPr>
              <p:cNvSpPr/>
              <p:nvPr/>
            </p:nvSpPr>
            <p:spPr bwMode="auto">
              <a:xfrm>
                <a:off x="425963" y="5114611"/>
                <a:ext cx="4095796" cy="934485"/>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grpSp>
            <p:nvGrpSpPr>
              <p:cNvPr id="10" name="Group 9">
                <a:extLst>
                  <a:ext uri="{FF2B5EF4-FFF2-40B4-BE49-F238E27FC236}">
                    <a16:creationId xmlns:a16="http://schemas.microsoft.com/office/drawing/2014/main" id="{6D8A3A6F-96FB-40B6-9693-5B2631F5F27B}"/>
                  </a:ext>
                </a:extLst>
              </p:cNvPr>
              <p:cNvGrpSpPr/>
              <p:nvPr/>
            </p:nvGrpSpPr>
            <p:grpSpPr>
              <a:xfrm>
                <a:off x="573685" y="5280046"/>
                <a:ext cx="3800352" cy="603614"/>
                <a:chOff x="2238707" y="5094267"/>
                <a:chExt cx="3800352" cy="603614"/>
              </a:xfrm>
            </p:grpSpPr>
            <p:sp>
              <p:nvSpPr>
                <p:cNvPr id="92" name="TextBox 91">
                  <a:extLst>
                    <a:ext uri="{FF2B5EF4-FFF2-40B4-BE49-F238E27FC236}">
                      <a16:creationId xmlns:a16="http://schemas.microsoft.com/office/drawing/2014/main" id="{08B61DAD-A809-4CEC-B9EF-A1842E1BDD2F}"/>
                    </a:ext>
                  </a:extLst>
                </p:cNvPr>
                <p:cNvSpPr txBox="1"/>
                <p:nvPr/>
              </p:nvSpPr>
              <p:spPr>
                <a:xfrm>
                  <a:off x="2796798" y="5109842"/>
                  <a:ext cx="3242261" cy="572464"/>
                </a:xfrm>
                <a:prstGeom prst="rect">
                  <a:avLst/>
                </a:prstGeom>
                <a:noFill/>
              </p:spPr>
              <p:txBody>
                <a:bodyPr wrap="square" lIns="182880" tIns="146304" rIns="182880" bIns="146304" rtlCol="0">
                  <a:spAutoFit/>
                </a:bodyPr>
                <a:lstStyle/>
                <a:p>
                  <a:pPr>
                    <a:lnSpc>
                      <a:spcPct val="90000"/>
                    </a:lnSpc>
                    <a:spcAft>
                      <a:spcPts val="600"/>
                    </a:spcAft>
                  </a:pPr>
                  <a:r>
                    <a:rPr lang="en-US" sz="2000">
                      <a:solidFill>
                        <a:srgbClr val="0078D4"/>
                      </a:solidFill>
                      <a:latin typeface="Segoe UI Semibold" panose="020B0702040204020203" pitchFamily="34" charset="0"/>
                      <a:cs typeface="Segoe UI Semibold" panose="020B0702040204020203" pitchFamily="34" charset="0"/>
                    </a:rPr>
                    <a:t>Azure Container Registry</a:t>
                  </a:r>
                </a:p>
              </p:txBody>
            </p:sp>
            <p:pic>
              <p:nvPicPr>
                <p:cNvPr id="97" name="Graphic 96">
                  <a:extLst>
                    <a:ext uri="{FF2B5EF4-FFF2-40B4-BE49-F238E27FC236}">
                      <a16:creationId xmlns:a16="http://schemas.microsoft.com/office/drawing/2014/main" id="{19D391BD-B055-4536-9F90-B9D9F3FE5F8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238707" y="5094267"/>
                  <a:ext cx="603614" cy="603614"/>
                </a:xfrm>
                <a:prstGeom prst="rect">
                  <a:avLst/>
                </a:prstGeom>
              </p:spPr>
            </p:pic>
          </p:grpSp>
        </p:grpSp>
        <p:grpSp>
          <p:nvGrpSpPr>
            <p:cNvPr id="14" name="Group 13">
              <a:extLst>
                <a:ext uri="{FF2B5EF4-FFF2-40B4-BE49-F238E27FC236}">
                  <a16:creationId xmlns:a16="http://schemas.microsoft.com/office/drawing/2014/main" id="{56F52D28-87B1-490E-88E1-19D7C246BBC6}"/>
                </a:ext>
              </a:extLst>
            </p:cNvPr>
            <p:cNvGrpSpPr/>
            <p:nvPr/>
          </p:nvGrpSpPr>
          <p:grpSpPr>
            <a:xfrm>
              <a:off x="6848534" y="5024175"/>
              <a:ext cx="4095796" cy="934485"/>
              <a:chOff x="4818767" y="4392804"/>
              <a:chExt cx="4095796" cy="934485"/>
            </a:xfrm>
          </p:grpSpPr>
          <p:sp>
            <p:nvSpPr>
              <p:cNvPr id="115" name="Rectangle: Rounded Corners 114">
                <a:extLst>
                  <a:ext uri="{FF2B5EF4-FFF2-40B4-BE49-F238E27FC236}">
                    <a16:creationId xmlns:a16="http://schemas.microsoft.com/office/drawing/2014/main" id="{113C9938-3128-4986-909C-E32AD6EC5B99}"/>
                  </a:ext>
                </a:extLst>
              </p:cNvPr>
              <p:cNvSpPr/>
              <p:nvPr/>
            </p:nvSpPr>
            <p:spPr bwMode="auto">
              <a:xfrm>
                <a:off x="4818767" y="4392804"/>
                <a:ext cx="4095796" cy="934485"/>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grpSp>
            <p:nvGrpSpPr>
              <p:cNvPr id="9" name="Group 8">
                <a:extLst>
                  <a:ext uri="{FF2B5EF4-FFF2-40B4-BE49-F238E27FC236}">
                    <a16:creationId xmlns:a16="http://schemas.microsoft.com/office/drawing/2014/main" id="{77B8EC9B-F4AB-412C-9710-E1B779916DF5}"/>
                  </a:ext>
                </a:extLst>
              </p:cNvPr>
              <p:cNvGrpSpPr/>
              <p:nvPr/>
            </p:nvGrpSpPr>
            <p:grpSpPr>
              <a:xfrm>
                <a:off x="5719659" y="4573814"/>
                <a:ext cx="2294013" cy="572464"/>
                <a:chOff x="6407860" y="5126058"/>
                <a:chExt cx="2294013" cy="572464"/>
              </a:xfrm>
            </p:grpSpPr>
            <p:sp>
              <p:nvSpPr>
                <p:cNvPr id="93" name="TextBox 92">
                  <a:extLst>
                    <a:ext uri="{FF2B5EF4-FFF2-40B4-BE49-F238E27FC236}">
                      <a16:creationId xmlns:a16="http://schemas.microsoft.com/office/drawing/2014/main" id="{47EACD77-5B41-49C7-8480-91F7E8909716}"/>
                    </a:ext>
                  </a:extLst>
                </p:cNvPr>
                <p:cNvSpPr txBox="1"/>
                <p:nvPr/>
              </p:nvSpPr>
              <p:spPr>
                <a:xfrm>
                  <a:off x="6938376" y="5126058"/>
                  <a:ext cx="1763497" cy="572464"/>
                </a:xfrm>
                <a:prstGeom prst="rect">
                  <a:avLst/>
                </a:prstGeom>
                <a:noFill/>
              </p:spPr>
              <p:txBody>
                <a:bodyPr wrap="square" lIns="182880" tIns="146304" rIns="182880" bIns="146304" rtlCol="0">
                  <a:spAutoFit/>
                </a:bodyPr>
                <a:lstStyle/>
                <a:p>
                  <a:pPr>
                    <a:lnSpc>
                      <a:spcPct val="90000"/>
                    </a:lnSpc>
                    <a:spcAft>
                      <a:spcPts val="600"/>
                    </a:spcAft>
                  </a:pPr>
                  <a:r>
                    <a:rPr lang="en-US" sz="2000">
                      <a:solidFill>
                        <a:srgbClr val="0078D4"/>
                      </a:solidFill>
                      <a:latin typeface="Segoe UI Semibold" panose="020B0702040204020203" pitchFamily="34" charset="0"/>
                      <a:cs typeface="Segoe UI Semibold" panose="020B0702040204020203" pitchFamily="34" charset="0"/>
                    </a:rPr>
                    <a:t>Docker Hub</a:t>
                  </a:r>
                </a:p>
              </p:txBody>
            </p:sp>
            <p:grpSp>
              <p:nvGrpSpPr>
                <p:cNvPr id="101" name="Group 100">
                  <a:extLst>
                    <a:ext uri="{FF2B5EF4-FFF2-40B4-BE49-F238E27FC236}">
                      <a16:creationId xmlns:a16="http://schemas.microsoft.com/office/drawing/2014/main" id="{EB7012B0-FCB7-4464-B39B-908FDAECF299}"/>
                    </a:ext>
                  </a:extLst>
                </p:cNvPr>
                <p:cNvGrpSpPr/>
                <p:nvPr/>
              </p:nvGrpSpPr>
              <p:grpSpPr>
                <a:xfrm>
                  <a:off x="6407860" y="5130968"/>
                  <a:ext cx="533313" cy="562645"/>
                  <a:chOff x="7385969" y="4256047"/>
                  <a:chExt cx="381000" cy="401955"/>
                </a:xfrm>
                <a:solidFill>
                  <a:srgbClr val="0078D4"/>
                </a:solidFill>
              </p:grpSpPr>
              <p:grpSp>
                <p:nvGrpSpPr>
                  <p:cNvPr id="102" name="Group 101">
                    <a:extLst>
                      <a:ext uri="{FF2B5EF4-FFF2-40B4-BE49-F238E27FC236}">
                        <a16:creationId xmlns:a16="http://schemas.microsoft.com/office/drawing/2014/main" id="{4010C269-952E-4E55-A2E5-7BB89CE8632C}"/>
                      </a:ext>
                    </a:extLst>
                  </p:cNvPr>
                  <p:cNvGrpSpPr/>
                  <p:nvPr/>
                </p:nvGrpSpPr>
                <p:grpSpPr>
                  <a:xfrm>
                    <a:off x="7452324" y="4351548"/>
                    <a:ext cx="275587" cy="195652"/>
                    <a:chOff x="8187346" y="4467570"/>
                    <a:chExt cx="392253" cy="278478"/>
                  </a:xfrm>
                  <a:grpFill/>
                </p:grpSpPr>
                <p:sp>
                  <p:nvSpPr>
                    <p:cNvPr id="105" name="Freeform: Shape 104">
                      <a:extLst>
                        <a:ext uri="{FF2B5EF4-FFF2-40B4-BE49-F238E27FC236}">
                          <a16:creationId xmlns:a16="http://schemas.microsoft.com/office/drawing/2014/main" id="{3B8BDF1D-63F0-4259-B732-69468799AED0}"/>
                        </a:ext>
                      </a:extLst>
                    </p:cNvPr>
                    <p:cNvSpPr/>
                    <p:nvPr/>
                  </p:nvSpPr>
                  <p:spPr>
                    <a:xfrm>
                      <a:off x="8187346" y="4539320"/>
                      <a:ext cx="392253" cy="206728"/>
                    </a:xfrm>
                    <a:custGeom>
                      <a:avLst/>
                      <a:gdLst>
                        <a:gd name="connsiteX0" fmla="*/ 2820763 w 4229100"/>
                        <a:gd name="connsiteY0" fmla="*/ 836342 h 2228850"/>
                        <a:gd name="connsiteX1" fmla="*/ 3254532 w 4229100"/>
                        <a:gd name="connsiteY1" fmla="*/ 744902 h 2228850"/>
                        <a:gd name="connsiteX2" fmla="*/ 3271010 w 4229100"/>
                        <a:gd name="connsiteY2" fmla="*/ 687752 h 2228850"/>
                        <a:gd name="connsiteX3" fmla="*/ 3320064 w 4229100"/>
                        <a:gd name="connsiteY3" fmla="*/ 25288 h 2228850"/>
                        <a:gd name="connsiteX4" fmla="*/ 3376071 w 4229100"/>
                        <a:gd name="connsiteY4" fmla="*/ 19478 h 2228850"/>
                        <a:gd name="connsiteX5" fmla="*/ 3668488 w 4229100"/>
                        <a:gd name="connsiteY5" fmla="*/ 438578 h 2228850"/>
                        <a:gd name="connsiteX6" fmla="*/ 3711637 w 4229100"/>
                        <a:gd name="connsiteY6" fmla="*/ 453341 h 2228850"/>
                        <a:gd name="connsiteX7" fmla="*/ 4037010 w 4229100"/>
                        <a:gd name="connsiteY7" fmla="*/ 455818 h 2228850"/>
                        <a:gd name="connsiteX8" fmla="*/ 4207317 w 4229100"/>
                        <a:gd name="connsiteY8" fmla="*/ 527446 h 2228850"/>
                        <a:gd name="connsiteX9" fmla="*/ 4218271 w 4229100"/>
                        <a:gd name="connsiteY9" fmla="*/ 570689 h 2228850"/>
                        <a:gd name="connsiteX10" fmla="*/ 3780121 w 4229100"/>
                        <a:gd name="connsiteY10" fmla="*/ 882728 h 2228850"/>
                        <a:gd name="connsiteX11" fmla="*/ 3624006 w 4229100"/>
                        <a:gd name="connsiteY11" fmla="*/ 893301 h 2228850"/>
                        <a:gd name="connsiteX12" fmla="*/ 3552474 w 4229100"/>
                        <a:gd name="connsiteY12" fmla="*/ 940926 h 2228850"/>
                        <a:gd name="connsiteX13" fmla="*/ 3123372 w 4229100"/>
                        <a:gd name="connsiteY13" fmla="*/ 1581292 h 2228850"/>
                        <a:gd name="connsiteX14" fmla="*/ 1987326 w 4229100"/>
                        <a:gd name="connsiteY14" fmla="*/ 2167270 h 2228850"/>
                        <a:gd name="connsiteX15" fmla="*/ 1140363 w 4229100"/>
                        <a:gd name="connsiteY15" fmla="*/ 2205370 h 2228850"/>
                        <a:gd name="connsiteX16" fmla="*/ 208341 w 4229100"/>
                        <a:gd name="connsiteY16" fmla="*/ 1677685 h 2228850"/>
                        <a:gd name="connsiteX17" fmla="*/ 16698 w 4229100"/>
                        <a:gd name="connsiteY17" fmla="*/ 859011 h 2228850"/>
                        <a:gd name="connsiteX18" fmla="*/ 39749 w 4229100"/>
                        <a:gd name="connsiteY18" fmla="*/ 836342 h 2228850"/>
                        <a:gd name="connsiteX19" fmla="*/ 2820763 w 4229100"/>
                        <a:gd name="connsiteY19" fmla="*/ 836342 h 2228850"/>
                        <a:gd name="connsiteX20" fmla="*/ 1071592 w 4229100"/>
                        <a:gd name="connsiteY20" fmla="*/ 1429654 h 2228850"/>
                        <a:gd name="connsiteX21" fmla="*/ 842992 w 4229100"/>
                        <a:gd name="connsiteY21" fmla="*/ 1209055 h 2228850"/>
                        <a:gd name="connsiteX22" fmla="*/ 617059 w 4229100"/>
                        <a:gd name="connsiteY22" fmla="*/ 1433178 h 2228850"/>
                        <a:gd name="connsiteX23" fmla="*/ 844040 w 4229100"/>
                        <a:gd name="connsiteY23" fmla="*/ 1650444 h 2228850"/>
                        <a:gd name="connsiteX24" fmla="*/ 1071592 w 4229100"/>
                        <a:gd name="connsiteY24" fmla="*/ 1429654 h 222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9100" h="2228850">
                          <a:moveTo>
                            <a:pt x="2820763" y="836342"/>
                          </a:moveTo>
                          <a:cubicBezTo>
                            <a:pt x="2971639" y="836342"/>
                            <a:pt x="3116800" y="809100"/>
                            <a:pt x="3254532" y="744902"/>
                          </a:cubicBezTo>
                          <a:cubicBezTo>
                            <a:pt x="3286631" y="729947"/>
                            <a:pt x="3291870" y="718613"/>
                            <a:pt x="3271010" y="687752"/>
                          </a:cubicBezTo>
                          <a:cubicBezTo>
                            <a:pt x="3154233" y="512396"/>
                            <a:pt x="3163187" y="181974"/>
                            <a:pt x="3320064" y="25288"/>
                          </a:cubicBezTo>
                          <a:cubicBezTo>
                            <a:pt x="3340828" y="4523"/>
                            <a:pt x="3351210" y="237"/>
                            <a:pt x="3376071" y="19478"/>
                          </a:cubicBezTo>
                          <a:cubicBezTo>
                            <a:pt x="3517612" y="128920"/>
                            <a:pt x="3632103" y="256555"/>
                            <a:pt x="3668488" y="438578"/>
                          </a:cubicBezTo>
                          <a:cubicBezTo>
                            <a:pt x="3675156" y="471820"/>
                            <a:pt x="3696206" y="456770"/>
                            <a:pt x="3711637" y="453341"/>
                          </a:cubicBezTo>
                          <a:cubicBezTo>
                            <a:pt x="3818869" y="429348"/>
                            <a:pt x="3930159" y="430196"/>
                            <a:pt x="4037010" y="455818"/>
                          </a:cubicBezTo>
                          <a:cubicBezTo>
                            <a:pt x="4097780" y="470296"/>
                            <a:pt x="4152739" y="498014"/>
                            <a:pt x="4207317" y="527446"/>
                          </a:cubicBezTo>
                          <a:cubicBezTo>
                            <a:pt x="4230654" y="540019"/>
                            <a:pt x="4228082" y="550115"/>
                            <a:pt x="4218271" y="570689"/>
                          </a:cubicBezTo>
                          <a:cubicBezTo>
                            <a:pt x="4130165" y="756617"/>
                            <a:pt x="3976241" y="848915"/>
                            <a:pt x="3780121" y="882728"/>
                          </a:cubicBezTo>
                          <a:cubicBezTo>
                            <a:pt x="3728400" y="891682"/>
                            <a:pt x="3675346" y="899016"/>
                            <a:pt x="3624006" y="893301"/>
                          </a:cubicBezTo>
                          <a:cubicBezTo>
                            <a:pt x="3581049" y="888539"/>
                            <a:pt x="3566856" y="907398"/>
                            <a:pt x="3552474" y="940926"/>
                          </a:cubicBezTo>
                          <a:cubicBezTo>
                            <a:pt x="3451204" y="1179585"/>
                            <a:pt x="3305605" y="1396878"/>
                            <a:pt x="3123372" y="1581292"/>
                          </a:cubicBezTo>
                          <a:cubicBezTo>
                            <a:pt x="2807523" y="1898284"/>
                            <a:pt x="2422523" y="2082593"/>
                            <a:pt x="1987326" y="2167270"/>
                          </a:cubicBezTo>
                          <a:cubicBezTo>
                            <a:pt x="1707291" y="2221943"/>
                            <a:pt x="1424493" y="2243470"/>
                            <a:pt x="1140363" y="2205370"/>
                          </a:cubicBezTo>
                          <a:cubicBezTo>
                            <a:pt x="759648" y="2154411"/>
                            <a:pt x="436560" y="1997344"/>
                            <a:pt x="208341" y="1677685"/>
                          </a:cubicBezTo>
                          <a:cubicBezTo>
                            <a:pt x="32891" y="1431940"/>
                            <a:pt x="-16163" y="1154572"/>
                            <a:pt x="16698" y="859011"/>
                          </a:cubicBezTo>
                          <a:cubicBezTo>
                            <a:pt x="18413" y="843771"/>
                            <a:pt x="23271" y="835484"/>
                            <a:pt x="39749" y="836342"/>
                          </a:cubicBezTo>
                          <a:cubicBezTo>
                            <a:pt x="52703" y="836437"/>
                            <a:pt x="2373088" y="836532"/>
                            <a:pt x="2820763" y="836342"/>
                          </a:cubicBezTo>
                          <a:close/>
                          <a:moveTo>
                            <a:pt x="1071592" y="1429654"/>
                          </a:moveTo>
                          <a:cubicBezTo>
                            <a:pt x="1071592" y="1309067"/>
                            <a:pt x="965865" y="1206959"/>
                            <a:pt x="842992" y="1209055"/>
                          </a:cubicBezTo>
                          <a:cubicBezTo>
                            <a:pt x="719167" y="1211246"/>
                            <a:pt x="614868" y="1314402"/>
                            <a:pt x="617059" y="1433178"/>
                          </a:cubicBezTo>
                          <a:cubicBezTo>
                            <a:pt x="619250" y="1551955"/>
                            <a:pt x="722501" y="1650444"/>
                            <a:pt x="844040" y="1650444"/>
                          </a:cubicBezTo>
                          <a:cubicBezTo>
                            <a:pt x="969865" y="1650444"/>
                            <a:pt x="1071687" y="1551383"/>
                            <a:pt x="1071592" y="1429654"/>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Freeform: Shape 105">
                      <a:extLst>
                        <a:ext uri="{FF2B5EF4-FFF2-40B4-BE49-F238E27FC236}">
                          <a16:creationId xmlns:a16="http://schemas.microsoft.com/office/drawing/2014/main" id="{443228B8-CB31-4ECD-A22D-94426E1F9835}"/>
                        </a:ext>
                      </a:extLst>
                    </p:cNvPr>
                    <p:cNvSpPr/>
                    <p:nvPr/>
                  </p:nvSpPr>
                  <p:spPr>
                    <a:xfrm>
                      <a:off x="8209144" y="4565837"/>
                      <a:ext cx="36352" cy="36352"/>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Freeform: Shape 106">
                      <a:extLst>
                        <a:ext uri="{FF2B5EF4-FFF2-40B4-BE49-F238E27FC236}">
                          <a16:creationId xmlns:a16="http://schemas.microsoft.com/office/drawing/2014/main" id="{5170CAB5-EA06-4F5A-B7BE-1972612E8F1A}"/>
                        </a:ext>
                      </a:extLst>
                    </p:cNvPr>
                    <p:cNvSpPr/>
                    <p:nvPr/>
                  </p:nvSpPr>
                  <p:spPr>
                    <a:xfrm>
                      <a:off x="8258051" y="4565837"/>
                      <a:ext cx="36352" cy="36352"/>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Freeform: Shape 107">
                      <a:extLst>
                        <a:ext uri="{FF2B5EF4-FFF2-40B4-BE49-F238E27FC236}">
                          <a16:creationId xmlns:a16="http://schemas.microsoft.com/office/drawing/2014/main" id="{E805C117-F51C-4C42-800D-80259C6B8F24}"/>
                        </a:ext>
                      </a:extLst>
                    </p:cNvPr>
                    <p:cNvSpPr/>
                    <p:nvPr/>
                  </p:nvSpPr>
                  <p:spPr>
                    <a:xfrm>
                      <a:off x="8306959" y="4565837"/>
                      <a:ext cx="36352" cy="36352"/>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Freeform: Shape 108">
                      <a:extLst>
                        <a:ext uri="{FF2B5EF4-FFF2-40B4-BE49-F238E27FC236}">
                          <a16:creationId xmlns:a16="http://schemas.microsoft.com/office/drawing/2014/main" id="{A42E7487-25C8-4468-9802-0759D674B496}"/>
                        </a:ext>
                      </a:extLst>
                    </p:cNvPr>
                    <p:cNvSpPr/>
                    <p:nvPr/>
                  </p:nvSpPr>
                  <p:spPr>
                    <a:xfrm>
                      <a:off x="8355875" y="4565837"/>
                      <a:ext cx="36352" cy="36352"/>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Freeform: Shape 109">
                      <a:extLst>
                        <a:ext uri="{FF2B5EF4-FFF2-40B4-BE49-F238E27FC236}">
                          <a16:creationId xmlns:a16="http://schemas.microsoft.com/office/drawing/2014/main" id="{2FF40ED2-BDCF-410F-93C2-F8A718B13600}"/>
                        </a:ext>
                      </a:extLst>
                    </p:cNvPr>
                    <p:cNvSpPr/>
                    <p:nvPr/>
                  </p:nvSpPr>
                  <p:spPr>
                    <a:xfrm>
                      <a:off x="8404784" y="4565837"/>
                      <a:ext cx="36352" cy="36352"/>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Freeform: Shape 110">
                      <a:extLst>
                        <a:ext uri="{FF2B5EF4-FFF2-40B4-BE49-F238E27FC236}">
                          <a16:creationId xmlns:a16="http://schemas.microsoft.com/office/drawing/2014/main" id="{49E4C674-1631-4675-A1A5-B375AA7F3719}"/>
                        </a:ext>
                      </a:extLst>
                    </p:cNvPr>
                    <p:cNvSpPr/>
                    <p:nvPr/>
                  </p:nvSpPr>
                  <p:spPr>
                    <a:xfrm>
                      <a:off x="8258051" y="4516434"/>
                      <a:ext cx="36352" cy="36352"/>
                    </a:xfrm>
                    <a:custGeom>
                      <a:avLst/>
                      <a:gdLst>
                        <a:gd name="connsiteX0" fmla="*/ 7144 w 438150"/>
                        <a:gd name="connsiteY0" fmla="*/ 7144 h 438150"/>
                        <a:gd name="connsiteX1" fmla="*/ 439865 w 438150"/>
                        <a:gd name="connsiteY1" fmla="*/ 7144 h 438150"/>
                        <a:gd name="connsiteX2" fmla="*/ 439865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4"/>
                          </a:lnTo>
                          <a:lnTo>
                            <a:pt x="7144" y="439864"/>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Freeform: Shape 111">
                      <a:extLst>
                        <a:ext uri="{FF2B5EF4-FFF2-40B4-BE49-F238E27FC236}">
                          <a16:creationId xmlns:a16="http://schemas.microsoft.com/office/drawing/2014/main" id="{B8265EFD-B8E3-4D78-BEC6-C4DBE694AD70}"/>
                        </a:ext>
                      </a:extLst>
                    </p:cNvPr>
                    <p:cNvSpPr/>
                    <p:nvPr/>
                  </p:nvSpPr>
                  <p:spPr>
                    <a:xfrm>
                      <a:off x="8306959" y="4516434"/>
                      <a:ext cx="36352" cy="36352"/>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Shape 112">
                      <a:extLst>
                        <a:ext uri="{FF2B5EF4-FFF2-40B4-BE49-F238E27FC236}">
                          <a16:creationId xmlns:a16="http://schemas.microsoft.com/office/drawing/2014/main" id="{A3C70D3F-2C9C-49ED-B622-4CAE1589E9C8}"/>
                        </a:ext>
                      </a:extLst>
                    </p:cNvPr>
                    <p:cNvSpPr/>
                    <p:nvPr/>
                  </p:nvSpPr>
                  <p:spPr>
                    <a:xfrm>
                      <a:off x="8355875" y="4516434"/>
                      <a:ext cx="36352" cy="36352"/>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Freeform: Shape 113">
                      <a:extLst>
                        <a:ext uri="{FF2B5EF4-FFF2-40B4-BE49-F238E27FC236}">
                          <a16:creationId xmlns:a16="http://schemas.microsoft.com/office/drawing/2014/main" id="{119E2D13-E58F-4A1F-8F14-9EF42BF10F70}"/>
                        </a:ext>
                      </a:extLst>
                    </p:cNvPr>
                    <p:cNvSpPr/>
                    <p:nvPr/>
                  </p:nvSpPr>
                  <p:spPr>
                    <a:xfrm>
                      <a:off x="8355875" y="4467570"/>
                      <a:ext cx="36352" cy="36352"/>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3" name="Freeform: Shape 102">
                    <a:extLst>
                      <a:ext uri="{FF2B5EF4-FFF2-40B4-BE49-F238E27FC236}">
                        <a16:creationId xmlns:a16="http://schemas.microsoft.com/office/drawing/2014/main" id="{CB5397F0-187B-4232-B097-D8A4046582F2}"/>
                      </a:ext>
                    </a:extLst>
                  </p:cNvPr>
                  <p:cNvSpPr/>
                  <p:nvPr/>
                </p:nvSpPr>
                <p:spPr>
                  <a:xfrm>
                    <a:off x="7385969" y="4256047"/>
                    <a:ext cx="381000" cy="104775"/>
                  </a:xfrm>
                  <a:custGeom>
                    <a:avLst/>
                    <a:gdLst>
                      <a:gd name="connsiteX0" fmla="*/ 375761 w 381000"/>
                      <a:gd name="connsiteY0" fmla="*/ 7144 h 104775"/>
                      <a:gd name="connsiteX1" fmla="*/ 374809 w 381000"/>
                      <a:gd name="connsiteY1" fmla="*/ 7144 h 104775"/>
                      <a:gd name="connsiteX2" fmla="*/ 337661 w 381000"/>
                      <a:gd name="connsiteY2" fmla="*/ 7144 h 104775"/>
                      <a:gd name="connsiteX3" fmla="*/ 51911 w 381000"/>
                      <a:gd name="connsiteY3" fmla="*/ 7144 h 104775"/>
                      <a:gd name="connsiteX4" fmla="*/ 27146 w 381000"/>
                      <a:gd name="connsiteY4" fmla="*/ 7144 h 104775"/>
                      <a:gd name="connsiteX5" fmla="*/ 13811 w 381000"/>
                      <a:gd name="connsiteY5" fmla="*/ 7144 h 104775"/>
                      <a:gd name="connsiteX6" fmla="*/ 7144 w 381000"/>
                      <a:gd name="connsiteY6" fmla="*/ 13811 h 104775"/>
                      <a:gd name="connsiteX7" fmla="*/ 7144 w 381000"/>
                      <a:gd name="connsiteY7" fmla="*/ 90964 h 104775"/>
                      <a:gd name="connsiteX8" fmla="*/ 13811 w 381000"/>
                      <a:gd name="connsiteY8" fmla="*/ 97631 h 104775"/>
                      <a:gd name="connsiteX9" fmla="*/ 52864 w 381000"/>
                      <a:gd name="connsiteY9" fmla="*/ 97631 h 104775"/>
                      <a:gd name="connsiteX10" fmla="*/ 59531 w 381000"/>
                      <a:gd name="connsiteY10" fmla="*/ 90964 h 104775"/>
                      <a:gd name="connsiteX11" fmla="*/ 59531 w 381000"/>
                      <a:gd name="connsiteY11" fmla="*/ 58579 h 104775"/>
                      <a:gd name="connsiteX12" fmla="*/ 330994 w 381000"/>
                      <a:gd name="connsiteY12" fmla="*/ 58579 h 104775"/>
                      <a:gd name="connsiteX13" fmla="*/ 330994 w 381000"/>
                      <a:gd name="connsiteY13" fmla="*/ 90964 h 104775"/>
                      <a:gd name="connsiteX14" fmla="*/ 338614 w 381000"/>
                      <a:gd name="connsiteY14" fmla="*/ 97631 h 104775"/>
                      <a:gd name="connsiteX15" fmla="*/ 375761 w 381000"/>
                      <a:gd name="connsiteY15" fmla="*/ 97631 h 104775"/>
                      <a:gd name="connsiteX16" fmla="*/ 382429 w 381000"/>
                      <a:gd name="connsiteY16" fmla="*/ 90964 h 104775"/>
                      <a:gd name="connsiteX17" fmla="*/ 382429 w 381000"/>
                      <a:gd name="connsiteY17" fmla="*/ 51911 h 104775"/>
                      <a:gd name="connsiteX18" fmla="*/ 382429 w 381000"/>
                      <a:gd name="connsiteY18" fmla="*/ 12859 h 104775"/>
                      <a:gd name="connsiteX19" fmla="*/ 375761 w 381000"/>
                      <a:gd name="connsiteY19" fmla="*/ 71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0" h="104775">
                        <a:moveTo>
                          <a:pt x="375761" y="7144"/>
                        </a:moveTo>
                        <a:lnTo>
                          <a:pt x="374809" y="7144"/>
                        </a:lnTo>
                        <a:lnTo>
                          <a:pt x="337661" y="7144"/>
                        </a:lnTo>
                        <a:lnTo>
                          <a:pt x="51911" y="7144"/>
                        </a:lnTo>
                        <a:lnTo>
                          <a:pt x="27146" y="7144"/>
                        </a:lnTo>
                        <a:lnTo>
                          <a:pt x="13811" y="7144"/>
                        </a:lnTo>
                        <a:cubicBezTo>
                          <a:pt x="10001" y="7144"/>
                          <a:pt x="7144" y="10001"/>
                          <a:pt x="7144" y="13811"/>
                        </a:cubicBezTo>
                        <a:lnTo>
                          <a:pt x="7144" y="90964"/>
                        </a:lnTo>
                        <a:cubicBezTo>
                          <a:pt x="7144" y="94774"/>
                          <a:pt x="10001" y="97631"/>
                          <a:pt x="13811" y="97631"/>
                        </a:cubicBezTo>
                        <a:lnTo>
                          <a:pt x="52864" y="97631"/>
                        </a:lnTo>
                        <a:cubicBezTo>
                          <a:pt x="56674" y="97631"/>
                          <a:pt x="59531" y="94774"/>
                          <a:pt x="59531" y="90964"/>
                        </a:cubicBezTo>
                        <a:lnTo>
                          <a:pt x="59531" y="58579"/>
                        </a:lnTo>
                        <a:lnTo>
                          <a:pt x="330994" y="58579"/>
                        </a:lnTo>
                        <a:lnTo>
                          <a:pt x="330994" y="90964"/>
                        </a:lnTo>
                        <a:cubicBezTo>
                          <a:pt x="330994" y="94774"/>
                          <a:pt x="333851" y="97631"/>
                          <a:pt x="338614" y="97631"/>
                        </a:cubicBezTo>
                        <a:lnTo>
                          <a:pt x="375761" y="97631"/>
                        </a:lnTo>
                        <a:cubicBezTo>
                          <a:pt x="379571" y="97631"/>
                          <a:pt x="382429" y="94774"/>
                          <a:pt x="382429" y="90964"/>
                        </a:cubicBezTo>
                        <a:lnTo>
                          <a:pt x="382429" y="51911"/>
                        </a:lnTo>
                        <a:lnTo>
                          <a:pt x="382429" y="12859"/>
                        </a:lnTo>
                        <a:cubicBezTo>
                          <a:pt x="382429" y="9049"/>
                          <a:pt x="379571" y="7144"/>
                          <a:pt x="375761" y="7144"/>
                        </a:cubicBezTo>
                        <a:close/>
                      </a:path>
                    </a:pathLst>
                  </a:custGeom>
                  <a:grpFill/>
                  <a:ln w="9525"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B83CA8BD-1168-42E3-8BCD-0229DECA9091}"/>
                      </a:ext>
                    </a:extLst>
                  </p:cNvPr>
                  <p:cNvSpPr/>
                  <p:nvPr/>
                </p:nvSpPr>
                <p:spPr>
                  <a:xfrm>
                    <a:off x="7385969" y="4553227"/>
                    <a:ext cx="381000" cy="104775"/>
                  </a:xfrm>
                  <a:custGeom>
                    <a:avLst/>
                    <a:gdLst>
                      <a:gd name="connsiteX0" fmla="*/ 374809 w 381000"/>
                      <a:gd name="connsiteY0" fmla="*/ 8096 h 104775"/>
                      <a:gd name="connsiteX1" fmla="*/ 337661 w 381000"/>
                      <a:gd name="connsiteY1" fmla="*/ 8096 h 104775"/>
                      <a:gd name="connsiteX2" fmla="*/ 330994 w 381000"/>
                      <a:gd name="connsiteY2" fmla="*/ 14764 h 104775"/>
                      <a:gd name="connsiteX3" fmla="*/ 330994 w 381000"/>
                      <a:gd name="connsiteY3" fmla="*/ 46196 h 104775"/>
                      <a:gd name="connsiteX4" fmla="*/ 58579 w 381000"/>
                      <a:gd name="connsiteY4" fmla="*/ 46196 h 104775"/>
                      <a:gd name="connsiteX5" fmla="*/ 58579 w 381000"/>
                      <a:gd name="connsiteY5" fmla="*/ 13811 h 104775"/>
                      <a:gd name="connsiteX6" fmla="*/ 50959 w 381000"/>
                      <a:gd name="connsiteY6" fmla="*/ 7144 h 104775"/>
                      <a:gd name="connsiteX7" fmla="*/ 13811 w 381000"/>
                      <a:gd name="connsiteY7" fmla="*/ 7144 h 104775"/>
                      <a:gd name="connsiteX8" fmla="*/ 7144 w 381000"/>
                      <a:gd name="connsiteY8" fmla="*/ 14764 h 104775"/>
                      <a:gd name="connsiteX9" fmla="*/ 7144 w 381000"/>
                      <a:gd name="connsiteY9" fmla="*/ 90964 h 104775"/>
                      <a:gd name="connsiteX10" fmla="*/ 13811 w 381000"/>
                      <a:gd name="connsiteY10" fmla="*/ 97631 h 104775"/>
                      <a:gd name="connsiteX11" fmla="*/ 27146 w 381000"/>
                      <a:gd name="connsiteY11" fmla="*/ 97631 h 104775"/>
                      <a:gd name="connsiteX12" fmla="*/ 52864 w 381000"/>
                      <a:gd name="connsiteY12" fmla="*/ 97631 h 104775"/>
                      <a:gd name="connsiteX13" fmla="*/ 338614 w 381000"/>
                      <a:gd name="connsiteY13" fmla="*/ 97631 h 104775"/>
                      <a:gd name="connsiteX14" fmla="*/ 374809 w 381000"/>
                      <a:gd name="connsiteY14" fmla="*/ 97631 h 104775"/>
                      <a:gd name="connsiteX15" fmla="*/ 375761 w 381000"/>
                      <a:gd name="connsiteY15" fmla="*/ 97631 h 104775"/>
                      <a:gd name="connsiteX16" fmla="*/ 382429 w 381000"/>
                      <a:gd name="connsiteY16" fmla="*/ 90964 h 104775"/>
                      <a:gd name="connsiteX17" fmla="*/ 382429 w 381000"/>
                      <a:gd name="connsiteY17" fmla="*/ 14764 h 104775"/>
                      <a:gd name="connsiteX18" fmla="*/ 374809 w 381000"/>
                      <a:gd name="connsiteY18" fmla="*/ 809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1000" h="104775">
                        <a:moveTo>
                          <a:pt x="374809" y="8096"/>
                        </a:moveTo>
                        <a:lnTo>
                          <a:pt x="337661" y="8096"/>
                        </a:lnTo>
                        <a:cubicBezTo>
                          <a:pt x="333851" y="8096"/>
                          <a:pt x="330994" y="10954"/>
                          <a:pt x="330994" y="14764"/>
                        </a:cubicBezTo>
                        <a:lnTo>
                          <a:pt x="330994" y="46196"/>
                        </a:lnTo>
                        <a:lnTo>
                          <a:pt x="58579" y="46196"/>
                        </a:lnTo>
                        <a:lnTo>
                          <a:pt x="58579" y="13811"/>
                        </a:lnTo>
                        <a:cubicBezTo>
                          <a:pt x="58579" y="10001"/>
                          <a:pt x="55721" y="7144"/>
                          <a:pt x="50959" y="7144"/>
                        </a:cubicBezTo>
                        <a:lnTo>
                          <a:pt x="13811" y="7144"/>
                        </a:lnTo>
                        <a:cubicBezTo>
                          <a:pt x="10001" y="7144"/>
                          <a:pt x="7144" y="10001"/>
                          <a:pt x="7144" y="14764"/>
                        </a:cubicBezTo>
                        <a:lnTo>
                          <a:pt x="7144" y="90964"/>
                        </a:lnTo>
                        <a:cubicBezTo>
                          <a:pt x="7144" y="94774"/>
                          <a:pt x="10001" y="97631"/>
                          <a:pt x="13811" y="97631"/>
                        </a:cubicBezTo>
                        <a:lnTo>
                          <a:pt x="27146" y="97631"/>
                        </a:lnTo>
                        <a:lnTo>
                          <a:pt x="52864" y="97631"/>
                        </a:lnTo>
                        <a:lnTo>
                          <a:pt x="338614" y="97631"/>
                        </a:lnTo>
                        <a:lnTo>
                          <a:pt x="374809" y="97631"/>
                        </a:lnTo>
                        <a:lnTo>
                          <a:pt x="375761" y="97631"/>
                        </a:lnTo>
                        <a:cubicBezTo>
                          <a:pt x="379571" y="97631"/>
                          <a:pt x="382429" y="94774"/>
                          <a:pt x="382429" y="90964"/>
                        </a:cubicBezTo>
                        <a:lnTo>
                          <a:pt x="382429" y="14764"/>
                        </a:lnTo>
                        <a:cubicBezTo>
                          <a:pt x="381476" y="10954"/>
                          <a:pt x="378619" y="8096"/>
                          <a:pt x="374809" y="8096"/>
                        </a:cubicBezTo>
                        <a:close/>
                      </a:path>
                    </a:pathLst>
                  </a:custGeom>
                  <a:grpFill/>
                  <a:ln w="9525" cap="flat">
                    <a:noFill/>
                    <a:prstDash val="solid"/>
                    <a:miter/>
                  </a:ln>
                </p:spPr>
                <p:txBody>
                  <a:bodyPr rtlCol="0" anchor="ctr"/>
                  <a:lstStyle/>
                  <a:p>
                    <a:endParaRPr lang="en-US"/>
                  </a:p>
                </p:txBody>
              </p:sp>
            </p:grpSp>
          </p:grpSp>
        </p:grpSp>
      </p:grpSp>
      <p:cxnSp>
        <p:nvCxnSpPr>
          <p:cNvPr id="116" name="Straight Arrow Connector 115">
            <a:extLst>
              <a:ext uri="{FF2B5EF4-FFF2-40B4-BE49-F238E27FC236}">
                <a16:creationId xmlns:a16="http://schemas.microsoft.com/office/drawing/2014/main" id="{9EB39ED0-3263-4900-A0B5-FE60338F1857}"/>
              </a:ext>
            </a:extLst>
          </p:cNvPr>
          <p:cNvCxnSpPr>
            <a:cxnSpLocks/>
          </p:cNvCxnSpPr>
          <p:nvPr/>
        </p:nvCxnSpPr>
        <p:spPr>
          <a:xfrm>
            <a:off x="425962" y="2998647"/>
            <a:ext cx="2106223" cy="0"/>
          </a:xfrm>
          <a:prstGeom prst="straightConnector1">
            <a:avLst/>
          </a:prstGeom>
          <a:ln w="12700" cap="rnd">
            <a:solidFill>
              <a:schemeClr val="bg2"/>
            </a:solidFill>
            <a:prstDash val="solid"/>
            <a:headEnd type="none"/>
            <a:tailEnd type="none" w="lg" len="lg"/>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F026A610-F1E7-4506-A98E-E3B9389D0C82}"/>
              </a:ext>
            </a:extLst>
          </p:cNvPr>
          <p:cNvCxnSpPr>
            <a:cxnSpLocks/>
          </p:cNvCxnSpPr>
          <p:nvPr/>
        </p:nvCxnSpPr>
        <p:spPr>
          <a:xfrm>
            <a:off x="9659816" y="2998647"/>
            <a:ext cx="2106223" cy="0"/>
          </a:xfrm>
          <a:prstGeom prst="straightConnector1">
            <a:avLst/>
          </a:prstGeom>
          <a:ln w="12700" cap="rnd">
            <a:solidFill>
              <a:schemeClr val="bg2"/>
            </a:solidFill>
            <a:prstDash val="solid"/>
            <a:headEnd type="none"/>
            <a:tailEnd type="none" w="lg" len="lg"/>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D61D345C-0AE7-4AE3-B6C3-398BBE10EF41}"/>
              </a:ext>
            </a:extLst>
          </p:cNvPr>
          <p:cNvCxnSpPr>
            <a:cxnSpLocks/>
          </p:cNvCxnSpPr>
          <p:nvPr/>
        </p:nvCxnSpPr>
        <p:spPr>
          <a:xfrm>
            <a:off x="2734426" y="2998647"/>
            <a:ext cx="2106223" cy="0"/>
          </a:xfrm>
          <a:prstGeom prst="straightConnector1">
            <a:avLst/>
          </a:prstGeom>
          <a:ln w="12700" cap="rnd">
            <a:solidFill>
              <a:schemeClr val="bg2"/>
            </a:solidFill>
            <a:prstDash val="solid"/>
            <a:headEnd type="none"/>
            <a:tailEnd type="none" w="lg" len="lg"/>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CFEB6601-52C4-4F0F-A326-7A9081C00BB4}"/>
              </a:ext>
            </a:extLst>
          </p:cNvPr>
          <p:cNvCxnSpPr>
            <a:cxnSpLocks/>
          </p:cNvCxnSpPr>
          <p:nvPr/>
        </p:nvCxnSpPr>
        <p:spPr>
          <a:xfrm>
            <a:off x="5042889" y="2998647"/>
            <a:ext cx="2106223" cy="0"/>
          </a:xfrm>
          <a:prstGeom prst="straightConnector1">
            <a:avLst/>
          </a:prstGeom>
          <a:ln w="12700" cap="rnd">
            <a:solidFill>
              <a:schemeClr val="bg2"/>
            </a:solidFill>
            <a:prstDash val="solid"/>
            <a:headEnd type="none"/>
            <a:tailEnd type="none" w="lg" len="lg"/>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3933E015-4DCB-41AF-A427-53F37FFF014A}"/>
              </a:ext>
            </a:extLst>
          </p:cNvPr>
          <p:cNvCxnSpPr>
            <a:cxnSpLocks/>
          </p:cNvCxnSpPr>
          <p:nvPr/>
        </p:nvCxnSpPr>
        <p:spPr>
          <a:xfrm>
            <a:off x="7351353" y="2998647"/>
            <a:ext cx="2106223" cy="0"/>
          </a:xfrm>
          <a:prstGeom prst="straightConnector1">
            <a:avLst/>
          </a:prstGeom>
          <a:ln w="12700" cap="rnd">
            <a:solidFill>
              <a:schemeClr val="bg2"/>
            </a:solidFill>
            <a:prstDash val="solid"/>
            <a:headEnd type="none"/>
            <a:tailEnd type="none" w="lg" len="lg"/>
          </a:ln>
        </p:spPr>
        <p:style>
          <a:lnRef idx="1">
            <a:schemeClr val="accent1"/>
          </a:lnRef>
          <a:fillRef idx="0">
            <a:schemeClr val="accent1"/>
          </a:fillRef>
          <a:effectRef idx="0">
            <a:schemeClr val="accent1"/>
          </a:effectRef>
          <a:fontRef idx="minor">
            <a:schemeClr val="tx1"/>
          </a:fontRef>
        </p:style>
      </p:cxnSp>
      <p:pic>
        <p:nvPicPr>
          <p:cNvPr id="129" name="Graphic 128">
            <a:extLst>
              <a:ext uri="{FF2B5EF4-FFF2-40B4-BE49-F238E27FC236}">
                <a16:creationId xmlns:a16="http://schemas.microsoft.com/office/drawing/2014/main" id="{3D6E8B18-3AEE-4673-8C3B-41D3B0047B5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52829" y="2054043"/>
            <a:ext cx="452489" cy="452489"/>
          </a:xfrm>
          <a:prstGeom prst="rect">
            <a:avLst/>
          </a:prstGeom>
        </p:spPr>
      </p:pic>
      <p:sp>
        <p:nvSpPr>
          <p:cNvPr id="130" name="TextBox 129">
            <a:extLst>
              <a:ext uri="{FF2B5EF4-FFF2-40B4-BE49-F238E27FC236}">
                <a16:creationId xmlns:a16="http://schemas.microsoft.com/office/drawing/2014/main" id="{B3C7F350-D04A-4F2A-8EF2-9723CD6CDEEC}"/>
              </a:ext>
            </a:extLst>
          </p:cNvPr>
          <p:cNvSpPr txBox="1"/>
          <p:nvPr/>
        </p:nvSpPr>
        <p:spPr>
          <a:xfrm>
            <a:off x="676255" y="2573938"/>
            <a:ext cx="1605637" cy="390912"/>
          </a:xfrm>
          <a:prstGeom prst="rect">
            <a:avLst/>
          </a:prstGeom>
          <a:noFill/>
        </p:spPr>
        <p:txBody>
          <a:bodyPr wrap="square" lIns="0" tIns="143366" rIns="0" bIns="143366" rtlCol="0" anchor="ctr">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App Service</a:t>
            </a:r>
          </a:p>
        </p:txBody>
      </p:sp>
      <p:sp>
        <p:nvSpPr>
          <p:cNvPr id="131" name="TextBox 130">
            <a:extLst>
              <a:ext uri="{FF2B5EF4-FFF2-40B4-BE49-F238E27FC236}">
                <a16:creationId xmlns:a16="http://schemas.microsoft.com/office/drawing/2014/main" id="{0C4C0459-6907-499B-83AC-9E527EC75D32}"/>
              </a:ext>
            </a:extLst>
          </p:cNvPr>
          <p:cNvSpPr txBox="1"/>
          <p:nvPr/>
        </p:nvSpPr>
        <p:spPr>
          <a:xfrm>
            <a:off x="676255" y="3049759"/>
            <a:ext cx="1605637" cy="1034129"/>
          </a:xfrm>
          <a:prstGeom prst="rect">
            <a:avLst/>
          </a:prstGeom>
          <a:noFill/>
        </p:spPr>
        <p:txBody>
          <a:bodyPr wrap="square" lIns="182880" tIns="146304" rIns="182880" bIns="146304" rtlCol="0">
            <a:spAutoFit/>
          </a:bodyPr>
          <a:lstStyle/>
          <a:p>
            <a:pPr marL="0" marR="0" lvl="0" indent="0" algn="ctr" defTabSz="914400" rtl="0" eaLnBrk="1" fontAlgn="auto" latinLnBrk="0" hangingPunct="1">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DengXian" panose="02010600030101010101" pitchFamily="2" charset="-122"/>
                <a:cs typeface="Arial" panose="020B0604020202020204" pitchFamily="34" charset="0"/>
              </a:rPr>
              <a:t>Deploy web apps or APIs using containers in a PaaS environment</a:t>
            </a: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DengXian" panose="02010600030101010101" pitchFamily="2" charset="-122"/>
              <a:cs typeface="Arial" panose="020B0604020202020204" pitchFamily="34" charset="0"/>
            </a:endParaRPr>
          </a:p>
        </p:txBody>
      </p:sp>
      <p:pic>
        <p:nvPicPr>
          <p:cNvPr id="133" name="Graphic 132">
            <a:extLst>
              <a:ext uri="{FF2B5EF4-FFF2-40B4-BE49-F238E27FC236}">
                <a16:creationId xmlns:a16="http://schemas.microsoft.com/office/drawing/2014/main" id="{A66FCC3A-6A9D-4031-A15D-C8A5E6280346}"/>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49412" y="2042162"/>
            <a:ext cx="476250" cy="476250"/>
          </a:xfrm>
          <a:prstGeom prst="rect">
            <a:avLst/>
          </a:prstGeom>
        </p:spPr>
      </p:pic>
      <p:sp>
        <p:nvSpPr>
          <p:cNvPr id="134" name="TextBox 133">
            <a:extLst>
              <a:ext uri="{FF2B5EF4-FFF2-40B4-BE49-F238E27FC236}">
                <a16:creationId xmlns:a16="http://schemas.microsoft.com/office/drawing/2014/main" id="{066DFD92-8F94-47FB-80E6-376423B6C79C}"/>
              </a:ext>
            </a:extLst>
          </p:cNvPr>
          <p:cNvSpPr txBox="1"/>
          <p:nvPr/>
        </p:nvSpPr>
        <p:spPr>
          <a:xfrm>
            <a:off x="2984719" y="2573938"/>
            <a:ext cx="1605637" cy="390912"/>
          </a:xfrm>
          <a:prstGeom prst="rect">
            <a:avLst/>
          </a:prstGeom>
          <a:noFill/>
        </p:spPr>
        <p:txBody>
          <a:bodyPr wrap="square" lIns="0" tIns="143366" rIns="0" bIns="143366" rtlCol="0" anchor="ctr">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Service Fabric</a:t>
            </a:r>
          </a:p>
        </p:txBody>
      </p:sp>
      <p:sp>
        <p:nvSpPr>
          <p:cNvPr id="135" name="TextBox 134">
            <a:extLst>
              <a:ext uri="{FF2B5EF4-FFF2-40B4-BE49-F238E27FC236}">
                <a16:creationId xmlns:a16="http://schemas.microsoft.com/office/drawing/2014/main" id="{813476EE-35E8-413D-BD0F-D5748778640B}"/>
              </a:ext>
            </a:extLst>
          </p:cNvPr>
          <p:cNvSpPr txBox="1"/>
          <p:nvPr/>
        </p:nvSpPr>
        <p:spPr>
          <a:xfrm>
            <a:off x="2984719" y="3049759"/>
            <a:ext cx="1605637" cy="1218795"/>
          </a:xfrm>
          <a:prstGeom prst="rect">
            <a:avLst/>
          </a:prstGeom>
          <a:noFill/>
        </p:spPr>
        <p:txBody>
          <a:bodyPr wrap="square" lIns="182880" tIns="146304" rIns="182880" bIns="146304" rtlCol="0">
            <a:spAutoFit/>
          </a:bodyPr>
          <a:lstStyle/>
          <a:p>
            <a:pPr algn="ctr">
              <a:spcAft>
                <a:spcPts val="600"/>
              </a:spcAft>
              <a:defRPr/>
            </a:pPr>
            <a:r>
              <a:rPr lang="en-US" sz="1200">
                <a:solidFill>
                  <a:srgbClr val="000000"/>
                </a:solidFill>
                <a:latin typeface="Segoe UI" panose="020B0502040204020203" pitchFamily="34" charset="0"/>
                <a:ea typeface="DengXian" panose="02010600030101010101" pitchFamily="2" charset="-122"/>
                <a:cs typeface="Arial" panose="020B0604020202020204" pitchFamily="34" charset="0"/>
              </a:rPr>
              <a:t>Modernize .NET applications to microservices using Windows Server containers</a:t>
            </a:r>
          </a:p>
        </p:txBody>
      </p:sp>
      <p:sp>
        <p:nvSpPr>
          <p:cNvPr id="137" name="TextBox 136">
            <a:extLst>
              <a:ext uri="{FF2B5EF4-FFF2-40B4-BE49-F238E27FC236}">
                <a16:creationId xmlns:a16="http://schemas.microsoft.com/office/drawing/2014/main" id="{456B59EE-8B3E-4F23-A1EB-F3674E05A622}"/>
              </a:ext>
            </a:extLst>
          </p:cNvPr>
          <p:cNvSpPr txBox="1"/>
          <p:nvPr/>
        </p:nvSpPr>
        <p:spPr>
          <a:xfrm>
            <a:off x="5174905" y="2573938"/>
            <a:ext cx="1842191" cy="390912"/>
          </a:xfrm>
          <a:prstGeom prst="rect">
            <a:avLst/>
          </a:prstGeom>
          <a:noFill/>
        </p:spPr>
        <p:txBody>
          <a:bodyPr wrap="square" lIns="0" tIns="143366" rIns="0" bIns="143366" rtlCol="0" anchor="ctr">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Kubernetes Service</a:t>
            </a:r>
          </a:p>
        </p:txBody>
      </p:sp>
      <p:pic>
        <p:nvPicPr>
          <p:cNvPr id="2052" name="Picture 4" descr="Image result for azure container instance">
            <a:extLst>
              <a:ext uri="{FF2B5EF4-FFF2-40B4-BE49-F238E27FC236}">
                <a16:creationId xmlns:a16="http://schemas.microsoft.com/office/drawing/2014/main" id="{B2CB9DC4-9969-4E95-B1C0-531346E8968F}"/>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7918585" y="2025200"/>
            <a:ext cx="971759" cy="510174"/>
          </a:xfrm>
          <a:prstGeom prst="rect">
            <a:avLst/>
          </a:prstGeom>
          <a:noFill/>
          <a:extLst>
            <a:ext uri="{909E8E84-426E-40DD-AFC4-6F175D3DCCD1}">
              <a14:hiddenFill xmlns:a14="http://schemas.microsoft.com/office/drawing/2010/main">
                <a:solidFill>
                  <a:srgbClr val="FFFFFF"/>
                </a:solidFill>
              </a14:hiddenFill>
            </a:ext>
          </a:extLst>
        </p:spPr>
      </p:pic>
      <p:sp>
        <p:nvSpPr>
          <p:cNvPr id="145" name="TextBox 144">
            <a:extLst>
              <a:ext uri="{FF2B5EF4-FFF2-40B4-BE49-F238E27FC236}">
                <a16:creationId xmlns:a16="http://schemas.microsoft.com/office/drawing/2014/main" id="{B3FDB08F-136F-485E-8C88-C57DBDC9BDA8}"/>
              </a:ext>
            </a:extLst>
          </p:cNvPr>
          <p:cNvSpPr txBox="1"/>
          <p:nvPr/>
        </p:nvSpPr>
        <p:spPr>
          <a:xfrm>
            <a:off x="7483369" y="2573938"/>
            <a:ext cx="1842191" cy="390912"/>
          </a:xfrm>
          <a:prstGeom prst="rect">
            <a:avLst/>
          </a:prstGeom>
          <a:noFill/>
        </p:spPr>
        <p:txBody>
          <a:bodyPr wrap="square" lIns="0" tIns="143366" rIns="0" bIns="143366" rtlCol="0" anchor="ctr">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Container Instance</a:t>
            </a:r>
          </a:p>
        </p:txBody>
      </p:sp>
      <p:sp>
        <p:nvSpPr>
          <p:cNvPr id="146" name="TextBox 145">
            <a:extLst>
              <a:ext uri="{FF2B5EF4-FFF2-40B4-BE49-F238E27FC236}">
                <a16:creationId xmlns:a16="http://schemas.microsoft.com/office/drawing/2014/main" id="{7B5E5225-BDFF-4C3A-AFA0-097453AF17B8}"/>
              </a:ext>
            </a:extLst>
          </p:cNvPr>
          <p:cNvSpPr txBox="1"/>
          <p:nvPr/>
        </p:nvSpPr>
        <p:spPr>
          <a:xfrm>
            <a:off x="5164901" y="3049759"/>
            <a:ext cx="1895085" cy="849463"/>
          </a:xfrm>
          <a:prstGeom prst="rect">
            <a:avLst/>
          </a:prstGeom>
          <a:noFill/>
        </p:spPr>
        <p:txBody>
          <a:bodyPr wrap="square" lIns="182880" tIns="146304" rIns="182880" bIns="146304" rtlCol="0">
            <a:spAutoFit/>
          </a:bodyPr>
          <a:lstStyle/>
          <a:p>
            <a:pPr marR="0" lvl="0" indent="0" algn="ctr" fontAlgn="auto">
              <a:spcBef>
                <a:spcPts val="882"/>
              </a:spcBef>
              <a:spcAft>
                <a:spcPts val="600"/>
              </a:spcAft>
              <a:buClrTx/>
              <a:buSzTx/>
              <a:buFontTx/>
              <a:buNone/>
              <a:tabLst/>
              <a:defRPr/>
            </a:pPr>
            <a:r>
              <a:rPr lang="en-US" sz="1200">
                <a:solidFill>
                  <a:srgbClr val="000000"/>
                </a:solidFill>
                <a:latin typeface="Segoe UI" panose="020B0502040204020203" pitchFamily="34" charset="0"/>
                <a:ea typeface="DengXian" panose="02010600030101010101" pitchFamily="2" charset="-122"/>
                <a:cs typeface="Arial" panose="020B0604020202020204" pitchFamily="34" charset="0"/>
              </a:rPr>
              <a:t>Scale and orchestrate Linux containers using Kubernetes</a:t>
            </a:r>
          </a:p>
        </p:txBody>
      </p:sp>
      <p:sp>
        <p:nvSpPr>
          <p:cNvPr id="147" name="TextBox 146">
            <a:extLst>
              <a:ext uri="{FF2B5EF4-FFF2-40B4-BE49-F238E27FC236}">
                <a16:creationId xmlns:a16="http://schemas.microsoft.com/office/drawing/2014/main" id="{685D935C-E2A4-4A01-A7C2-F4B72E3947AF}"/>
              </a:ext>
            </a:extLst>
          </p:cNvPr>
          <p:cNvSpPr txBox="1"/>
          <p:nvPr/>
        </p:nvSpPr>
        <p:spPr>
          <a:xfrm>
            <a:off x="9924132" y="2573938"/>
            <a:ext cx="1577591" cy="390912"/>
          </a:xfrm>
          <a:prstGeom prst="rect">
            <a:avLst/>
          </a:prstGeom>
          <a:noFill/>
        </p:spPr>
        <p:txBody>
          <a:bodyPr wrap="square" lIns="0" tIns="143366" rIns="0" bIns="143366" rtlCol="0" anchor="ctr">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Ecosystem</a:t>
            </a:r>
          </a:p>
        </p:txBody>
      </p:sp>
      <p:pic>
        <p:nvPicPr>
          <p:cNvPr id="2054" name="Picture 6" descr="Image result for docker logo png">
            <a:extLst>
              <a:ext uri="{FF2B5EF4-FFF2-40B4-BE49-F238E27FC236}">
                <a16:creationId xmlns:a16="http://schemas.microsoft.com/office/drawing/2014/main" id="{133AB05E-5CDA-4EAD-A15C-4C6F71300DA5}"/>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b="34790"/>
          <a:stretch/>
        </p:blipFill>
        <p:spPr bwMode="auto">
          <a:xfrm>
            <a:off x="9582559" y="2230027"/>
            <a:ext cx="555052" cy="3048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openshift logo png">
            <a:extLst>
              <a:ext uri="{FF2B5EF4-FFF2-40B4-BE49-F238E27FC236}">
                <a16:creationId xmlns:a16="http://schemas.microsoft.com/office/drawing/2014/main" id="{10A231FD-B366-49D4-8A6A-24B56E4A39E0}"/>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10260650" y="2227354"/>
            <a:ext cx="379258" cy="310146"/>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result for pivotal cloud foundry logo png">
            <a:extLst>
              <a:ext uri="{FF2B5EF4-FFF2-40B4-BE49-F238E27FC236}">
                <a16:creationId xmlns:a16="http://schemas.microsoft.com/office/drawing/2014/main" id="{DACCBBEE-BC01-4958-B4DE-F6E0385DDF04}"/>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a:stretch/>
        </p:blipFill>
        <p:spPr bwMode="auto">
          <a:xfrm>
            <a:off x="10868299" y="2238736"/>
            <a:ext cx="361120" cy="287383"/>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mesosphere logo png">
            <a:extLst>
              <a:ext uri="{FF2B5EF4-FFF2-40B4-BE49-F238E27FC236}">
                <a16:creationId xmlns:a16="http://schemas.microsoft.com/office/drawing/2014/main" id="{5FDCF1A2-0A79-4D94-A69C-70AFE8FF9DC8}"/>
              </a:ext>
            </a:extLst>
          </p:cNvPr>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a:stretch/>
        </p:blipFill>
        <p:spPr bwMode="auto">
          <a:xfrm>
            <a:off x="11337471" y="2285903"/>
            <a:ext cx="541020" cy="227885"/>
          </a:xfrm>
          <a:prstGeom prst="rect">
            <a:avLst/>
          </a:prstGeom>
          <a:noFill/>
          <a:extLst>
            <a:ext uri="{909E8E84-426E-40DD-AFC4-6F175D3DCCD1}">
              <a14:hiddenFill xmlns:a14="http://schemas.microsoft.com/office/drawing/2010/main">
                <a:solidFill>
                  <a:srgbClr val="FFFFFF"/>
                </a:solidFill>
              </a14:hiddenFill>
            </a:ext>
          </a:extLst>
        </p:spPr>
      </p:pic>
      <p:sp>
        <p:nvSpPr>
          <p:cNvPr id="155" name="TextBox 154">
            <a:extLst>
              <a:ext uri="{FF2B5EF4-FFF2-40B4-BE49-F238E27FC236}">
                <a16:creationId xmlns:a16="http://schemas.microsoft.com/office/drawing/2014/main" id="{7D9E934B-CF63-47F7-985E-D74C9DE37E05}"/>
              </a:ext>
            </a:extLst>
          </p:cNvPr>
          <p:cNvSpPr txBox="1"/>
          <p:nvPr/>
        </p:nvSpPr>
        <p:spPr>
          <a:xfrm>
            <a:off x="9934241" y="3049759"/>
            <a:ext cx="1557373" cy="1034129"/>
          </a:xfrm>
          <a:prstGeom prst="rect">
            <a:avLst/>
          </a:prstGeom>
          <a:noFill/>
        </p:spPr>
        <p:txBody>
          <a:bodyPr wrap="square" lIns="182880" tIns="146304" rIns="182880" bIns="146304" rtlCol="0">
            <a:spAutoFit/>
          </a:bodyPr>
          <a:lstStyle/>
          <a:p>
            <a:pPr marR="0" lvl="0" indent="0" algn="ctr" fontAlgn="auto">
              <a:spcBef>
                <a:spcPts val="0"/>
              </a:spcBef>
              <a:spcAft>
                <a:spcPts val="600"/>
              </a:spcAft>
              <a:buClrTx/>
              <a:buSzTx/>
              <a:buFontTx/>
              <a:buNone/>
              <a:tabLst/>
              <a:defRPr/>
            </a:pPr>
            <a:r>
              <a:rPr lang="en-US" sz="1200">
                <a:solidFill>
                  <a:srgbClr val="000000"/>
                </a:solidFill>
                <a:latin typeface="Segoe UI" panose="020B0502040204020203" pitchFamily="34" charset="0"/>
                <a:ea typeface="DengXian" panose="02010600030101010101" pitchFamily="2" charset="-122"/>
                <a:cs typeface="Arial" panose="020B0604020202020204" pitchFamily="34" charset="0"/>
              </a:rPr>
              <a:t>Bring your Partner solutions that run great on Azure </a:t>
            </a:r>
          </a:p>
        </p:txBody>
      </p:sp>
      <p:sp>
        <p:nvSpPr>
          <p:cNvPr id="2" name="Rectangle 1">
            <a:extLst>
              <a:ext uri="{FF2B5EF4-FFF2-40B4-BE49-F238E27FC236}">
                <a16:creationId xmlns:a16="http://schemas.microsoft.com/office/drawing/2014/main" id="{C72E1F15-6A1B-4D83-80B4-7CBD1FD105BE}"/>
              </a:ext>
            </a:extLst>
          </p:cNvPr>
          <p:cNvSpPr/>
          <p:nvPr/>
        </p:nvSpPr>
        <p:spPr>
          <a:xfrm>
            <a:off x="7533692" y="3049758"/>
            <a:ext cx="1741544" cy="1034129"/>
          </a:xfrm>
          <a:prstGeom prst="rect">
            <a:avLst/>
          </a:prstGeom>
          <a:noFill/>
        </p:spPr>
        <p:txBody>
          <a:bodyPr wrap="square" lIns="182880" tIns="146304" rIns="182880" bIns="146304" rtlCol="0">
            <a:spAutoFit/>
          </a:bodyPr>
          <a:lstStyle/>
          <a:p>
            <a:pPr algn="ctr">
              <a:spcBef>
                <a:spcPts val="882"/>
              </a:spcBef>
              <a:spcAft>
                <a:spcPts val="600"/>
              </a:spcAft>
            </a:pPr>
            <a:r>
              <a:rPr lang="en-US" sz="1200">
                <a:solidFill>
                  <a:srgbClr val="000000"/>
                </a:solidFill>
                <a:latin typeface="Segoe UI" panose="020B0502040204020203" pitchFamily="34" charset="0"/>
                <a:ea typeface="DengXian" panose="02010600030101010101" pitchFamily="2" charset="-122"/>
                <a:cs typeface="Arial" panose="020B0604020202020204" pitchFamily="34" charset="0"/>
              </a:rPr>
              <a:t>Elastically burst from your Azure Kubernetes Service (AKS) cluster</a:t>
            </a:r>
          </a:p>
        </p:txBody>
      </p:sp>
      <p:sp>
        <p:nvSpPr>
          <p:cNvPr id="52" name="Graphic 27">
            <a:extLst>
              <a:ext uri="{FF2B5EF4-FFF2-40B4-BE49-F238E27FC236}">
                <a16:creationId xmlns:a16="http://schemas.microsoft.com/office/drawing/2014/main" id="{8B84C6CF-5839-4929-AA2D-46E7833E4A8D}"/>
              </a:ext>
            </a:extLst>
          </p:cNvPr>
          <p:cNvSpPr/>
          <p:nvPr/>
        </p:nvSpPr>
        <p:spPr>
          <a:xfrm>
            <a:off x="5746722" y="2054043"/>
            <a:ext cx="675575" cy="525572"/>
          </a:xfrm>
          <a:custGeom>
            <a:avLst/>
            <a:gdLst>
              <a:gd name="connsiteX0" fmla="*/ 800982 w 944903"/>
              <a:gd name="connsiteY0" fmla="*/ 232647 h 698098"/>
              <a:gd name="connsiteX1" fmla="*/ 800982 w 944903"/>
              <a:gd name="connsiteY1" fmla="*/ 463989 h 698098"/>
              <a:gd name="connsiteX2" fmla="*/ 943776 w 944903"/>
              <a:gd name="connsiteY2" fmla="*/ 409710 h 698098"/>
              <a:gd name="connsiteX3" fmla="*/ 943776 w 944903"/>
              <a:gd name="connsiteY3" fmla="*/ 284052 h 698098"/>
              <a:gd name="connsiteX4" fmla="*/ 743865 w 944903"/>
              <a:gd name="connsiteY4" fmla="*/ 432557 h 698098"/>
              <a:gd name="connsiteX5" fmla="*/ 735297 w 944903"/>
              <a:gd name="connsiteY5" fmla="*/ 429701 h 698098"/>
              <a:gd name="connsiteX6" fmla="*/ 735297 w 944903"/>
              <a:gd name="connsiteY6" fmla="*/ 266917 h 698098"/>
              <a:gd name="connsiteX7" fmla="*/ 743865 w 944903"/>
              <a:gd name="connsiteY7" fmla="*/ 264061 h 698098"/>
              <a:gd name="connsiteX8" fmla="*/ 752433 w 944903"/>
              <a:gd name="connsiteY8" fmla="*/ 261205 h 698098"/>
              <a:gd name="connsiteX9" fmla="*/ 763856 w 944903"/>
              <a:gd name="connsiteY9" fmla="*/ 258349 h 698098"/>
              <a:gd name="connsiteX10" fmla="*/ 763856 w 944903"/>
              <a:gd name="connsiteY10" fmla="*/ 438269 h 698098"/>
              <a:gd name="connsiteX11" fmla="*/ 752433 w 944903"/>
              <a:gd name="connsiteY11" fmla="*/ 432557 h 698098"/>
              <a:gd name="connsiteX12" fmla="*/ 709595 w 944903"/>
              <a:gd name="connsiteY12" fmla="*/ 421133 h 698098"/>
              <a:gd name="connsiteX13" fmla="*/ 701027 w 944903"/>
              <a:gd name="connsiteY13" fmla="*/ 418278 h 698098"/>
              <a:gd name="connsiteX14" fmla="*/ 701027 w 944903"/>
              <a:gd name="connsiteY14" fmla="*/ 278340 h 698098"/>
              <a:gd name="connsiteX15" fmla="*/ 723944 w 944903"/>
              <a:gd name="connsiteY15" fmla="*/ 272629 h 698098"/>
              <a:gd name="connsiteX16" fmla="*/ 723944 w 944903"/>
              <a:gd name="connsiteY16" fmla="*/ 426845 h 698098"/>
              <a:gd name="connsiteX17" fmla="*/ 715289 w 944903"/>
              <a:gd name="connsiteY17" fmla="*/ 423989 h 698098"/>
              <a:gd name="connsiteX18" fmla="*/ 681036 w 944903"/>
              <a:gd name="connsiteY18" fmla="*/ 409710 h 698098"/>
              <a:gd name="connsiteX19" fmla="*/ 675324 w 944903"/>
              <a:gd name="connsiteY19" fmla="*/ 409710 h 698098"/>
              <a:gd name="connsiteX20" fmla="*/ 675324 w 944903"/>
              <a:gd name="connsiteY20" fmla="*/ 284052 h 698098"/>
              <a:gd name="connsiteX21" fmla="*/ 692459 w 944903"/>
              <a:gd name="connsiteY21" fmla="*/ 278340 h 698098"/>
              <a:gd name="connsiteX22" fmla="*/ 692459 w 944903"/>
              <a:gd name="connsiteY22" fmla="*/ 415422 h 698098"/>
              <a:gd name="connsiteX23" fmla="*/ 669613 w 944903"/>
              <a:gd name="connsiteY23" fmla="*/ 269773 h 698098"/>
              <a:gd name="connsiteX24" fmla="*/ 669613 w 944903"/>
              <a:gd name="connsiteY24" fmla="*/ 421133 h 698098"/>
              <a:gd name="connsiteX25" fmla="*/ 778135 w 944903"/>
              <a:gd name="connsiteY25" fmla="*/ 463989 h 698098"/>
              <a:gd name="connsiteX26" fmla="*/ 778135 w 944903"/>
              <a:gd name="connsiteY26" fmla="*/ 232647 h 698098"/>
              <a:gd name="connsiteX27" fmla="*/ 626775 w 944903"/>
              <a:gd name="connsiteY27" fmla="*/ 1322 h 698098"/>
              <a:gd name="connsiteX28" fmla="*/ 626775 w 944903"/>
              <a:gd name="connsiteY28" fmla="*/ 235503 h 698098"/>
              <a:gd name="connsiteX29" fmla="*/ 772424 w 944903"/>
              <a:gd name="connsiteY29" fmla="*/ 178385 h 698098"/>
              <a:gd name="connsiteX30" fmla="*/ 772424 w 944903"/>
              <a:gd name="connsiteY30" fmla="*/ 49872 h 698098"/>
              <a:gd name="connsiteX31" fmla="*/ 626775 w 944903"/>
              <a:gd name="connsiteY31" fmla="*/ 463989 h 698098"/>
              <a:gd name="connsiteX32" fmla="*/ 626775 w 944903"/>
              <a:gd name="connsiteY32" fmla="*/ 698169 h 698098"/>
              <a:gd name="connsiteX33" fmla="*/ 772424 w 944903"/>
              <a:gd name="connsiteY33" fmla="*/ 641052 h 698098"/>
              <a:gd name="connsiteX34" fmla="*/ 772424 w 944903"/>
              <a:gd name="connsiteY34" fmla="*/ 515394 h 698098"/>
              <a:gd name="connsiteX35" fmla="*/ 569657 w 944903"/>
              <a:gd name="connsiteY35" fmla="*/ 198376 h 698098"/>
              <a:gd name="connsiteX36" fmla="*/ 561090 w 944903"/>
              <a:gd name="connsiteY36" fmla="*/ 195521 h 698098"/>
              <a:gd name="connsiteX37" fmla="*/ 561090 w 944903"/>
              <a:gd name="connsiteY37" fmla="*/ 35592 h 698098"/>
              <a:gd name="connsiteX38" fmla="*/ 569657 w 944903"/>
              <a:gd name="connsiteY38" fmla="*/ 32737 h 698098"/>
              <a:gd name="connsiteX39" fmla="*/ 578225 w 944903"/>
              <a:gd name="connsiteY39" fmla="*/ 29881 h 698098"/>
              <a:gd name="connsiteX40" fmla="*/ 589648 w 944903"/>
              <a:gd name="connsiteY40" fmla="*/ 27025 h 698098"/>
              <a:gd name="connsiteX41" fmla="*/ 589648 w 944903"/>
              <a:gd name="connsiteY41" fmla="*/ 206944 h 698098"/>
              <a:gd name="connsiteX42" fmla="*/ 578225 w 944903"/>
              <a:gd name="connsiteY42" fmla="*/ 204053 h 698098"/>
              <a:gd name="connsiteX43" fmla="*/ 535475 w 944903"/>
              <a:gd name="connsiteY43" fmla="*/ 189809 h 698098"/>
              <a:gd name="connsiteX44" fmla="*/ 526907 w 944903"/>
              <a:gd name="connsiteY44" fmla="*/ 186953 h 698098"/>
              <a:gd name="connsiteX45" fmla="*/ 526907 w 944903"/>
              <a:gd name="connsiteY45" fmla="*/ 44160 h 698098"/>
              <a:gd name="connsiteX46" fmla="*/ 549825 w 944903"/>
              <a:gd name="connsiteY46" fmla="*/ 38448 h 698098"/>
              <a:gd name="connsiteX47" fmla="*/ 549825 w 944903"/>
              <a:gd name="connsiteY47" fmla="*/ 192665 h 698098"/>
              <a:gd name="connsiteX48" fmla="*/ 541257 w 944903"/>
              <a:gd name="connsiteY48" fmla="*/ 189809 h 698098"/>
              <a:gd name="connsiteX49" fmla="*/ 506916 w 944903"/>
              <a:gd name="connsiteY49" fmla="*/ 181241 h 698098"/>
              <a:gd name="connsiteX50" fmla="*/ 501205 w 944903"/>
              <a:gd name="connsiteY50" fmla="*/ 178385 h 698098"/>
              <a:gd name="connsiteX51" fmla="*/ 501205 w 944903"/>
              <a:gd name="connsiteY51" fmla="*/ 52728 h 698098"/>
              <a:gd name="connsiteX52" fmla="*/ 518340 w 944903"/>
              <a:gd name="connsiteY52" fmla="*/ 47016 h 698098"/>
              <a:gd name="connsiteX53" fmla="*/ 518340 w 944903"/>
              <a:gd name="connsiteY53" fmla="*/ 184097 h 698098"/>
              <a:gd name="connsiteX54" fmla="*/ 495493 w 944903"/>
              <a:gd name="connsiteY54" fmla="*/ 38448 h 698098"/>
              <a:gd name="connsiteX55" fmla="*/ 495493 w 944903"/>
              <a:gd name="connsiteY55" fmla="*/ 189809 h 698098"/>
              <a:gd name="connsiteX56" fmla="*/ 604016 w 944903"/>
              <a:gd name="connsiteY56" fmla="*/ 232647 h 698098"/>
              <a:gd name="connsiteX57" fmla="*/ 604016 w 944903"/>
              <a:gd name="connsiteY57" fmla="*/ 1322 h 698098"/>
              <a:gd name="connsiteX58" fmla="*/ 569745 w 944903"/>
              <a:gd name="connsiteY58" fmla="*/ 663899 h 698098"/>
              <a:gd name="connsiteX59" fmla="*/ 561178 w 944903"/>
              <a:gd name="connsiteY59" fmla="*/ 661043 h 698098"/>
              <a:gd name="connsiteX60" fmla="*/ 561178 w 944903"/>
              <a:gd name="connsiteY60" fmla="*/ 501115 h 698098"/>
              <a:gd name="connsiteX61" fmla="*/ 569745 w 944903"/>
              <a:gd name="connsiteY61" fmla="*/ 498259 h 698098"/>
              <a:gd name="connsiteX62" fmla="*/ 578313 w 944903"/>
              <a:gd name="connsiteY62" fmla="*/ 495403 h 698098"/>
              <a:gd name="connsiteX63" fmla="*/ 589736 w 944903"/>
              <a:gd name="connsiteY63" fmla="*/ 492548 h 698098"/>
              <a:gd name="connsiteX64" fmla="*/ 589736 w 944903"/>
              <a:gd name="connsiteY64" fmla="*/ 672467 h 698098"/>
              <a:gd name="connsiteX65" fmla="*/ 578313 w 944903"/>
              <a:gd name="connsiteY65" fmla="*/ 669611 h 698098"/>
              <a:gd name="connsiteX66" fmla="*/ 535475 w 944903"/>
              <a:gd name="connsiteY66" fmla="*/ 652476 h 698098"/>
              <a:gd name="connsiteX67" fmla="*/ 526907 w 944903"/>
              <a:gd name="connsiteY67" fmla="*/ 649620 h 698098"/>
              <a:gd name="connsiteX68" fmla="*/ 526907 w 944903"/>
              <a:gd name="connsiteY68" fmla="*/ 506827 h 698098"/>
              <a:gd name="connsiteX69" fmla="*/ 549825 w 944903"/>
              <a:gd name="connsiteY69" fmla="*/ 501115 h 698098"/>
              <a:gd name="connsiteX70" fmla="*/ 549825 w 944903"/>
              <a:gd name="connsiteY70" fmla="*/ 655349 h 698098"/>
              <a:gd name="connsiteX71" fmla="*/ 541257 w 944903"/>
              <a:gd name="connsiteY71" fmla="*/ 652493 h 698098"/>
              <a:gd name="connsiteX72" fmla="*/ 506916 w 944903"/>
              <a:gd name="connsiteY72" fmla="*/ 643908 h 698098"/>
              <a:gd name="connsiteX73" fmla="*/ 501205 w 944903"/>
              <a:gd name="connsiteY73" fmla="*/ 641052 h 698098"/>
              <a:gd name="connsiteX74" fmla="*/ 501205 w 944903"/>
              <a:gd name="connsiteY74" fmla="*/ 515394 h 698098"/>
              <a:gd name="connsiteX75" fmla="*/ 518340 w 944903"/>
              <a:gd name="connsiteY75" fmla="*/ 509683 h 698098"/>
              <a:gd name="connsiteX76" fmla="*/ 518340 w 944903"/>
              <a:gd name="connsiteY76" fmla="*/ 646764 h 698098"/>
              <a:gd name="connsiteX77" fmla="*/ 495493 w 944903"/>
              <a:gd name="connsiteY77" fmla="*/ 503971 h 698098"/>
              <a:gd name="connsiteX78" fmla="*/ 495493 w 944903"/>
              <a:gd name="connsiteY78" fmla="*/ 655349 h 698098"/>
              <a:gd name="connsiteX79" fmla="*/ 604016 w 944903"/>
              <a:gd name="connsiteY79" fmla="*/ 695331 h 698098"/>
              <a:gd name="connsiteX80" fmla="*/ 604016 w 944903"/>
              <a:gd name="connsiteY80" fmla="*/ 463989 h 698098"/>
              <a:gd name="connsiteX81" fmla="*/ 469702 w 944903"/>
              <a:gd name="connsiteY81" fmla="*/ 232647 h 698098"/>
              <a:gd name="connsiteX82" fmla="*/ 469702 w 944903"/>
              <a:gd name="connsiteY82" fmla="*/ 463989 h 698098"/>
              <a:gd name="connsiteX83" fmla="*/ 612495 w 944903"/>
              <a:gd name="connsiteY83" fmla="*/ 409710 h 698098"/>
              <a:gd name="connsiteX84" fmla="*/ 612495 w 944903"/>
              <a:gd name="connsiteY84" fmla="*/ 284052 h 698098"/>
              <a:gd name="connsiteX85" fmla="*/ 412567 w 944903"/>
              <a:gd name="connsiteY85" fmla="*/ 432557 h 698098"/>
              <a:gd name="connsiteX86" fmla="*/ 403999 w 944903"/>
              <a:gd name="connsiteY86" fmla="*/ 429701 h 698098"/>
              <a:gd name="connsiteX87" fmla="*/ 403999 w 944903"/>
              <a:gd name="connsiteY87" fmla="*/ 266917 h 698098"/>
              <a:gd name="connsiteX88" fmla="*/ 412567 w 944903"/>
              <a:gd name="connsiteY88" fmla="*/ 264061 h 698098"/>
              <a:gd name="connsiteX89" fmla="*/ 421135 w 944903"/>
              <a:gd name="connsiteY89" fmla="*/ 261205 h 698098"/>
              <a:gd name="connsiteX90" fmla="*/ 432558 w 944903"/>
              <a:gd name="connsiteY90" fmla="*/ 258349 h 698098"/>
              <a:gd name="connsiteX91" fmla="*/ 432558 w 944903"/>
              <a:gd name="connsiteY91" fmla="*/ 438269 h 698098"/>
              <a:gd name="connsiteX92" fmla="*/ 421135 w 944903"/>
              <a:gd name="connsiteY92" fmla="*/ 435413 h 698098"/>
              <a:gd name="connsiteX93" fmla="*/ 378297 w 944903"/>
              <a:gd name="connsiteY93" fmla="*/ 421133 h 698098"/>
              <a:gd name="connsiteX94" fmla="*/ 369764 w 944903"/>
              <a:gd name="connsiteY94" fmla="*/ 418278 h 698098"/>
              <a:gd name="connsiteX95" fmla="*/ 369764 w 944903"/>
              <a:gd name="connsiteY95" fmla="*/ 278340 h 698098"/>
              <a:gd name="connsiteX96" fmla="*/ 392682 w 944903"/>
              <a:gd name="connsiteY96" fmla="*/ 272629 h 698098"/>
              <a:gd name="connsiteX97" fmla="*/ 392682 w 944903"/>
              <a:gd name="connsiteY97" fmla="*/ 426845 h 698098"/>
              <a:gd name="connsiteX98" fmla="*/ 384114 w 944903"/>
              <a:gd name="connsiteY98" fmla="*/ 423989 h 698098"/>
              <a:gd name="connsiteX99" fmla="*/ 349738 w 944903"/>
              <a:gd name="connsiteY99" fmla="*/ 409710 h 698098"/>
              <a:gd name="connsiteX100" fmla="*/ 344026 w 944903"/>
              <a:gd name="connsiteY100" fmla="*/ 409710 h 698098"/>
              <a:gd name="connsiteX101" fmla="*/ 344026 w 944903"/>
              <a:gd name="connsiteY101" fmla="*/ 284052 h 698098"/>
              <a:gd name="connsiteX102" fmla="*/ 361161 w 944903"/>
              <a:gd name="connsiteY102" fmla="*/ 278340 h 698098"/>
              <a:gd name="connsiteX103" fmla="*/ 361161 w 944903"/>
              <a:gd name="connsiteY103" fmla="*/ 415422 h 698098"/>
              <a:gd name="connsiteX104" fmla="*/ 338314 w 944903"/>
              <a:gd name="connsiteY104" fmla="*/ 269773 h 698098"/>
              <a:gd name="connsiteX105" fmla="*/ 338314 w 944903"/>
              <a:gd name="connsiteY105" fmla="*/ 421133 h 698098"/>
              <a:gd name="connsiteX106" fmla="*/ 446837 w 944903"/>
              <a:gd name="connsiteY106" fmla="*/ 463989 h 698098"/>
              <a:gd name="connsiteX107" fmla="*/ 446837 w 944903"/>
              <a:gd name="connsiteY107" fmla="*/ 232647 h 698098"/>
              <a:gd name="connsiteX108" fmla="*/ 289765 w 944903"/>
              <a:gd name="connsiteY108" fmla="*/ 1322 h 698098"/>
              <a:gd name="connsiteX109" fmla="*/ 289765 w 944903"/>
              <a:gd name="connsiteY109" fmla="*/ 235503 h 698098"/>
              <a:gd name="connsiteX110" fmla="*/ 435414 w 944903"/>
              <a:gd name="connsiteY110" fmla="*/ 178385 h 698098"/>
              <a:gd name="connsiteX111" fmla="*/ 435414 w 944903"/>
              <a:gd name="connsiteY111" fmla="*/ 49872 h 698098"/>
              <a:gd name="connsiteX112" fmla="*/ 289765 w 944903"/>
              <a:gd name="connsiteY112" fmla="*/ 463989 h 698098"/>
              <a:gd name="connsiteX113" fmla="*/ 289765 w 944903"/>
              <a:gd name="connsiteY113" fmla="*/ 698169 h 698098"/>
              <a:gd name="connsiteX114" fmla="*/ 435414 w 944903"/>
              <a:gd name="connsiteY114" fmla="*/ 641052 h 698098"/>
              <a:gd name="connsiteX115" fmla="*/ 435414 w 944903"/>
              <a:gd name="connsiteY115" fmla="*/ 515394 h 698098"/>
              <a:gd name="connsiteX116" fmla="*/ 232647 w 944903"/>
              <a:gd name="connsiteY116" fmla="*/ 198376 h 698098"/>
              <a:gd name="connsiteX117" fmla="*/ 224080 w 944903"/>
              <a:gd name="connsiteY117" fmla="*/ 195521 h 698098"/>
              <a:gd name="connsiteX118" fmla="*/ 224080 w 944903"/>
              <a:gd name="connsiteY118" fmla="*/ 35592 h 698098"/>
              <a:gd name="connsiteX119" fmla="*/ 232647 w 944903"/>
              <a:gd name="connsiteY119" fmla="*/ 32737 h 698098"/>
              <a:gd name="connsiteX120" fmla="*/ 241215 w 944903"/>
              <a:gd name="connsiteY120" fmla="*/ 29881 h 698098"/>
              <a:gd name="connsiteX121" fmla="*/ 252638 w 944903"/>
              <a:gd name="connsiteY121" fmla="*/ 27025 h 698098"/>
              <a:gd name="connsiteX122" fmla="*/ 252638 w 944903"/>
              <a:gd name="connsiteY122" fmla="*/ 206944 h 698098"/>
              <a:gd name="connsiteX123" fmla="*/ 241215 w 944903"/>
              <a:gd name="connsiteY123" fmla="*/ 201232 h 698098"/>
              <a:gd name="connsiteX124" fmla="*/ 198377 w 944903"/>
              <a:gd name="connsiteY124" fmla="*/ 189809 h 698098"/>
              <a:gd name="connsiteX125" fmla="*/ 189809 w 944903"/>
              <a:gd name="connsiteY125" fmla="*/ 186953 h 698098"/>
              <a:gd name="connsiteX126" fmla="*/ 189809 w 944903"/>
              <a:gd name="connsiteY126" fmla="*/ 44160 h 698098"/>
              <a:gd name="connsiteX127" fmla="*/ 212727 w 944903"/>
              <a:gd name="connsiteY127" fmla="*/ 38448 h 698098"/>
              <a:gd name="connsiteX128" fmla="*/ 212727 w 944903"/>
              <a:gd name="connsiteY128" fmla="*/ 192665 h 698098"/>
              <a:gd name="connsiteX129" fmla="*/ 207015 w 944903"/>
              <a:gd name="connsiteY129" fmla="*/ 192665 h 698098"/>
              <a:gd name="connsiteX130" fmla="*/ 169818 w 944903"/>
              <a:gd name="connsiteY130" fmla="*/ 181241 h 698098"/>
              <a:gd name="connsiteX131" fmla="*/ 164107 w 944903"/>
              <a:gd name="connsiteY131" fmla="*/ 178385 h 698098"/>
              <a:gd name="connsiteX132" fmla="*/ 164107 w 944903"/>
              <a:gd name="connsiteY132" fmla="*/ 52728 h 698098"/>
              <a:gd name="connsiteX133" fmla="*/ 181242 w 944903"/>
              <a:gd name="connsiteY133" fmla="*/ 47016 h 698098"/>
              <a:gd name="connsiteX134" fmla="*/ 181242 w 944903"/>
              <a:gd name="connsiteY134" fmla="*/ 184097 h 698098"/>
              <a:gd name="connsiteX135" fmla="*/ 158395 w 944903"/>
              <a:gd name="connsiteY135" fmla="*/ 38448 h 698098"/>
              <a:gd name="connsiteX136" fmla="*/ 158395 w 944903"/>
              <a:gd name="connsiteY136" fmla="*/ 189809 h 698098"/>
              <a:gd name="connsiteX137" fmla="*/ 266918 w 944903"/>
              <a:gd name="connsiteY137" fmla="*/ 232647 h 698098"/>
              <a:gd name="connsiteX138" fmla="*/ 266918 w 944903"/>
              <a:gd name="connsiteY138" fmla="*/ 1322 h 698098"/>
              <a:gd name="connsiteX139" fmla="*/ 232647 w 944903"/>
              <a:gd name="connsiteY139" fmla="*/ 663899 h 698098"/>
              <a:gd name="connsiteX140" fmla="*/ 224080 w 944903"/>
              <a:gd name="connsiteY140" fmla="*/ 661043 h 698098"/>
              <a:gd name="connsiteX141" fmla="*/ 224080 w 944903"/>
              <a:gd name="connsiteY141" fmla="*/ 501115 h 698098"/>
              <a:gd name="connsiteX142" fmla="*/ 232647 w 944903"/>
              <a:gd name="connsiteY142" fmla="*/ 498259 h 698098"/>
              <a:gd name="connsiteX143" fmla="*/ 241215 w 944903"/>
              <a:gd name="connsiteY143" fmla="*/ 495403 h 698098"/>
              <a:gd name="connsiteX144" fmla="*/ 252638 w 944903"/>
              <a:gd name="connsiteY144" fmla="*/ 492548 h 698098"/>
              <a:gd name="connsiteX145" fmla="*/ 252638 w 944903"/>
              <a:gd name="connsiteY145" fmla="*/ 672467 h 698098"/>
              <a:gd name="connsiteX146" fmla="*/ 241215 w 944903"/>
              <a:gd name="connsiteY146" fmla="*/ 669611 h 698098"/>
              <a:gd name="connsiteX147" fmla="*/ 198377 w 944903"/>
              <a:gd name="connsiteY147" fmla="*/ 652476 h 698098"/>
              <a:gd name="connsiteX148" fmla="*/ 189809 w 944903"/>
              <a:gd name="connsiteY148" fmla="*/ 649620 h 698098"/>
              <a:gd name="connsiteX149" fmla="*/ 189809 w 944903"/>
              <a:gd name="connsiteY149" fmla="*/ 506827 h 698098"/>
              <a:gd name="connsiteX150" fmla="*/ 212727 w 944903"/>
              <a:gd name="connsiteY150" fmla="*/ 501115 h 698098"/>
              <a:gd name="connsiteX151" fmla="*/ 212727 w 944903"/>
              <a:gd name="connsiteY151" fmla="*/ 655349 h 698098"/>
              <a:gd name="connsiteX152" fmla="*/ 204053 w 944903"/>
              <a:gd name="connsiteY152" fmla="*/ 652476 h 698098"/>
              <a:gd name="connsiteX153" fmla="*/ 169818 w 944903"/>
              <a:gd name="connsiteY153" fmla="*/ 643908 h 698098"/>
              <a:gd name="connsiteX154" fmla="*/ 164107 w 944903"/>
              <a:gd name="connsiteY154" fmla="*/ 641052 h 698098"/>
              <a:gd name="connsiteX155" fmla="*/ 164107 w 944903"/>
              <a:gd name="connsiteY155" fmla="*/ 515394 h 698098"/>
              <a:gd name="connsiteX156" fmla="*/ 181242 w 944903"/>
              <a:gd name="connsiteY156" fmla="*/ 509683 h 698098"/>
              <a:gd name="connsiteX157" fmla="*/ 181242 w 944903"/>
              <a:gd name="connsiteY157" fmla="*/ 646764 h 698098"/>
              <a:gd name="connsiteX158" fmla="*/ 158395 w 944903"/>
              <a:gd name="connsiteY158" fmla="*/ 503971 h 698098"/>
              <a:gd name="connsiteX159" fmla="*/ 158395 w 944903"/>
              <a:gd name="connsiteY159" fmla="*/ 655349 h 698098"/>
              <a:gd name="connsiteX160" fmla="*/ 266918 w 944903"/>
              <a:gd name="connsiteY160" fmla="*/ 695331 h 698098"/>
              <a:gd name="connsiteX161" fmla="*/ 266918 w 944903"/>
              <a:gd name="connsiteY161" fmla="*/ 463989 h 698098"/>
              <a:gd name="connsiteX162" fmla="*/ 135477 w 944903"/>
              <a:gd name="connsiteY162" fmla="*/ 232647 h 698098"/>
              <a:gd name="connsiteX163" fmla="*/ 135477 w 944903"/>
              <a:gd name="connsiteY163" fmla="*/ 463989 h 698098"/>
              <a:gd name="connsiteX164" fmla="*/ 278271 w 944903"/>
              <a:gd name="connsiteY164" fmla="*/ 409710 h 698098"/>
              <a:gd name="connsiteX165" fmla="*/ 278271 w 944903"/>
              <a:gd name="connsiteY165" fmla="*/ 284052 h 698098"/>
              <a:gd name="connsiteX166" fmla="*/ 75539 w 944903"/>
              <a:gd name="connsiteY166" fmla="*/ 432557 h 698098"/>
              <a:gd name="connsiteX167" fmla="*/ 66972 w 944903"/>
              <a:gd name="connsiteY167" fmla="*/ 426845 h 698098"/>
              <a:gd name="connsiteX168" fmla="*/ 66972 w 944903"/>
              <a:gd name="connsiteY168" fmla="*/ 266917 h 698098"/>
              <a:gd name="connsiteX169" fmla="*/ 75539 w 944903"/>
              <a:gd name="connsiteY169" fmla="*/ 266917 h 698098"/>
              <a:gd name="connsiteX170" fmla="*/ 84178 w 944903"/>
              <a:gd name="connsiteY170" fmla="*/ 263991 h 698098"/>
              <a:gd name="connsiteX171" fmla="*/ 95601 w 944903"/>
              <a:gd name="connsiteY171" fmla="*/ 258279 h 698098"/>
              <a:gd name="connsiteX172" fmla="*/ 95601 w 944903"/>
              <a:gd name="connsiteY172" fmla="*/ 438269 h 698098"/>
              <a:gd name="connsiteX173" fmla="*/ 84178 w 944903"/>
              <a:gd name="connsiteY173" fmla="*/ 435413 h 698098"/>
              <a:gd name="connsiteX174" fmla="*/ 41269 w 944903"/>
              <a:gd name="connsiteY174" fmla="*/ 421133 h 698098"/>
              <a:gd name="connsiteX175" fmla="*/ 32701 w 944903"/>
              <a:gd name="connsiteY175" fmla="*/ 418278 h 698098"/>
              <a:gd name="connsiteX176" fmla="*/ 32701 w 944903"/>
              <a:gd name="connsiteY176" fmla="*/ 278340 h 698098"/>
              <a:gd name="connsiteX177" fmla="*/ 55619 w 944903"/>
              <a:gd name="connsiteY177" fmla="*/ 272629 h 698098"/>
              <a:gd name="connsiteX178" fmla="*/ 55619 w 944903"/>
              <a:gd name="connsiteY178" fmla="*/ 426845 h 698098"/>
              <a:gd name="connsiteX179" fmla="*/ 47051 w 944903"/>
              <a:gd name="connsiteY179" fmla="*/ 423989 h 698098"/>
              <a:gd name="connsiteX180" fmla="*/ 12710 w 944903"/>
              <a:gd name="connsiteY180" fmla="*/ 409710 h 698098"/>
              <a:gd name="connsiteX181" fmla="*/ 7034 w 944903"/>
              <a:gd name="connsiteY181" fmla="*/ 409710 h 698098"/>
              <a:gd name="connsiteX182" fmla="*/ 7034 w 944903"/>
              <a:gd name="connsiteY182" fmla="*/ 284052 h 698098"/>
              <a:gd name="connsiteX183" fmla="*/ 24240 w 944903"/>
              <a:gd name="connsiteY183" fmla="*/ 278340 h 698098"/>
              <a:gd name="connsiteX184" fmla="*/ 24240 w 944903"/>
              <a:gd name="connsiteY184" fmla="*/ 415422 h 698098"/>
              <a:gd name="connsiteX185" fmla="*/ 1322 w 944903"/>
              <a:gd name="connsiteY185" fmla="*/ 269773 h 698098"/>
              <a:gd name="connsiteX186" fmla="*/ 1322 w 944903"/>
              <a:gd name="connsiteY186" fmla="*/ 421133 h 698098"/>
              <a:gd name="connsiteX187" fmla="*/ 109845 w 944903"/>
              <a:gd name="connsiteY187" fmla="*/ 463989 h 698098"/>
              <a:gd name="connsiteX188" fmla="*/ 109845 w 944903"/>
              <a:gd name="connsiteY188" fmla="*/ 232647 h 69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944903" h="698098">
                <a:moveTo>
                  <a:pt x="800982" y="232647"/>
                </a:moveTo>
                <a:lnTo>
                  <a:pt x="800982" y="463989"/>
                </a:lnTo>
                <a:lnTo>
                  <a:pt x="943776" y="409710"/>
                </a:lnTo>
                <a:lnTo>
                  <a:pt x="943776" y="284052"/>
                </a:lnTo>
                <a:close/>
                <a:moveTo>
                  <a:pt x="743865" y="432557"/>
                </a:moveTo>
                <a:lnTo>
                  <a:pt x="735297" y="429701"/>
                </a:lnTo>
                <a:lnTo>
                  <a:pt x="735297" y="266917"/>
                </a:lnTo>
                <a:lnTo>
                  <a:pt x="743865" y="264061"/>
                </a:lnTo>
                <a:lnTo>
                  <a:pt x="752433" y="261205"/>
                </a:lnTo>
                <a:lnTo>
                  <a:pt x="763856" y="258349"/>
                </a:lnTo>
                <a:lnTo>
                  <a:pt x="763856" y="438269"/>
                </a:lnTo>
                <a:lnTo>
                  <a:pt x="752433" y="432557"/>
                </a:lnTo>
                <a:close/>
                <a:moveTo>
                  <a:pt x="709595" y="421133"/>
                </a:moveTo>
                <a:lnTo>
                  <a:pt x="701027" y="418278"/>
                </a:lnTo>
                <a:lnTo>
                  <a:pt x="701027" y="278340"/>
                </a:lnTo>
                <a:lnTo>
                  <a:pt x="723944" y="272629"/>
                </a:lnTo>
                <a:lnTo>
                  <a:pt x="723944" y="426845"/>
                </a:lnTo>
                <a:lnTo>
                  <a:pt x="715289" y="423989"/>
                </a:lnTo>
                <a:close/>
                <a:moveTo>
                  <a:pt x="681036" y="409710"/>
                </a:moveTo>
                <a:lnTo>
                  <a:pt x="675324" y="409710"/>
                </a:lnTo>
                <a:lnTo>
                  <a:pt x="675324" y="284052"/>
                </a:lnTo>
                <a:lnTo>
                  <a:pt x="692459" y="278340"/>
                </a:lnTo>
                <a:lnTo>
                  <a:pt x="692459" y="415422"/>
                </a:lnTo>
                <a:close/>
                <a:moveTo>
                  <a:pt x="669613" y="269773"/>
                </a:moveTo>
                <a:lnTo>
                  <a:pt x="669613" y="421133"/>
                </a:lnTo>
                <a:lnTo>
                  <a:pt x="778135" y="463989"/>
                </a:lnTo>
                <a:lnTo>
                  <a:pt x="778135" y="232647"/>
                </a:lnTo>
                <a:close/>
                <a:moveTo>
                  <a:pt x="626775" y="1322"/>
                </a:moveTo>
                <a:lnTo>
                  <a:pt x="626775" y="235503"/>
                </a:lnTo>
                <a:lnTo>
                  <a:pt x="772424" y="178385"/>
                </a:lnTo>
                <a:lnTo>
                  <a:pt x="772424" y="49872"/>
                </a:lnTo>
                <a:close/>
                <a:moveTo>
                  <a:pt x="626775" y="463989"/>
                </a:moveTo>
                <a:lnTo>
                  <a:pt x="626775" y="698169"/>
                </a:lnTo>
                <a:lnTo>
                  <a:pt x="772424" y="641052"/>
                </a:lnTo>
                <a:lnTo>
                  <a:pt x="772424" y="515394"/>
                </a:lnTo>
                <a:close/>
                <a:moveTo>
                  <a:pt x="569657" y="198376"/>
                </a:moveTo>
                <a:lnTo>
                  <a:pt x="561090" y="195521"/>
                </a:lnTo>
                <a:lnTo>
                  <a:pt x="561090" y="35592"/>
                </a:lnTo>
                <a:lnTo>
                  <a:pt x="569657" y="32737"/>
                </a:lnTo>
                <a:lnTo>
                  <a:pt x="578225" y="29881"/>
                </a:lnTo>
                <a:lnTo>
                  <a:pt x="589648" y="27025"/>
                </a:lnTo>
                <a:lnTo>
                  <a:pt x="589648" y="206944"/>
                </a:lnTo>
                <a:lnTo>
                  <a:pt x="578225" y="204053"/>
                </a:lnTo>
                <a:close/>
                <a:moveTo>
                  <a:pt x="535475" y="189809"/>
                </a:moveTo>
                <a:lnTo>
                  <a:pt x="526907" y="186953"/>
                </a:lnTo>
                <a:lnTo>
                  <a:pt x="526907" y="44160"/>
                </a:lnTo>
                <a:lnTo>
                  <a:pt x="549825" y="38448"/>
                </a:lnTo>
                <a:lnTo>
                  <a:pt x="549825" y="192665"/>
                </a:lnTo>
                <a:lnTo>
                  <a:pt x="541257" y="189809"/>
                </a:lnTo>
                <a:close/>
                <a:moveTo>
                  <a:pt x="506916" y="181241"/>
                </a:moveTo>
                <a:lnTo>
                  <a:pt x="501205" y="178385"/>
                </a:lnTo>
                <a:lnTo>
                  <a:pt x="501205" y="52728"/>
                </a:lnTo>
                <a:lnTo>
                  <a:pt x="518340" y="47016"/>
                </a:lnTo>
                <a:lnTo>
                  <a:pt x="518340" y="184097"/>
                </a:lnTo>
                <a:close/>
                <a:moveTo>
                  <a:pt x="495493" y="38448"/>
                </a:moveTo>
                <a:lnTo>
                  <a:pt x="495493" y="189809"/>
                </a:lnTo>
                <a:lnTo>
                  <a:pt x="604016" y="232647"/>
                </a:lnTo>
                <a:lnTo>
                  <a:pt x="604016" y="1322"/>
                </a:lnTo>
                <a:close/>
                <a:moveTo>
                  <a:pt x="569745" y="663899"/>
                </a:moveTo>
                <a:lnTo>
                  <a:pt x="561178" y="661043"/>
                </a:lnTo>
                <a:lnTo>
                  <a:pt x="561178" y="501115"/>
                </a:lnTo>
                <a:lnTo>
                  <a:pt x="569745" y="498259"/>
                </a:lnTo>
                <a:lnTo>
                  <a:pt x="578313" y="495403"/>
                </a:lnTo>
                <a:lnTo>
                  <a:pt x="589736" y="492548"/>
                </a:lnTo>
                <a:lnTo>
                  <a:pt x="589736" y="672467"/>
                </a:lnTo>
                <a:lnTo>
                  <a:pt x="578313" y="669611"/>
                </a:lnTo>
                <a:close/>
                <a:moveTo>
                  <a:pt x="535475" y="652476"/>
                </a:moveTo>
                <a:lnTo>
                  <a:pt x="526907" y="649620"/>
                </a:lnTo>
                <a:lnTo>
                  <a:pt x="526907" y="506827"/>
                </a:lnTo>
                <a:lnTo>
                  <a:pt x="549825" y="501115"/>
                </a:lnTo>
                <a:lnTo>
                  <a:pt x="549825" y="655349"/>
                </a:lnTo>
                <a:lnTo>
                  <a:pt x="541257" y="652493"/>
                </a:lnTo>
                <a:close/>
                <a:moveTo>
                  <a:pt x="506916" y="643908"/>
                </a:moveTo>
                <a:lnTo>
                  <a:pt x="501205" y="641052"/>
                </a:lnTo>
                <a:lnTo>
                  <a:pt x="501205" y="515394"/>
                </a:lnTo>
                <a:lnTo>
                  <a:pt x="518340" y="509683"/>
                </a:lnTo>
                <a:lnTo>
                  <a:pt x="518340" y="646764"/>
                </a:lnTo>
                <a:close/>
                <a:moveTo>
                  <a:pt x="495493" y="503971"/>
                </a:moveTo>
                <a:lnTo>
                  <a:pt x="495493" y="655349"/>
                </a:lnTo>
                <a:lnTo>
                  <a:pt x="604016" y="695331"/>
                </a:lnTo>
                <a:lnTo>
                  <a:pt x="604016" y="463989"/>
                </a:lnTo>
                <a:close/>
                <a:moveTo>
                  <a:pt x="469702" y="232647"/>
                </a:moveTo>
                <a:lnTo>
                  <a:pt x="469702" y="463989"/>
                </a:lnTo>
                <a:lnTo>
                  <a:pt x="612495" y="409710"/>
                </a:lnTo>
                <a:lnTo>
                  <a:pt x="612495" y="284052"/>
                </a:lnTo>
                <a:close/>
                <a:moveTo>
                  <a:pt x="412567" y="432557"/>
                </a:moveTo>
                <a:lnTo>
                  <a:pt x="403999" y="429701"/>
                </a:lnTo>
                <a:lnTo>
                  <a:pt x="403999" y="266917"/>
                </a:lnTo>
                <a:lnTo>
                  <a:pt x="412567" y="264061"/>
                </a:lnTo>
                <a:lnTo>
                  <a:pt x="421135" y="261205"/>
                </a:lnTo>
                <a:lnTo>
                  <a:pt x="432558" y="258349"/>
                </a:lnTo>
                <a:lnTo>
                  <a:pt x="432558" y="438269"/>
                </a:lnTo>
                <a:lnTo>
                  <a:pt x="421135" y="435413"/>
                </a:lnTo>
                <a:close/>
                <a:moveTo>
                  <a:pt x="378297" y="421133"/>
                </a:moveTo>
                <a:lnTo>
                  <a:pt x="369764" y="418278"/>
                </a:lnTo>
                <a:lnTo>
                  <a:pt x="369764" y="278340"/>
                </a:lnTo>
                <a:lnTo>
                  <a:pt x="392682" y="272629"/>
                </a:lnTo>
                <a:lnTo>
                  <a:pt x="392682" y="426845"/>
                </a:lnTo>
                <a:lnTo>
                  <a:pt x="384114" y="423989"/>
                </a:lnTo>
                <a:close/>
                <a:moveTo>
                  <a:pt x="349738" y="409710"/>
                </a:moveTo>
                <a:lnTo>
                  <a:pt x="344026" y="409710"/>
                </a:lnTo>
                <a:lnTo>
                  <a:pt x="344026" y="284052"/>
                </a:lnTo>
                <a:lnTo>
                  <a:pt x="361161" y="278340"/>
                </a:lnTo>
                <a:lnTo>
                  <a:pt x="361161" y="415422"/>
                </a:lnTo>
                <a:close/>
                <a:moveTo>
                  <a:pt x="338314" y="269773"/>
                </a:moveTo>
                <a:lnTo>
                  <a:pt x="338314" y="421133"/>
                </a:lnTo>
                <a:lnTo>
                  <a:pt x="446837" y="463989"/>
                </a:lnTo>
                <a:lnTo>
                  <a:pt x="446837" y="232647"/>
                </a:lnTo>
                <a:close/>
                <a:moveTo>
                  <a:pt x="289765" y="1322"/>
                </a:moveTo>
                <a:lnTo>
                  <a:pt x="289765" y="235503"/>
                </a:lnTo>
                <a:lnTo>
                  <a:pt x="435414" y="178385"/>
                </a:lnTo>
                <a:lnTo>
                  <a:pt x="435414" y="49872"/>
                </a:lnTo>
                <a:close/>
                <a:moveTo>
                  <a:pt x="289765" y="463989"/>
                </a:moveTo>
                <a:lnTo>
                  <a:pt x="289765" y="698169"/>
                </a:lnTo>
                <a:lnTo>
                  <a:pt x="435414" y="641052"/>
                </a:lnTo>
                <a:lnTo>
                  <a:pt x="435414" y="515394"/>
                </a:lnTo>
                <a:close/>
                <a:moveTo>
                  <a:pt x="232647" y="198376"/>
                </a:moveTo>
                <a:lnTo>
                  <a:pt x="224080" y="195521"/>
                </a:lnTo>
                <a:lnTo>
                  <a:pt x="224080" y="35592"/>
                </a:lnTo>
                <a:lnTo>
                  <a:pt x="232647" y="32737"/>
                </a:lnTo>
                <a:lnTo>
                  <a:pt x="241215" y="29881"/>
                </a:lnTo>
                <a:lnTo>
                  <a:pt x="252638" y="27025"/>
                </a:lnTo>
                <a:lnTo>
                  <a:pt x="252638" y="206944"/>
                </a:lnTo>
                <a:lnTo>
                  <a:pt x="241215" y="201232"/>
                </a:lnTo>
                <a:close/>
                <a:moveTo>
                  <a:pt x="198377" y="189809"/>
                </a:moveTo>
                <a:lnTo>
                  <a:pt x="189809" y="186953"/>
                </a:lnTo>
                <a:lnTo>
                  <a:pt x="189809" y="44160"/>
                </a:lnTo>
                <a:lnTo>
                  <a:pt x="212727" y="38448"/>
                </a:lnTo>
                <a:lnTo>
                  <a:pt x="212727" y="192665"/>
                </a:lnTo>
                <a:lnTo>
                  <a:pt x="207015" y="192665"/>
                </a:lnTo>
                <a:close/>
                <a:moveTo>
                  <a:pt x="169818" y="181241"/>
                </a:moveTo>
                <a:lnTo>
                  <a:pt x="164107" y="178385"/>
                </a:lnTo>
                <a:lnTo>
                  <a:pt x="164107" y="52728"/>
                </a:lnTo>
                <a:lnTo>
                  <a:pt x="181242" y="47016"/>
                </a:lnTo>
                <a:lnTo>
                  <a:pt x="181242" y="184097"/>
                </a:lnTo>
                <a:close/>
                <a:moveTo>
                  <a:pt x="158395" y="38448"/>
                </a:moveTo>
                <a:lnTo>
                  <a:pt x="158395" y="189809"/>
                </a:lnTo>
                <a:lnTo>
                  <a:pt x="266918" y="232647"/>
                </a:lnTo>
                <a:lnTo>
                  <a:pt x="266918" y="1322"/>
                </a:lnTo>
                <a:close/>
                <a:moveTo>
                  <a:pt x="232647" y="663899"/>
                </a:moveTo>
                <a:lnTo>
                  <a:pt x="224080" y="661043"/>
                </a:lnTo>
                <a:lnTo>
                  <a:pt x="224080" y="501115"/>
                </a:lnTo>
                <a:lnTo>
                  <a:pt x="232647" y="498259"/>
                </a:lnTo>
                <a:lnTo>
                  <a:pt x="241215" y="495403"/>
                </a:lnTo>
                <a:lnTo>
                  <a:pt x="252638" y="492548"/>
                </a:lnTo>
                <a:lnTo>
                  <a:pt x="252638" y="672467"/>
                </a:lnTo>
                <a:lnTo>
                  <a:pt x="241215" y="669611"/>
                </a:lnTo>
                <a:close/>
                <a:moveTo>
                  <a:pt x="198377" y="652476"/>
                </a:moveTo>
                <a:lnTo>
                  <a:pt x="189809" y="649620"/>
                </a:lnTo>
                <a:lnTo>
                  <a:pt x="189809" y="506827"/>
                </a:lnTo>
                <a:lnTo>
                  <a:pt x="212727" y="501115"/>
                </a:lnTo>
                <a:lnTo>
                  <a:pt x="212727" y="655349"/>
                </a:lnTo>
                <a:lnTo>
                  <a:pt x="204053" y="652476"/>
                </a:lnTo>
                <a:close/>
                <a:moveTo>
                  <a:pt x="169818" y="643908"/>
                </a:moveTo>
                <a:lnTo>
                  <a:pt x="164107" y="641052"/>
                </a:lnTo>
                <a:lnTo>
                  <a:pt x="164107" y="515394"/>
                </a:lnTo>
                <a:lnTo>
                  <a:pt x="181242" y="509683"/>
                </a:lnTo>
                <a:lnTo>
                  <a:pt x="181242" y="646764"/>
                </a:lnTo>
                <a:close/>
                <a:moveTo>
                  <a:pt x="158395" y="503971"/>
                </a:moveTo>
                <a:lnTo>
                  <a:pt x="158395" y="655349"/>
                </a:lnTo>
                <a:lnTo>
                  <a:pt x="266918" y="695331"/>
                </a:lnTo>
                <a:lnTo>
                  <a:pt x="266918" y="463989"/>
                </a:lnTo>
                <a:close/>
                <a:moveTo>
                  <a:pt x="135477" y="232647"/>
                </a:moveTo>
                <a:lnTo>
                  <a:pt x="135477" y="463989"/>
                </a:lnTo>
                <a:lnTo>
                  <a:pt x="278271" y="409710"/>
                </a:lnTo>
                <a:lnTo>
                  <a:pt x="278271" y="284052"/>
                </a:lnTo>
                <a:close/>
                <a:moveTo>
                  <a:pt x="75539" y="432557"/>
                </a:moveTo>
                <a:lnTo>
                  <a:pt x="66972" y="426845"/>
                </a:lnTo>
                <a:lnTo>
                  <a:pt x="66972" y="266917"/>
                </a:lnTo>
                <a:lnTo>
                  <a:pt x="75539" y="266917"/>
                </a:lnTo>
                <a:lnTo>
                  <a:pt x="84178" y="263991"/>
                </a:lnTo>
                <a:lnTo>
                  <a:pt x="95601" y="258279"/>
                </a:lnTo>
                <a:lnTo>
                  <a:pt x="95601" y="438269"/>
                </a:lnTo>
                <a:lnTo>
                  <a:pt x="84178" y="435413"/>
                </a:lnTo>
                <a:close/>
                <a:moveTo>
                  <a:pt x="41269" y="421133"/>
                </a:moveTo>
                <a:lnTo>
                  <a:pt x="32701" y="418278"/>
                </a:lnTo>
                <a:lnTo>
                  <a:pt x="32701" y="278340"/>
                </a:lnTo>
                <a:lnTo>
                  <a:pt x="55619" y="272629"/>
                </a:lnTo>
                <a:lnTo>
                  <a:pt x="55619" y="426845"/>
                </a:lnTo>
                <a:lnTo>
                  <a:pt x="47051" y="423989"/>
                </a:lnTo>
                <a:close/>
                <a:moveTo>
                  <a:pt x="12710" y="409710"/>
                </a:moveTo>
                <a:lnTo>
                  <a:pt x="7034" y="409710"/>
                </a:lnTo>
                <a:lnTo>
                  <a:pt x="7034" y="284052"/>
                </a:lnTo>
                <a:lnTo>
                  <a:pt x="24240" y="278340"/>
                </a:lnTo>
                <a:lnTo>
                  <a:pt x="24240" y="415422"/>
                </a:lnTo>
                <a:close/>
                <a:moveTo>
                  <a:pt x="1322" y="269773"/>
                </a:moveTo>
                <a:lnTo>
                  <a:pt x="1322" y="421133"/>
                </a:lnTo>
                <a:lnTo>
                  <a:pt x="109845" y="463989"/>
                </a:lnTo>
                <a:lnTo>
                  <a:pt x="109845" y="232647"/>
                </a:lnTo>
                <a:close/>
              </a:path>
            </a:pathLst>
          </a:custGeom>
          <a:solidFill>
            <a:schemeClr val="accent4">
              <a:lumMod val="60000"/>
              <a:lumOff val="40000"/>
            </a:schemeClr>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340534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A926F1-DE1B-4E16-96CE-A94CE44DE602}"/>
              </a:ext>
            </a:extLst>
          </p:cNvPr>
          <p:cNvSpPr/>
          <p:nvPr/>
        </p:nvSpPr>
        <p:spPr bwMode="auto">
          <a:xfrm flipV="1">
            <a:off x="1729" y="2757749"/>
            <a:ext cx="12190271" cy="4100251"/>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Title 1"/>
          <p:cNvSpPr txBox="1">
            <a:spLocks/>
          </p:cNvSpPr>
          <p:nvPr/>
        </p:nvSpPr>
        <p:spPr>
          <a:xfrm>
            <a:off x="643523" y="3039562"/>
            <a:ext cx="11278412" cy="762895"/>
          </a:xfrm>
          <a:prstGeom prst="rect">
            <a:avLst/>
          </a:prstGeom>
        </p:spPr>
        <p:txBody>
          <a:bodyPr lIns="146243" tIns="9141" rIns="146243" bIns="9141"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defTabSz="914016" fontAlgn="base">
              <a:spcBef>
                <a:spcPts val="1174"/>
              </a:spcBef>
              <a:spcAft>
                <a:spcPct val="0"/>
              </a:spcAft>
              <a:defRPr/>
            </a:pPr>
            <a:r>
              <a:rPr lang="en-US" sz="5293" spc="-98">
                <a:solidFill>
                  <a:srgbClr val="43A1FF"/>
                </a:solidFill>
                <a:latin typeface="Segoe UI Light"/>
              </a:rPr>
              <a:t>Azure Container Instances (ACI)</a:t>
            </a:r>
          </a:p>
        </p:txBody>
      </p:sp>
      <p:sp>
        <p:nvSpPr>
          <p:cNvPr id="7" name="Rectangle 6"/>
          <p:cNvSpPr/>
          <p:nvPr/>
        </p:nvSpPr>
        <p:spPr>
          <a:xfrm>
            <a:off x="643522" y="4026534"/>
            <a:ext cx="11129030" cy="1507891"/>
          </a:xfrm>
          <a:prstGeom prst="rect">
            <a:avLst/>
          </a:prstGeom>
        </p:spPr>
        <p:txBody>
          <a:bodyPr wrap="square" lIns="146243">
            <a:spAutoFit/>
          </a:bodyPr>
          <a:lstStyle/>
          <a:p>
            <a:pPr defTabSz="913782">
              <a:spcAft>
                <a:spcPts val="1174"/>
              </a:spcAft>
              <a:buClr>
                <a:srgbClr val="FFFFFF"/>
              </a:buClr>
              <a:defRPr/>
            </a:pPr>
            <a:r>
              <a:rPr lang="en-US" sz="2353">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Easily deploy and run containers with a single command</a:t>
            </a:r>
          </a:p>
          <a:p>
            <a:pPr defTabSz="913782">
              <a:spcAft>
                <a:spcPts val="1174"/>
              </a:spcAft>
              <a:buClr>
                <a:srgbClr val="FFFFFF"/>
              </a:buClr>
              <a:defRPr/>
            </a:pPr>
            <a:r>
              <a:rPr lang="en-US" sz="2353">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Launch container instances in seconds</a:t>
            </a:r>
          </a:p>
          <a:p>
            <a:pPr defTabSz="913782">
              <a:spcAft>
                <a:spcPts val="1174"/>
              </a:spcAft>
              <a:buClr>
                <a:srgbClr val="FFFFFF"/>
              </a:buClr>
              <a:defRPr/>
            </a:pPr>
            <a:r>
              <a:rPr lang="en-US" sz="2353">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Cost effective per second billing</a:t>
            </a:r>
          </a:p>
        </p:txBody>
      </p:sp>
      <p:pic>
        <p:nvPicPr>
          <p:cNvPr id="30" name="Picture 2" descr="https://azure.microsoft.com/svghandler/container-instances/?width=600&amp;height=315">
            <a:extLst>
              <a:ext uri="{FF2B5EF4-FFF2-40B4-BE49-F238E27FC236}">
                <a16:creationId xmlns:a16="http://schemas.microsoft.com/office/drawing/2014/main" id="{B3D02DCF-48BC-40D7-8AA0-77A467EA27DA}"/>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303862" y="291598"/>
            <a:ext cx="2532402" cy="21232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822059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600"/>
                                        <p:tgtEl>
                                          <p:spTgt spid="30"/>
                                        </p:tgtEl>
                                      </p:cBhvr>
                                    </p:animEffect>
                                  </p:childTnLst>
                                </p:cTn>
                              </p:par>
                              <p:par>
                                <p:cTn id="13" presetID="35" presetClass="path" presetSubtype="0" decel="100000" fill="hold" nodeType="withEffect">
                                  <p:stCondLst>
                                    <p:cond delay="0"/>
                                  </p:stCondLst>
                                  <p:childTnLst>
                                    <p:animMotion origin="layout" path="M -0.05553 0.00023 L 9.9566E-8 0.00023 " pathEditMode="relative" rAng="0" ptsTypes="AA">
                                      <p:cBhvr>
                                        <p:cTn id="14" dur="800" fill="hold"/>
                                        <p:tgtEl>
                                          <p:spTgt spid="30"/>
                                        </p:tgtEl>
                                        <p:attrNameLst>
                                          <p:attrName>ppt_x</p:attrName>
                                          <p:attrName>ppt_y</p:attrName>
                                        </p:attrNameLst>
                                      </p:cBhvr>
                                      <p:rCtr x="2770" y="0"/>
                                    </p:animMotion>
                                  </p:childTnLst>
                                </p:cTn>
                              </p:par>
                            </p:childTnLst>
                          </p:cTn>
                        </p:par>
                        <p:par>
                          <p:cTn id="15" fill="hold">
                            <p:stCondLst>
                              <p:cond delay="1300"/>
                            </p:stCondLst>
                            <p:childTnLst>
                              <p:par>
                                <p:cTn id="16" presetID="10" presetClass="entr" presetSubtype="0" fill="hold" grpId="0" nodeType="afterEffect">
                                  <p:stCondLst>
                                    <p:cond delay="10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600"/>
                                        <p:tgtEl>
                                          <p:spTgt spid="5"/>
                                        </p:tgtEl>
                                      </p:cBhvr>
                                    </p:animEffect>
                                  </p:childTnLst>
                                </p:cTn>
                              </p:par>
                              <p:par>
                                <p:cTn id="19" presetID="35" presetClass="path" presetSubtype="0" decel="100000" fill="hold" grpId="1" nodeType="withEffect">
                                  <p:stCondLst>
                                    <p:cond delay="50"/>
                                  </p:stCondLst>
                                  <p:childTnLst>
                                    <p:animMotion origin="layout" path="M -0.05553 0.00022 L 2.15471E-6 0.00022 " pathEditMode="relative" rAng="0" ptsTypes="AA">
                                      <p:cBhvr>
                                        <p:cTn id="20" dur="800" fill="hold"/>
                                        <p:tgtEl>
                                          <p:spTgt spid="5"/>
                                        </p:tgtEl>
                                        <p:attrNameLst>
                                          <p:attrName>ppt_x</p:attrName>
                                          <p:attrName>ppt_y</p:attrName>
                                        </p:attrNameLst>
                                      </p:cBhvr>
                                      <p:rCtr x="2770" y="0"/>
                                    </p:animMotion>
                                  </p:childTnLst>
                                </p:cTn>
                              </p:par>
                              <p:par>
                                <p:cTn id="21" presetID="10" presetClass="entr" presetSubtype="0" fill="hold" grpId="0" nodeType="withEffect">
                                  <p:stCondLst>
                                    <p:cond delay="50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600"/>
                                        <p:tgtEl>
                                          <p:spTgt spid="7"/>
                                        </p:tgtEl>
                                      </p:cBhvr>
                                    </p:animEffect>
                                  </p:childTnLst>
                                </p:cTn>
                              </p:par>
                              <p:par>
                                <p:cTn id="24" presetID="35" presetClass="path" presetSubtype="0" decel="100000" fill="hold" grpId="1" nodeType="withEffect">
                                  <p:stCondLst>
                                    <p:cond delay="300"/>
                                  </p:stCondLst>
                                  <p:childTnLst>
                                    <p:animMotion origin="layout" path="M -0.05553 0.00023 L -7.07174E-7 0.00023 " pathEditMode="relative" rAng="0" ptsTypes="AA">
                                      <p:cBhvr>
                                        <p:cTn id="25" dur="800" fill="hold"/>
                                        <p:tgtEl>
                                          <p:spTgt spid="7"/>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5" grpId="1"/>
      <p:bldP spid="7" grpId="0"/>
      <p:bldP spid="7"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616062" y="491948"/>
            <a:ext cx="9376616" cy="854250"/>
          </a:xfrm>
        </p:spPr>
        <p:txBody>
          <a:bodyPr/>
          <a:lstStyle/>
          <a:p>
            <a:pPr algn="ctr"/>
            <a:r>
              <a:rPr lang="en-US">
                <a:solidFill>
                  <a:schemeClr val="tx1"/>
                </a:solidFill>
              </a:rPr>
              <a:t>Azure Container Instances (ACI)</a:t>
            </a:r>
            <a:endParaRPr lang="en-US">
              <a:solidFill>
                <a:schemeClr val="tx1"/>
              </a:solidFill>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2303843" y="1288707"/>
            <a:ext cx="8107146" cy="658896"/>
          </a:xfrm>
          <a:prstGeom prst="rect">
            <a:avLst/>
          </a:prstGeom>
          <a:noFill/>
        </p:spPr>
        <p:txBody>
          <a:bodyPr wrap="square" lIns="143407" tIns="143407" rIns="143407" bIns="143407" rtlCol="0">
            <a:spAutoFit/>
          </a:bodyPr>
          <a:lstStyle/>
          <a:p>
            <a:pPr algn="ctr" defTabSz="914192">
              <a:spcAft>
                <a:spcPts val="588"/>
              </a:spcAft>
            </a:pPr>
            <a:r>
              <a:rPr lang="en-US" sz="2353">
                <a:solidFill>
                  <a:srgbClr val="0078D7"/>
                </a:solidFill>
                <a:latin typeface="Segoe UI Semilight"/>
                <a:cs typeface="Segoe UI Semibold" panose="020B0702040204020203" pitchFamily="34" charset="0"/>
              </a:rPr>
              <a:t>Easily run containers on demand without managing servers</a:t>
            </a:r>
          </a:p>
        </p:txBody>
      </p:sp>
      <p:sp>
        <p:nvSpPr>
          <p:cNvPr id="62" name="Oval 61">
            <a:extLst>
              <a:ext uri="{FF2B5EF4-FFF2-40B4-BE49-F238E27FC236}">
                <a16:creationId xmlns:a16="http://schemas.microsoft.com/office/drawing/2014/main" id="{9CC0C5A5-83C2-4E25-BE94-9A4D3CFE98DA}"/>
              </a:ext>
            </a:extLst>
          </p:cNvPr>
          <p:cNvSpPr/>
          <p:nvPr/>
        </p:nvSpPr>
        <p:spPr bwMode="auto">
          <a:xfrm rot="16200000">
            <a:off x="3088250" y="5590302"/>
            <a:ext cx="144003" cy="1440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63" name="Oval 62">
            <a:extLst>
              <a:ext uri="{FF2B5EF4-FFF2-40B4-BE49-F238E27FC236}">
                <a16:creationId xmlns:a16="http://schemas.microsoft.com/office/drawing/2014/main" id="{C54572FD-B5E0-437A-AD3F-569413BE7D20}"/>
              </a:ext>
            </a:extLst>
          </p:cNvPr>
          <p:cNvSpPr/>
          <p:nvPr/>
        </p:nvSpPr>
        <p:spPr bwMode="auto">
          <a:xfrm rot="16200000">
            <a:off x="6285416" y="5590302"/>
            <a:ext cx="144003" cy="1440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64" name="Oval 63">
            <a:extLst>
              <a:ext uri="{FF2B5EF4-FFF2-40B4-BE49-F238E27FC236}">
                <a16:creationId xmlns:a16="http://schemas.microsoft.com/office/drawing/2014/main" id="{6687F87C-21B0-400E-9B49-CC9AF87BFDE0}"/>
              </a:ext>
            </a:extLst>
          </p:cNvPr>
          <p:cNvSpPr/>
          <p:nvPr/>
        </p:nvSpPr>
        <p:spPr bwMode="auto">
          <a:xfrm rot="16200000">
            <a:off x="9482580" y="5590302"/>
            <a:ext cx="144003" cy="1440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66" name="TextBox 65">
            <a:extLst>
              <a:ext uri="{FF2B5EF4-FFF2-40B4-BE49-F238E27FC236}">
                <a16:creationId xmlns:a16="http://schemas.microsoft.com/office/drawing/2014/main" id="{A20936FB-0AC6-4CB2-83A9-C1A2D9198A14}"/>
              </a:ext>
            </a:extLst>
          </p:cNvPr>
          <p:cNvSpPr txBox="1"/>
          <p:nvPr/>
        </p:nvSpPr>
        <p:spPr>
          <a:xfrm>
            <a:off x="4882050" y="4516078"/>
            <a:ext cx="2806727" cy="1120495"/>
          </a:xfrm>
          <a:prstGeom prst="rect">
            <a:avLst/>
          </a:prstGeom>
          <a:noFill/>
        </p:spPr>
        <p:txBody>
          <a:bodyPr wrap="square" lIns="143407" tIns="143407" rIns="143407" bIns="143407" rtlCol="0" anchor="t">
            <a:spAutoFit/>
          </a:bodyPr>
          <a:lstStyle/>
          <a:p>
            <a:pPr algn="ctr" defTabSz="914192">
              <a:spcAft>
                <a:spcPts val="588"/>
              </a:spcAft>
            </a:pPr>
            <a:r>
              <a:rPr lang="en-US" sz="1765">
                <a:solidFill>
                  <a:srgbClr val="353535"/>
                </a:solidFill>
                <a:latin typeface="Segoe UI Semilight"/>
                <a:cs typeface="Segoe UI Semibold" panose="020B0702040204020203" pitchFamily="34" charset="0"/>
              </a:rPr>
              <a:t>Increase infrastructure agility with containers on demand</a:t>
            </a:r>
          </a:p>
        </p:txBody>
      </p:sp>
      <p:sp>
        <p:nvSpPr>
          <p:cNvPr id="68" name="TextBox 67">
            <a:extLst>
              <a:ext uri="{FF2B5EF4-FFF2-40B4-BE49-F238E27FC236}">
                <a16:creationId xmlns:a16="http://schemas.microsoft.com/office/drawing/2014/main" id="{DC844172-066C-4246-8B5E-6CDE9153EF7B}"/>
              </a:ext>
            </a:extLst>
          </p:cNvPr>
          <p:cNvSpPr txBox="1"/>
          <p:nvPr/>
        </p:nvSpPr>
        <p:spPr>
          <a:xfrm>
            <a:off x="8193053" y="4486140"/>
            <a:ext cx="2723054" cy="843535"/>
          </a:xfrm>
          <a:prstGeom prst="rect">
            <a:avLst/>
          </a:prstGeom>
          <a:noFill/>
        </p:spPr>
        <p:txBody>
          <a:bodyPr wrap="square" lIns="143407" tIns="143407" rIns="143407" bIns="143407" rtlCol="0" anchor="t">
            <a:spAutoFit/>
          </a:bodyPr>
          <a:lstStyle/>
          <a:p>
            <a:pPr algn="ctr" defTabSz="914192">
              <a:spcAft>
                <a:spcPts val="588"/>
              </a:spcAft>
            </a:pPr>
            <a:r>
              <a:rPr lang="en-US" sz="1765">
                <a:solidFill>
                  <a:srgbClr val="353535"/>
                </a:solidFill>
                <a:latin typeface="Segoe UI Semilight"/>
                <a:cs typeface="Segoe UI Semibold" panose="020B0702040204020203" pitchFamily="34" charset="0"/>
              </a:rPr>
              <a:t>Secure applications with hypervisor isolation</a:t>
            </a:r>
          </a:p>
        </p:txBody>
      </p:sp>
      <p:sp>
        <p:nvSpPr>
          <p:cNvPr id="70" name="TextBox 69">
            <a:extLst>
              <a:ext uri="{FF2B5EF4-FFF2-40B4-BE49-F238E27FC236}">
                <a16:creationId xmlns:a16="http://schemas.microsoft.com/office/drawing/2014/main" id="{23E594A8-098F-4E07-BF36-426138844337}"/>
              </a:ext>
            </a:extLst>
          </p:cNvPr>
          <p:cNvSpPr txBox="1"/>
          <p:nvPr/>
        </p:nvSpPr>
        <p:spPr>
          <a:xfrm>
            <a:off x="1872238" y="4512059"/>
            <a:ext cx="2432019" cy="1120495"/>
          </a:xfrm>
          <a:prstGeom prst="rect">
            <a:avLst/>
          </a:prstGeom>
          <a:noFill/>
        </p:spPr>
        <p:txBody>
          <a:bodyPr wrap="square" lIns="143407" tIns="143407" rIns="143407" bIns="143407" rtlCol="0" anchor="t">
            <a:spAutoFit/>
          </a:bodyPr>
          <a:lstStyle/>
          <a:p>
            <a:pPr algn="ctr" defTabSz="914192">
              <a:spcAft>
                <a:spcPts val="588"/>
              </a:spcAft>
            </a:pPr>
            <a:r>
              <a:rPr lang="en-US" sz="1765">
                <a:solidFill>
                  <a:srgbClr val="353535"/>
                </a:solidFill>
                <a:latin typeface="Segoe UI Semilight"/>
                <a:cs typeface="Segoe UI Semibold" panose="020B0702040204020203" pitchFamily="34" charset="0"/>
              </a:rPr>
              <a:t>Run containers without managing servers</a:t>
            </a:r>
          </a:p>
        </p:txBody>
      </p:sp>
      <p:cxnSp>
        <p:nvCxnSpPr>
          <p:cNvPr id="71" name="Straight Connector 70">
            <a:extLst>
              <a:ext uri="{FF2B5EF4-FFF2-40B4-BE49-F238E27FC236}">
                <a16:creationId xmlns:a16="http://schemas.microsoft.com/office/drawing/2014/main" id="{E09620C5-7905-4044-8079-A7F8E3C9A256}"/>
              </a:ext>
            </a:extLst>
          </p:cNvPr>
          <p:cNvCxnSpPr>
            <a:cxnSpLocks/>
          </p:cNvCxnSpPr>
          <p:nvPr/>
        </p:nvCxnSpPr>
        <p:spPr>
          <a:xfrm>
            <a:off x="3353106" y="5662304"/>
            <a:ext cx="28114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8C1B3C-C17D-466B-AC7B-62B3ED3A12CA}"/>
              </a:ext>
            </a:extLst>
          </p:cNvPr>
          <p:cNvCxnSpPr>
            <a:cxnSpLocks/>
          </p:cNvCxnSpPr>
          <p:nvPr/>
        </p:nvCxnSpPr>
        <p:spPr>
          <a:xfrm>
            <a:off x="6550272" y="5662304"/>
            <a:ext cx="28114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86" name="Graphic 46">
            <a:extLst>
              <a:ext uri="{FF2B5EF4-FFF2-40B4-BE49-F238E27FC236}">
                <a16:creationId xmlns:a16="http://schemas.microsoft.com/office/drawing/2014/main" id="{63D99B85-1767-4EB2-B56B-2563A7D217ED}"/>
              </a:ext>
            </a:extLst>
          </p:cNvPr>
          <p:cNvPicPr/>
          <p:nvPr/>
        </p:nvPicPr>
        <p:blipFill>
          <a:blip r:embed="rId3">
            <a:extLst>
              <a:ext uri="{96DAC541-7B7A-43D3-8B79-37D633B846F1}">
                <asvg:svgBlip xmlns:asvg="http://schemas.microsoft.com/office/drawing/2016/SVG/main" r:embed="rId4"/>
              </a:ext>
            </a:extLst>
          </a:blip>
          <a:stretch>
            <a:fillRect/>
          </a:stretch>
        </p:blipFill>
        <p:spPr>
          <a:xfrm>
            <a:off x="2206692" y="2416173"/>
            <a:ext cx="1907122" cy="1739066"/>
          </a:xfrm>
          <a:prstGeom prst="rect">
            <a:avLst/>
          </a:prstGeom>
        </p:spPr>
      </p:pic>
      <p:pic>
        <p:nvPicPr>
          <p:cNvPr id="87" name="Graphic 75">
            <a:extLst>
              <a:ext uri="{FF2B5EF4-FFF2-40B4-BE49-F238E27FC236}">
                <a16:creationId xmlns:a16="http://schemas.microsoft.com/office/drawing/2014/main" id="{1D9322DA-4B09-4EFB-93F1-62D65BBDCB83}"/>
              </a:ext>
            </a:extLst>
          </p:cNvPr>
          <p:cNvPicPr/>
          <p:nvPr/>
        </p:nvPicPr>
        <p:blipFill>
          <a:blip r:embed="rId5">
            <a:extLst>
              <a:ext uri="{96DAC541-7B7A-43D3-8B79-37D633B846F1}">
                <asvg:svgBlip xmlns:asvg="http://schemas.microsoft.com/office/drawing/2016/SVG/main" r:embed="rId6"/>
              </a:ext>
            </a:extLst>
          </a:blip>
          <a:stretch>
            <a:fillRect/>
          </a:stretch>
        </p:blipFill>
        <p:spPr>
          <a:xfrm>
            <a:off x="5308625" y="2340205"/>
            <a:ext cx="2097585" cy="2073932"/>
          </a:xfrm>
          <a:prstGeom prst="rect">
            <a:avLst/>
          </a:prstGeom>
        </p:spPr>
      </p:pic>
      <p:pic>
        <p:nvPicPr>
          <p:cNvPr id="88" name="Graphic 82">
            <a:extLst>
              <a:ext uri="{FF2B5EF4-FFF2-40B4-BE49-F238E27FC236}">
                <a16:creationId xmlns:a16="http://schemas.microsoft.com/office/drawing/2014/main" id="{9E963723-F5A8-4307-9349-B3CBAACAB0B2}"/>
              </a:ext>
            </a:extLst>
          </p:cNvPr>
          <p:cNvPicPr/>
          <p:nvPr/>
        </p:nvPicPr>
        <p:blipFill>
          <a:blip r:embed="rId7">
            <a:extLst>
              <a:ext uri="{96DAC541-7B7A-43D3-8B79-37D633B846F1}">
                <asvg:svgBlip xmlns:asvg="http://schemas.microsoft.com/office/drawing/2016/SVG/main" r:embed="rId8"/>
              </a:ext>
            </a:extLst>
          </a:blip>
          <a:stretch>
            <a:fillRect/>
          </a:stretch>
        </p:blipFill>
        <p:spPr>
          <a:xfrm>
            <a:off x="8733287" y="2658298"/>
            <a:ext cx="1642590" cy="1254817"/>
          </a:xfrm>
          <a:prstGeom prst="rect">
            <a:avLst/>
          </a:prstGeom>
        </p:spPr>
      </p:pic>
    </p:spTree>
    <p:extLst>
      <p:ext uri="{BB962C8B-B14F-4D97-AF65-F5344CB8AC3E}">
        <p14:creationId xmlns:p14="http://schemas.microsoft.com/office/powerpoint/2010/main" val="159533320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32B4606-BBE9-40C1-AE1E-78DFD9472949}"/>
              </a:ext>
            </a:extLst>
          </p:cNvPr>
          <p:cNvGrpSpPr/>
          <p:nvPr/>
        </p:nvGrpSpPr>
        <p:grpSpPr>
          <a:xfrm>
            <a:off x="3203755" y="1988971"/>
            <a:ext cx="7252206" cy="935358"/>
            <a:chOff x="3641081" y="2013171"/>
            <a:chExt cx="7252206" cy="935358"/>
          </a:xfrm>
        </p:grpSpPr>
        <p:sp>
          <p:nvSpPr>
            <p:cNvPr id="3" name="Title 16">
              <a:extLst>
                <a:ext uri="{FF2B5EF4-FFF2-40B4-BE49-F238E27FC236}">
                  <a16:creationId xmlns:a16="http://schemas.microsoft.com/office/drawing/2014/main" id="{BE019C9D-30D6-47D3-8A50-1EB045A0C4C1}"/>
                </a:ext>
              </a:extLst>
            </p:cNvPr>
            <p:cNvSpPr txBox="1">
              <a:spLocks/>
            </p:cNvSpPr>
            <p:nvPr/>
          </p:nvSpPr>
          <p:spPr>
            <a:xfrm>
              <a:off x="3641081" y="2013171"/>
              <a:ext cx="685800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78D4"/>
                  </a:solidFill>
                  <a:effectLst/>
                  <a:uLnTx/>
                  <a:uFillTx/>
                  <a:latin typeface="Selawik Semibold" panose="020B0702040204020203" pitchFamily="34" charset="0"/>
                  <a:ea typeface="+mn-ea"/>
                  <a:cs typeface="Segoe UI Light" panose="020B0502040204020203" pitchFamily="34" charset="0"/>
                </a:rPr>
                <a:t>Demo</a:t>
              </a:r>
            </a:p>
          </p:txBody>
        </p:sp>
        <p:sp>
          <p:nvSpPr>
            <p:cNvPr id="5" name="Text Placeholder 2">
              <a:extLst>
                <a:ext uri="{FF2B5EF4-FFF2-40B4-BE49-F238E27FC236}">
                  <a16:creationId xmlns:a16="http://schemas.microsoft.com/office/drawing/2014/main" id="{0AF9B4E9-3717-4280-8E1F-A252B9CF5EED}"/>
                </a:ext>
              </a:extLst>
            </p:cNvPr>
            <p:cNvSpPr txBox="1">
              <a:spLocks/>
            </p:cNvSpPr>
            <p:nvPr/>
          </p:nvSpPr>
          <p:spPr>
            <a:xfrm>
              <a:off x="3641081" y="2579197"/>
              <a:ext cx="7252206" cy="369332"/>
            </a:xfrm>
            <a:prstGeom prst="rect">
              <a:avLst/>
            </a:prstGeom>
          </p:spPr>
          <p:txBody>
            <a:bodyPr wrap="square" l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pinning up a container using ACI</a:t>
              </a:r>
            </a:p>
          </p:txBody>
        </p:sp>
      </p:grpSp>
      <p:sp>
        <p:nvSpPr>
          <p:cNvPr id="6" name="Touchscreen" title="Icon of a closed hand with one finger touching a screen">
            <a:extLst>
              <a:ext uri="{FF2B5EF4-FFF2-40B4-BE49-F238E27FC236}">
                <a16:creationId xmlns:a16="http://schemas.microsoft.com/office/drawing/2014/main" id="{27BDB699-5954-4B6B-940F-65F8D332F0A0}"/>
              </a:ext>
            </a:extLst>
          </p:cNvPr>
          <p:cNvSpPr>
            <a:spLocks noChangeAspect="1" noEditPoints="1"/>
          </p:cNvSpPr>
          <p:nvPr/>
        </p:nvSpPr>
        <p:spPr bwMode="auto">
          <a:xfrm>
            <a:off x="503116" y="1994481"/>
            <a:ext cx="2332850" cy="2187277"/>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85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96848485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767736" y="528646"/>
            <a:ext cx="8647214" cy="738664"/>
          </a:xfrm>
        </p:spPr>
        <p:txBody>
          <a:bodyPr/>
          <a:lstStyle/>
          <a:p>
            <a:pPr algn="ctr"/>
            <a:r>
              <a:rPr lang="en-US" sz="480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2477218" y="1324829"/>
            <a:ext cx="6986510" cy="1013800"/>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a:ea typeface="+mn-ea"/>
                <a:cs typeface="Segoe UI Semibold" panose="020B0702040204020203" pitchFamily="34" charset="0"/>
              </a:rPr>
              <a:t>Simplify the deployment, management, and operations of Kubernetes</a:t>
            </a:r>
          </a:p>
        </p:txBody>
      </p:sp>
      <p:sp>
        <p:nvSpPr>
          <p:cNvPr id="30" name="Oval 29">
            <a:extLst>
              <a:ext uri="{FF2B5EF4-FFF2-40B4-BE49-F238E27FC236}">
                <a16:creationId xmlns:a16="http://schemas.microsoft.com/office/drawing/2014/main" id="{9EF271DD-5F7A-4575-9FDD-8CE2AB349700}"/>
              </a:ext>
            </a:extLst>
          </p:cNvPr>
          <p:cNvSpPr/>
          <p:nvPr/>
        </p:nvSpPr>
        <p:spPr bwMode="auto">
          <a:xfrm rot="16200000">
            <a:off x="2893724" y="574037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1" name="Oval 30">
            <a:extLst>
              <a:ext uri="{FF2B5EF4-FFF2-40B4-BE49-F238E27FC236}">
                <a16:creationId xmlns:a16="http://schemas.microsoft.com/office/drawing/2014/main" id="{6957FDED-83C0-473A-9949-CD3C7A633F5D}"/>
              </a:ext>
            </a:extLst>
          </p:cNvPr>
          <p:cNvSpPr/>
          <p:nvPr/>
        </p:nvSpPr>
        <p:spPr bwMode="auto">
          <a:xfrm rot="16200000">
            <a:off x="6091343" y="574037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2" name="Oval 31">
            <a:extLst>
              <a:ext uri="{FF2B5EF4-FFF2-40B4-BE49-F238E27FC236}">
                <a16:creationId xmlns:a16="http://schemas.microsoft.com/office/drawing/2014/main" id="{8DB45046-942C-493C-B2CC-4A02B93CF64A}"/>
              </a:ext>
            </a:extLst>
          </p:cNvPr>
          <p:cNvSpPr/>
          <p:nvPr/>
        </p:nvSpPr>
        <p:spPr bwMode="auto">
          <a:xfrm rot="16200000">
            <a:off x="9288960" y="574037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3" name="TextBox 42">
            <a:extLst>
              <a:ext uri="{FF2B5EF4-FFF2-40B4-BE49-F238E27FC236}">
                <a16:creationId xmlns:a16="http://schemas.microsoft.com/office/drawing/2014/main" id="{7C88CE72-2289-40BC-AC79-705E7C887A1A}"/>
              </a:ext>
            </a:extLst>
          </p:cNvPr>
          <p:cNvSpPr txBox="1"/>
          <p:nvPr/>
        </p:nvSpPr>
        <p:spPr>
          <a:xfrm>
            <a:off x="4947172" y="4455757"/>
            <a:ext cx="2432364" cy="1104318"/>
          </a:xfrm>
          <a:prstGeom prst="rect">
            <a:avLst/>
          </a:prstGeom>
          <a:noFill/>
        </p:spPr>
        <p:txBody>
          <a:bodyPr wrap="square" lIns="143428" tIns="143428" rIns="143428" bIns="143428"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Work how you </a:t>
            </a:r>
            <a:b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b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want with open-source APIs</a:t>
            </a:r>
          </a:p>
        </p:txBody>
      </p:sp>
      <p:sp>
        <p:nvSpPr>
          <p:cNvPr id="45" name="TextBox 44">
            <a:extLst>
              <a:ext uri="{FF2B5EF4-FFF2-40B4-BE49-F238E27FC236}">
                <a16:creationId xmlns:a16="http://schemas.microsoft.com/office/drawing/2014/main" id="{509950EF-7F68-4DA2-B6C6-50E6E85B698E}"/>
              </a:ext>
            </a:extLst>
          </p:cNvPr>
          <p:cNvSpPr txBox="1"/>
          <p:nvPr/>
        </p:nvSpPr>
        <p:spPr>
          <a:xfrm>
            <a:off x="8144790" y="4455757"/>
            <a:ext cx="2432364" cy="1104318"/>
          </a:xfrm>
          <a:prstGeom prst="rect">
            <a:avLst/>
          </a:prstGeom>
          <a:noFill/>
        </p:spPr>
        <p:txBody>
          <a:bodyPr wrap="square" lIns="143428" tIns="143428" rIns="143428" bIns="143428"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Scale and run applications with confidence</a:t>
            </a:r>
          </a:p>
        </p:txBody>
      </p:sp>
      <p:sp>
        <p:nvSpPr>
          <p:cNvPr id="47" name="TextBox 46">
            <a:extLst>
              <a:ext uri="{FF2B5EF4-FFF2-40B4-BE49-F238E27FC236}">
                <a16:creationId xmlns:a16="http://schemas.microsoft.com/office/drawing/2014/main" id="{4A8F31BE-38A6-4D11-80CF-DE2159FAAE52}"/>
              </a:ext>
            </a:extLst>
          </p:cNvPr>
          <p:cNvSpPr txBox="1"/>
          <p:nvPr/>
        </p:nvSpPr>
        <p:spPr>
          <a:xfrm>
            <a:off x="1749554" y="4455757"/>
            <a:ext cx="2432364" cy="1104318"/>
          </a:xfrm>
          <a:prstGeom prst="rect">
            <a:avLst/>
          </a:prstGeom>
          <a:noFill/>
        </p:spPr>
        <p:txBody>
          <a:bodyPr wrap="square" lIns="143428" tIns="143428" rIns="143428" bIns="143428"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Focus on your containers not the infrastructure</a:t>
            </a:r>
          </a:p>
        </p:txBody>
      </p:sp>
      <p:cxnSp>
        <p:nvCxnSpPr>
          <p:cNvPr id="49" name="Straight Connector 48">
            <a:extLst>
              <a:ext uri="{FF2B5EF4-FFF2-40B4-BE49-F238E27FC236}">
                <a16:creationId xmlns:a16="http://schemas.microsoft.com/office/drawing/2014/main" id="{A98CD907-4787-4F4D-87D1-D996C6C7E1FF}"/>
              </a:ext>
            </a:extLst>
          </p:cNvPr>
          <p:cNvCxnSpPr>
            <a:cxnSpLocks/>
          </p:cNvCxnSpPr>
          <p:nvPr/>
        </p:nvCxnSpPr>
        <p:spPr>
          <a:xfrm>
            <a:off x="3158617" y="581238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5BDB109-F2F6-4132-B8EC-19AD9E6CB94E}"/>
              </a:ext>
            </a:extLst>
          </p:cNvPr>
          <p:cNvCxnSpPr>
            <a:cxnSpLocks/>
          </p:cNvCxnSpPr>
          <p:nvPr/>
        </p:nvCxnSpPr>
        <p:spPr>
          <a:xfrm>
            <a:off x="6356236" y="581238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23" name="Graphic 122">
            <a:extLst>
              <a:ext uri="{FF2B5EF4-FFF2-40B4-BE49-F238E27FC236}">
                <a16:creationId xmlns:a16="http://schemas.microsoft.com/office/drawing/2014/main" id="{7A5744D2-B66B-4A92-85E3-0C32481F1D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39176" y="2550129"/>
            <a:ext cx="2653122" cy="1775880"/>
          </a:xfrm>
          <a:prstGeom prst="rect">
            <a:avLst/>
          </a:prstGeom>
        </p:spPr>
      </p:pic>
      <p:pic>
        <p:nvPicPr>
          <p:cNvPr id="124" name="Graphic 123">
            <a:extLst>
              <a:ext uri="{FF2B5EF4-FFF2-40B4-BE49-F238E27FC236}">
                <a16:creationId xmlns:a16="http://schemas.microsoft.com/office/drawing/2014/main" id="{06D6B15E-256B-4899-A3C6-3B37C407B88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08785" y="2590941"/>
            <a:ext cx="2509141" cy="1694258"/>
          </a:xfrm>
          <a:prstGeom prst="rect">
            <a:avLst/>
          </a:prstGeom>
        </p:spPr>
      </p:pic>
      <p:pic>
        <p:nvPicPr>
          <p:cNvPr id="125" name="Graphic 124">
            <a:extLst>
              <a:ext uri="{FF2B5EF4-FFF2-40B4-BE49-F238E27FC236}">
                <a16:creationId xmlns:a16="http://schemas.microsoft.com/office/drawing/2014/main" id="{93BA1978-9345-4790-88AB-83042E8FC20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36523" y="2642753"/>
            <a:ext cx="2648896" cy="1590635"/>
          </a:xfrm>
          <a:prstGeom prst="rect">
            <a:avLst/>
          </a:prstGeom>
        </p:spPr>
      </p:pic>
    </p:spTree>
    <p:extLst>
      <p:ext uri="{BB962C8B-B14F-4D97-AF65-F5344CB8AC3E}">
        <p14:creationId xmlns:p14="http://schemas.microsoft.com/office/powerpoint/2010/main" val="105158092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764792" y="530352"/>
            <a:ext cx="8647214" cy="738664"/>
          </a:xfrm>
        </p:spPr>
        <p:txBody>
          <a:bodyPr/>
          <a:lstStyle/>
          <a:p>
            <a:pPr algn="ctr"/>
            <a:r>
              <a:rPr lang="en-US" sz="480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2478024" y="1325880"/>
            <a:ext cx="6986510" cy="651728"/>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a:ea typeface="+mn-ea"/>
                <a:cs typeface="Segoe UI Semibold" panose="020B0702040204020203" pitchFamily="34" charset="0"/>
              </a:rPr>
              <a:t>A fully managed Kubernetes cluster</a:t>
            </a:r>
          </a:p>
        </p:txBody>
      </p:sp>
      <p:sp>
        <p:nvSpPr>
          <p:cNvPr id="6" name="Freeform 5">
            <a:extLst>
              <a:ext uri="{FF2B5EF4-FFF2-40B4-BE49-F238E27FC236}">
                <a16:creationId xmlns:a16="http://schemas.microsoft.com/office/drawing/2014/main" id="{EE8D09EA-3520-4591-89F2-30711A5976E8}"/>
              </a:ext>
            </a:extLst>
          </p:cNvPr>
          <p:cNvSpPr>
            <a:spLocks/>
          </p:cNvSpPr>
          <p:nvPr/>
        </p:nvSpPr>
        <p:spPr bwMode="auto">
          <a:xfrm>
            <a:off x="5054058" y="2176273"/>
            <a:ext cx="2083875" cy="1298875"/>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5" name="TextBox 34">
            <a:extLst>
              <a:ext uri="{FF2B5EF4-FFF2-40B4-BE49-F238E27FC236}">
                <a16:creationId xmlns:a16="http://schemas.microsoft.com/office/drawing/2014/main" id="{F2B2F5E6-DFCC-43BA-945D-7720B41755B0}"/>
              </a:ext>
            </a:extLst>
          </p:cNvPr>
          <p:cNvSpPr txBox="1"/>
          <p:nvPr/>
        </p:nvSpPr>
        <p:spPr>
          <a:xfrm>
            <a:off x="5358304" y="3151504"/>
            <a:ext cx="1475380" cy="181036"/>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Managed</a:t>
            </a:r>
          </a:p>
        </p:txBody>
      </p:sp>
      <p:pic>
        <p:nvPicPr>
          <p:cNvPr id="36" name="Picture 35">
            <a:extLst>
              <a:ext uri="{FF2B5EF4-FFF2-40B4-BE49-F238E27FC236}">
                <a16:creationId xmlns:a16="http://schemas.microsoft.com/office/drawing/2014/main" id="{23CD7D83-5F3B-4CAB-9219-7B100470197A}"/>
              </a:ext>
            </a:extLst>
          </p:cNvPr>
          <p:cNvPicPr>
            <a:picLocks noChangeAspect="1"/>
          </p:cNvPicPr>
          <p:nvPr/>
        </p:nvPicPr>
        <p:blipFill>
          <a:blip r:embed="rId3"/>
          <a:stretch>
            <a:fillRect/>
          </a:stretch>
        </p:blipFill>
        <p:spPr>
          <a:xfrm>
            <a:off x="5770322" y="3923378"/>
            <a:ext cx="651345" cy="651345"/>
          </a:xfrm>
          <a:prstGeom prst="rect">
            <a:avLst/>
          </a:prstGeom>
        </p:spPr>
      </p:pic>
      <p:sp>
        <p:nvSpPr>
          <p:cNvPr id="37" name="Rectangle: Rounded Corners 36">
            <a:extLst>
              <a:ext uri="{FF2B5EF4-FFF2-40B4-BE49-F238E27FC236}">
                <a16:creationId xmlns:a16="http://schemas.microsoft.com/office/drawing/2014/main" id="{E9ECEFD3-92D9-4D4B-840B-DD582D7EC239}"/>
              </a:ext>
            </a:extLst>
          </p:cNvPr>
          <p:cNvSpPr/>
          <p:nvPr/>
        </p:nvSpPr>
        <p:spPr bwMode="auto">
          <a:xfrm>
            <a:off x="4208222" y="5555590"/>
            <a:ext cx="3775556" cy="1067618"/>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Azure infrastructure services</a:t>
            </a:r>
          </a:p>
        </p:txBody>
      </p:sp>
      <p:sp>
        <p:nvSpPr>
          <p:cNvPr id="38" name="Rectangle: Rounded Corners 37">
            <a:extLst>
              <a:ext uri="{FF2B5EF4-FFF2-40B4-BE49-F238E27FC236}">
                <a16:creationId xmlns:a16="http://schemas.microsoft.com/office/drawing/2014/main" id="{66FFE53D-72A5-429E-940A-46CE5221FFF3}"/>
              </a:ext>
            </a:extLst>
          </p:cNvPr>
          <p:cNvSpPr/>
          <p:nvPr/>
        </p:nvSpPr>
        <p:spPr bwMode="auto">
          <a:xfrm>
            <a:off x="4208225" y="5022954"/>
            <a:ext cx="3775550" cy="415493"/>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Docker</a:t>
            </a:r>
          </a:p>
        </p:txBody>
      </p:sp>
      <p:cxnSp>
        <p:nvCxnSpPr>
          <p:cNvPr id="25" name="Straight Arrow Connector 24">
            <a:extLst>
              <a:ext uri="{FF2B5EF4-FFF2-40B4-BE49-F238E27FC236}">
                <a16:creationId xmlns:a16="http://schemas.microsoft.com/office/drawing/2014/main" id="{99CE8A47-A9E3-4276-A6E4-F117071802F2}"/>
              </a:ext>
            </a:extLst>
          </p:cNvPr>
          <p:cNvCxnSpPr>
            <a:cxnSpLocks/>
          </p:cNvCxnSpPr>
          <p:nvPr/>
        </p:nvCxnSpPr>
        <p:spPr>
          <a:xfrm>
            <a:off x="6095994" y="3475148"/>
            <a:ext cx="0" cy="379964"/>
          </a:xfrm>
          <a:prstGeom prst="straightConnector1">
            <a:avLst/>
          </a:prstGeom>
          <a:ln w="127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0FD074E-28B8-4479-B518-BDF1379C0E58}"/>
              </a:ext>
            </a:extLst>
          </p:cNvPr>
          <p:cNvSpPr txBox="1"/>
          <p:nvPr/>
        </p:nvSpPr>
        <p:spPr>
          <a:xfrm>
            <a:off x="5358304" y="4613665"/>
            <a:ext cx="1475380" cy="181036"/>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Kubernetes</a:t>
            </a:r>
          </a:p>
        </p:txBody>
      </p:sp>
      <p:grpSp>
        <p:nvGrpSpPr>
          <p:cNvPr id="9" name="Group 8">
            <a:extLst>
              <a:ext uri="{FF2B5EF4-FFF2-40B4-BE49-F238E27FC236}">
                <a16:creationId xmlns:a16="http://schemas.microsoft.com/office/drawing/2014/main" id="{FBEE81C8-02BF-4936-8DAB-1F1F52255D92}"/>
              </a:ext>
            </a:extLst>
          </p:cNvPr>
          <p:cNvGrpSpPr/>
          <p:nvPr/>
        </p:nvGrpSpPr>
        <p:grpSpPr>
          <a:xfrm>
            <a:off x="8116023" y="2176273"/>
            <a:ext cx="200417" cy="2618428"/>
            <a:chOff x="8730675" y="2095592"/>
            <a:chExt cx="204436" cy="2670933"/>
          </a:xfrm>
        </p:grpSpPr>
        <p:sp>
          <p:nvSpPr>
            <p:cNvPr id="52" name="Left Bracket 51">
              <a:extLst>
                <a:ext uri="{FF2B5EF4-FFF2-40B4-BE49-F238E27FC236}">
                  <a16:creationId xmlns:a16="http://schemas.microsoft.com/office/drawing/2014/main" id="{9FB1FB61-A867-47D2-9F8C-66B31C4AB4EF}"/>
                </a:ext>
              </a:extLst>
            </p:cNvPr>
            <p:cNvSpPr/>
            <p:nvPr/>
          </p:nvSpPr>
          <p:spPr>
            <a:xfrm flipH="1">
              <a:off x="8730675" y="2095592"/>
              <a:ext cx="85309" cy="2670933"/>
            </a:xfrm>
            <a:prstGeom prst="leftBracket">
              <a:avLst>
                <a:gd name="adj" fmla="val 8651"/>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cxnSp>
          <p:nvCxnSpPr>
            <p:cNvPr id="54" name="Straight Connector 53">
              <a:extLst>
                <a:ext uri="{FF2B5EF4-FFF2-40B4-BE49-F238E27FC236}">
                  <a16:creationId xmlns:a16="http://schemas.microsoft.com/office/drawing/2014/main" id="{6FDC3757-9EC1-493F-82A3-F051C2784B76}"/>
                </a:ext>
              </a:extLst>
            </p:cNvPr>
            <p:cNvCxnSpPr>
              <a:cxnSpLocks/>
            </p:cNvCxnSpPr>
            <p:nvPr/>
          </p:nvCxnSpPr>
          <p:spPr>
            <a:xfrm flipH="1">
              <a:off x="8815985" y="2840572"/>
              <a:ext cx="119126"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33CA713C-C236-4553-B5E5-473CBFA89D50}"/>
              </a:ext>
            </a:extLst>
          </p:cNvPr>
          <p:cNvSpPr txBox="1"/>
          <p:nvPr/>
        </p:nvSpPr>
        <p:spPr>
          <a:xfrm>
            <a:off x="8444140" y="2808370"/>
            <a:ext cx="2214373" cy="1206905"/>
          </a:xfrm>
          <a:prstGeom prst="rect">
            <a:avLst/>
          </a:prstGeom>
          <a:noFill/>
        </p:spPr>
        <p:txBody>
          <a:bodyPr wrap="square" lIns="0" tIns="0" rIns="0" bIns="0" rtlCol="0" anchor="ctr">
            <a:spAutoFit/>
          </a:bodyPr>
          <a:lstStyle/>
          <a:p>
            <a:pPr marL="168072" marR="0" lvl="0" indent="-168072" algn="l" defTabSz="914367"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Managed control pane</a:t>
            </a:r>
          </a:p>
          <a:p>
            <a:pPr marL="168072" marR="0" lvl="0" indent="-168072" algn="l" defTabSz="914367"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Automated upgrades, patches</a:t>
            </a:r>
          </a:p>
          <a:p>
            <a:pPr marL="168072" marR="0" lvl="0" indent="-168072" algn="l" defTabSz="914367"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Easy cluster scaling</a:t>
            </a:r>
          </a:p>
          <a:p>
            <a:pPr marL="168072" marR="0" lvl="0" indent="-168072" algn="l" defTabSz="914367"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Self-healing </a:t>
            </a:r>
          </a:p>
          <a:p>
            <a:pPr marL="168072" marR="0" lvl="0" indent="-168072" algn="l" defTabSz="914367"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Cost savings</a:t>
            </a:r>
          </a:p>
        </p:txBody>
      </p:sp>
      <p:grpSp>
        <p:nvGrpSpPr>
          <p:cNvPr id="88" name="Group 87">
            <a:extLst>
              <a:ext uri="{FF2B5EF4-FFF2-40B4-BE49-F238E27FC236}">
                <a16:creationId xmlns:a16="http://schemas.microsoft.com/office/drawing/2014/main" id="{2C688356-4D6A-4485-A391-F33296CFE46E}"/>
              </a:ext>
            </a:extLst>
          </p:cNvPr>
          <p:cNvGrpSpPr/>
          <p:nvPr/>
        </p:nvGrpSpPr>
        <p:grpSpPr>
          <a:xfrm>
            <a:off x="2212620" y="3094363"/>
            <a:ext cx="368300" cy="611498"/>
            <a:chOff x="3970338" y="2971801"/>
            <a:chExt cx="584200" cy="969962"/>
          </a:xfrm>
        </p:grpSpPr>
        <p:sp>
          <p:nvSpPr>
            <p:cNvPr id="68" name="Freeform 9">
              <a:extLst>
                <a:ext uri="{FF2B5EF4-FFF2-40B4-BE49-F238E27FC236}">
                  <a16:creationId xmlns:a16="http://schemas.microsoft.com/office/drawing/2014/main" id="{9950C6FB-B9EE-4E8D-A2D3-50AEFE33054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71" name="Oval 12">
              <a:extLst>
                <a:ext uri="{FF2B5EF4-FFF2-40B4-BE49-F238E27FC236}">
                  <a16:creationId xmlns:a16="http://schemas.microsoft.com/office/drawing/2014/main" id="{CB998D5C-EDAF-4EC6-BC67-73D16E1ED6BC}"/>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72" name="Line 13">
              <a:extLst>
                <a:ext uri="{FF2B5EF4-FFF2-40B4-BE49-F238E27FC236}">
                  <a16:creationId xmlns:a16="http://schemas.microsoft.com/office/drawing/2014/main" id="{2A226659-A74F-49CA-B3B7-FFE5543188FB}"/>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73" name="Freeform 14">
              <a:extLst>
                <a:ext uri="{FF2B5EF4-FFF2-40B4-BE49-F238E27FC236}">
                  <a16:creationId xmlns:a16="http://schemas.microsoft.com/office/drawing/2014/main" id="{E54AABDF-5553-4FA5-8583-AC06FC8F36F7}"/>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sp>
        <p:nvSpPr>
          <p:cNvPr id="90" name="TextBox 89">
            <a:extLst>
              <a:ext uri="{FF2B5EF4-FFF2-40B4-BE49-F238E27FC236}">
                <a16:creationId xmlns:a16="http://schemas.microsoft.com/office/drawing/2014/main" id="{C9984716-7478-4E73-AA62-FFDA7705B3C0}"/>
              </a:ext>
            </a:extLst>
          </p:cNvPr>
          <p:cNvSpPr txBox="1"/>
          <p:nvPr/>
        </p:nvSpPr>
        <p:spPr>
          <a:xfrm>
            <a:off x="1829759" y="3787365"/>
            <a:ext cx="1134019" cy="362072"/>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Application architect</a:t>
            </a:r>
          </a:p>
        </p:txBody>
      </p:sp>
      <p:sp>
        <p:nvSpPr>
          <p:cNvPr id="91" name="TextBox 90">
            <a:extLst>
              <a:ext uri="{FF2B5EF4-FFF2-40B4-BE49-F238E27FC236}">
                <a16:creationId xmlns:a16="http://schemas.microsoft.com/office/drawing/2014/main" id="{09AFFE57-606D-4834-A7A3-00D311FE5D3E}"/>
              </a:ext>
            </a:extLst>
          </p:cNvPr>
          <p:cNvSpPr txBox="1"/>
          <p:nvPr/>
        </p:nvSpPr>
        <p:spPr>
          <a:xfrm>
            <a:off x="1829759" y="5086010"/>
            <a:ext cx="1134019" cy="362072"/>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Infrastructure architect</a:t>
            </a:r>
          </a:p>
        </p:txBody>
      </p:sp>
      <p:grpSp>
        <p:nvGrpSpPr>
          <p:cNvPr id="17" name="Group 16">
            <a:extLst>
              <a:ext uri="{FF2B5EF4-FFF2-40B4-BE49-F238E27FC236}">
                <a16:creationId xmlns:a16="http://schemas.microsoft.com/office/drawing/2014/main" id="{AA20A1E0-13B2-4996-993B-6A6AEE41417D}"/>
              </a:ext>
            </a:extLst>
          </p:cNvPr>
          <p:cNvGrpSpPr/>
          <p:nvPr/>
        </p:nvGrpSpPr>
        <p:grpSpPr>
          <a:xfrm>
            <a:off x="2936466" y="3398608"/>
            <a:ext cx="2731145" cy="1298467"/>
            <a:chOff x="3575770" y="3342437"/>
            <a:chExt cx="3272289" cy="1324504"/>
          </a:xfrm>
        </p:grpSpPr>
        <p:cxnSp>
          <p:nvCxnSpPr>
            <p:cNvPr id="96" name="Connector: Elbow 95">
              <a:extLst>
                <a:ext uri="{FF2B5EF4-FFF2-40B4-BE49-F238E27FC236}">
                  <a16:creationId xmlns:a16="http://schemas.microsoft.com/office/drawing/2014/main" id="{7E213860-55DA-4D99-B1E6-BE64C0CCB5FA}"/>
                </a:ext>
              </a:extLst>
            </p:cNvPr>
            <p:cNvCxnSpPr>
              <a:cxnSpLocks/>
            </p:cNvCxnSpPr>
            <p:nvPr/>
          </p:nvCxnSpPr>
          <p:spPr>
            <a:xfrm flipV="1">
              <a:off x="3575770" y="4303884"/>
              <a:ext cx="3272289" cy="363057"/>
            </a:xfrm>
            <a:prstGeom prst="bentConnector3">
              <a:avLst>
                <a:gd name="adj1" fmla="val 16734"/>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00CC4242-0B84-4A30-8C26-C664DD2282BA}"/>
                </a:ext>
              </a:extLst>
            </p:cNvPr>
            <p:cNvCxnSpPr>
              <a:cxnSpLocks/>
            </p:cNvCxnSpPr>
            <p:nvPr/>
          </p:nvCxnSpPr>
          <p:spPr>
            <a:xfrm>
              <a:off x="3575770" y="3342437"/>
              <a:ext cx="3272289" cy="773545"/>
            </a:xfrm>
            <a:prstGeom prst="bentConnector3">
              <a:avLst>
                <a:gd name="adj1" fmla="val 1651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id="{6C03557E-FD89-46A4-9EBF-FAA5B4A4FDFF}"/>
              </a:ext>
            </a:extLst>
          </p:cNvPr>
          <p:cNvSpPr txBox="1"/>
          <p:nvPr/>
        </p:nvSpPr>
        <p:spPr>
          <a:xfrm>
            <a:off x="3932598" y="3898891"/>
            <a:ext cx="1134019" cy="181036"/>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Applications</a:t>
            </a:r>
          </a:p>
        </p:txBody>
      </p:sp>
      <p:sp>
        <p:nvSpPr>
          <p:cNvPr id="103" name="TextBox 102">
            <a:extLst>
              <a:ext uri="{FF2B5EF4-FFF2-40B4-BE49-F238E27FC236}">
                <a16:creationId xmlns:a16="http://schemas.microsoft.com/office/drawing/2014/main" id="{6E2A0C35-DE6D-40B0-A348-8621008AFCEE}"/>
              </a:ext>
            </a:extLst>
          </p:cNvPr>
          <p:cNvSpPr txBox="1"/>
          <p:nvPr/>
        </p:nvSpPr>
        <p:spPr>
          <a:xfrm>
            <a:off x="3932598" y="4416427"/>
            <a:ext cx="1134019" cy="181036"/>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Operations</a:t>
            </a:r>
          </a:p>
        </p:txBody>
      </p:sp>
      <p:grpSp>
        <p:nvGrpSpPr>
          <p:cNvPr id="15" name="Group 14">
            <a:extLst>
              <a:ext uri="{FF2B5EF4-FFF2-40B4-BE49-F238E27FC236}">
                <a16:creationId xmlns:a16="http://schemas.microsoft.com/office/drawing/2014/main" id="{60DB6D6E-7681-4DBF-81DB-15C9DD7A367A}"/>
              </a:ext>
            </a:extLst>
          </p:cNvPr>
          <p:cNvGrpSpPr/>
          <p:nvPr/>
        </p:nvGrpSpPr>
        <p:grpSpPr>
          <a:xfrm>
            <a:off x="5060136" y="6001904"/>
            <a:ext cx="445809" cy="463550"/>
            <a:chOff x="4680680" y="-1131468"/>
            <a:chExt cx="933450" cy="970598"/>
          </a:xfrm>
        </p:grpSpPr>
        <p:sp>
          <p:nvSpPr>
            <p:cNvPr id="109" name="Freeform: Shape 108">
              <a:extLst>
                <a:ext uri="{FF2B5EF4-FFF2-40B4-BE49-F238E27FC236}">
                  <a16:creationId xmlns:a16="http://schemas.microsoft.com/office/drawing/2014/main" id="{AEF8EF05-5A29-47CF-9037-A3574796B918}"/>
                </a:ext>
              </a:extLst>
            </p:cNvPr>
            <p:cNvSpPr/>
            <p:nvPr/>
          </p:nvSpPr>
          <p:spPr>
            <a:xfrm>
              <a:off x="4680680" y="-1131468"/>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5CD8C3BC-6FEB-48EA-B034-29C364AA5771}"/>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E00F1BB3-A9E4-4A11-99D2-F3471D258A1D}"/>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36EAC2D0-3E55-476C-AF19-BDA21BEE1494}"/>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49152BC5-8DF3-429E-AD68-80A8D2368352}"/>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3762CADC-4D39-4F31-B1F3-4FEB411E4A1F}"/>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3380373A-5F47-4258-9A78-B4AE1BF0341D}"/>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D07B55D6-D266-4D30-9B5F-852705171000}"/>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2E21107A-1534-4C9F-AAC3-4970CC009FCA}"/>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D3A89831-6C27-439D-9FAF-48E57F103AD1}"/>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5177B6E6-4D38-4441-B159-9D45C08C2F82}"/>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00A0C8B0-943B-4B46-B95A-FD36F6E94E67}"/>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C7382A31-A7BC-486D-9D0F-33F8EFD5BA79}"/>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E0E3A203-D534-4409-B5D2-B5E9ADE72D59}"/>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69DFAD76-5285-4B20-9202-B9424E4BBAC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7B8EA10F-D82E-43E9-8FB7-84A42458D6D4}"/>
              </a:ext>
            </a:extLst>
          </p:cNvPr>
          <p:cNvGrpSpPr/>
          <p:nvPr/>
        </p:nvGrpSpPr>
        <p:grpSpPr>
          <a:xfrm>
            <a:off x="5831430" y="5996781"/>
            <a:ext cx="548972" cy="473796"/>
            <a:chOff x="6082734" y="-1131468"/>
            <a:chExt cx="1126808" cy="972503"/>
          </a:xfrm>
        </p:grpSpPr>
        <p:sp>
          <p:nvSpPr>
            <p:cNvPr id="127" name="Freeform: Shape 126">
              <a:extLst>
                <a:ext uri="{FF2B5EF4-FFF2-40B4-BE49-F238E27FC236}">
                  <a16:creationId xmlns:a16="http://schemas.microsoft.com/office/drawing/2014/main" id="{33C5C7C8-EA3D-4DBB-B479-79E688C27389}"/>
                </a:ext>
              </a:extLst>
            </p:cNvPr>
            <p:cNvSpPr/>
            <p:nvPr/>
          </p:nvSpPr>
          <p:spPr>
            <a:xfrm>
              <a:off x="6332289" y="-978115"/>
              <a:ext cx="714375" cy="666750"/>
            </a:xfrm>
            <a:custGeom>
              <a:avLst/>
              <a:gdLst/>
              <a:ahLst/>
              <a:cxnLst/>
              <a:rect l="0" t="0" r="0" b="0"/>
              <a:pathLst>
                <a:path w="714375" h="666750">
                  <a:moveTo>
                    <a:pt x="21431" y="21431"/>
                  </a:moveTo>
                  <a:lnTo>
                    <a:pt x="694849" y="64912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09D8C422-9DCC-4B37-9F51-C637423CB853}"/>
                </a:ext>
              </a:extLst>
            </p:cNvPr>
            <p:cNvSpPr/>
            <p:nvPr/>
          </p:nvSpPr>
          <p:spPr>
            <a:xfrm>
              <a:off x="7005707" y="-695223"/>
              <a:ext cx="142875" cy="381000"/>
            </a:xfrm>
            <a:custGeom>
              <a:avLst/>
              <a:gdLst/>
              <a:ahLst/>
              <a:cxnLst/>
              <a:rect l="0" t="0" r="0" b="0"/>
              <a:pathLst>
                <a:path w="142875" h="381000">
                  <a:moveTo>
                    <a:pt x="125254" y="21431"/>
                  </a:moveTo>
                  <a:lnTo>
                    <a:pt x="21431" y="36623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8A180D47-8461-46B4-A54A-A3A4C777F026}"/>
                </a:ext>
              </a:extLst>
            </p:cNvPr>
            <p:cNvSpPr/>
            <p:nvPr/>
          </p:nvSpPr>
          <p:spPr>
            <a:xfrm>
              <a:off x="6130359" y="-695223"/>
              <a:ext cx="1019175" cy="95250"/>
            </a:xfrm>
            <a:custGeom>
              <a:avLst/>
              <a:gdLst/>
              <a:ahLst/>
              <a:cxnLst/>
              <a:rect l="0" t="0" r="0" b="0"/>
              <a:pathLst>
                <a:path w="1019175" h="95250">
                  <a:moveTo>
                    <a:pt x="21431" y="74771"/>
                  </a:moveTo>
                  <a:lnTo>
                    <a:pt x="100060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0706B86-14DC-48FF-A789-21363A14B426}"/>
                </a:ext>
              </a:extLst>
            </p:cNvPr>
            <p:cNvSpPr/>
            <p:nvPr/>
          </p:nvSpPr>
          <p:spPr>
            <a:xfrm>
              <a:off x="6130359" y="-641883"/>
              <a:ext cx="400050" cy="428625"/>
            </a:xfrm>
            <a:custGeom>
              <a:avLst/>
              <a:gdLst/>
              <a:ahLst/>
              <a:cxnLst/>
              <a:rect l="0" t="0" r="0" b="0"/>
              <a:pathLst>
                <a:path w="400050" h="428625">
                  <a:moveTo>
                    <a:pt x="386239" y="41576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8DA18FAB-B7FF-4601-BB09-597C86468743}"/>
                </a:ext>
              </a:extLst>
            </p:cNvPr>
            <p:cNvSpPr/>
            <p:nvPr/>
          </p:nvSpPr>
          <p:spPr>
            <a:xfrm>
              <a:off x="6495167" y="-1069555"/>
              <a:ext cx="285750" cy="857250"/>
            </a:xfrm>
            <a:custGeom>
              <a:avLst/>
              <a:gdLst/>
              <a:ahLst/>
              <a:cxnLst/>
              <a:rect l="0" t="0" r="0" b="0"/>
              <a:pathLst>
                <a:path w="285750" h="857250">
                  <a:moveTo>
                    <a:pt x="270986" y="21431"/>
                  </a:moveTo>
                  <a:lnTo>
                    <a:pt x="21431" y="84343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27C9D13F-2E2B-4017-A0CD-A466793EFDED}"/>
                </a:ext>
              </a:extLst>
            </p:cNvPr>
            <p:cNvSpPr/>
            <p:nvPr/>
          </p:nvSpPr>
          <p:spPr>
            <a:xfrm>
              <a:off x="6495167" y="-695223"/>
              <a:ext cx="657225" cy="485775"/>
            </a:xfrm>
            <a:custGeom>
              <a:avLst/>
              <a:gdLst/>
              <a:ahLst/>
              <a:cxnLst/>
              <a:rect l="0" t="0" r="0" b="0"/>
              <a:pathLst>
                <a:path w="657225" h="485775">
                  <a:moveTo>
                    <a:pt x="635794" y="21431"/>
                  </a:moveTo>
                  <a:lnTo>
                    <a:pt x="21431" y="4691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AD376E2A-E485-43A2-94C5-4308613166C8}"/>
                </a:ext>
              </a:extLst>
            </p:cNvPr>
            <p:cNvSpPr/>
            <p:nvPr/>
          </p:nvSpPr>
          <p:spPr>
            <a:xfrm>
              <a:off x="6130359" y="-1069555"/>
              <a:ext cx="657225" cy="466725"/>
            </a:xfrm>
            <a:custGeom>
              <a:avLst/>
              <a:gdLst/>
              <a:ahLst/>
              <a:cxnLst/>
              <a:rect l="0" t="0" r="0" b="0"/>
              <a:pathLst>
                <a:path w="657225" h="466725">
                  <a:moveTo>
                    <a:pt x="21431" y="449104"/>
                  </a:moveTo>
                  <a:lnTo>
                    <a:pt x="63579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6AC39206-4EE6-412B-9224-51CF9BD9CB0B}"/>
                </a:ext>
              </a:extLst>
            </p:cNvPr>
            <p:cNvSpPr/>
            <p:nvPr/>
          </p:nvSpPr>
          <p:spPr>
            <a:xfrm>
              <a:off x="6332289" y="-1069555"/>
              <a:ext cx="447675" cy="133350"/>
            </a:xfrm>
            <a:custGeom>
              <a:avLst/>
              <a:gdLst/>
              <a:ahLst/>
              <a:cxnLst/>
              <a:rect l="0" t="0" r="0" b="0"/>
              <a:pathLst>
                <a:path w="447675" h="133350">
                  <a:moveTo>
                    <a:pt x="21431" y="112871"/>
                  </a:moveTo>
                  <a:lnTo>
                    <a:pt x="43386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F3ADFF5F-2CD4-4AEA-8D96-88BB4CD72DF3}"/>
                </a:ext>
              </a:extLst>
            </p:cNvPr>
            <p:cNvSpPr/>
            <p:nvPr/>
          </p:nvSpPr>
          <p:spPr>
            <a:xfrm>
              <a:off x="6270377" y="-1040028"/>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1EC10EA4-5278-4C95-945C-6F38B9897E53}"/>
                </a:ext>
              </a:extLst>
            </p:cNvPr>
            <p:cNvSpPr/>
            <p:nvPr/>
          </p:nvSpPr>
          <p:spPr>
            <a:xfrm>
              <a:off x="6682809" y="-113146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ED3E63A3-3D2E-479B-B478-D09D955CDD65}"/>
                </a:ext>
              </a:extLst>
            </p:cNvPr>
            <p:cNvSpPr/>
            <p:nvPr/>
          </p:nvSpPr>
          <p:spPr>
            <a:xfrm>
              <a:off x="6565652" y="-745705"/>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13599CB9-EFF5-4150-8716-79525ADF0FD1}"/>
                </a:ext>
              </a:extLst>
            </p:cNvPr>
            <p:cNvSpPr/>
            <p:nvPr/>
          </p:nvSpPr>
          <p:spPr>
            <a:xfrm>
              <a:off x="7047617" y="-757135"/>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DE1F0ADA-901E-48B8-BBBF-32DD6A7A0CB7}"/>
                </a:ext>
              </a:extLst>
            </p:cNvPr>
            <p:cNvSpPr/>
            <p:nvPr/>
          </p:nvSpPr>
          <p:spPr>
            <a:xfrm>
              <a:off x="6437064" y="-32089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50CC9A79-C968-4F4A-B503-EF022980529A}"/>
                </a:ext>
              </a:extLst>
            </p:cNvPr>
            <p:cNvSpPr/>
            <p:nvPr/>
          </p:nvSpPr>
          <p:spPr>
            <a:xfrm>
              <a:off x="6943794" y="-41233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4B5E9988-A34C-47D8-851D-D3333C0FDDF3}"/>
                </a:ext>
              </a:extLst>
            </p:cNvPr>
            <p:cNvSpPr/>
            <p:nvPr/>
          </p:nvSpPr>
          <p:spPr>
            <a:xfrm>
              <a:off x="6082734" y="-70474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 name="Group 4">
            <a:extLst>
              <a:ext uri="{FF2B5EF4-FFF2-40B4-BE49-F238E27FC236}">
                <a16:creationId xmlns:a16="http://schemas.microsoft.com/office/drawing/2014/main" id="{1AF872C0-AC57-4181-83D5-7C6B39782F00}"/>
              </a:ext>
            </a:extLst>
          </p:cNvPr>
          <p:cNvGrpSpPr>
            <a:grpSpLocks noChangeAspect="1"/>
          </p:cNvGrpSpPr>
          <p:nvPr/>
        </p:nvGrpSpPr>
        <p:grpSpPr bwMode="auto">
          <a:xfrm>
            <a:off x="6733392" y="6015820"/>
            <a:ext cx="354547" cy="435717"/>
            <a:chOff x="4758" y="-701"/>
            <a:chExt cx="463" cy="569"/>
          </a:xfrm>
        </p:grpSpPr>
        <p:sp>
          <p:nvSpPr>
            <p:cNvPr id="7" name="Freeform 5">
              <a:extLst>
                <a:ext uri="{FF2B5EF4-FFF2-40B4-BE49-F238E27FC236}">
                  <a16:creationId xmlns:a16="http://schemas.microsoft.com/office/drawing/2014/main" id="{A2740A6F-A0CC-4C65-8C4F-B3676D09F995}"/>
                </a:ext>
              </a:extLst>
            </p:cNvPr>
            <p:cNvSpPr>
              <a:spLocks/>
            </p:cNvSpPr>
            <p:nvPr/>
          </p:nvSpPr>
          <p:spPr bwMode="auto">
            <a:xfrm>
              <a:off x="4758" y="-343"/>
              <a:ext cx="463" cy="211"/>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0" name="Oval 6">
              <a:extLst>
                <a:ext uri="{FF2B5EF4-FFF2-40B4-BE49-F238E27FC236}">
                  <a16:creationId xmlns:a16="http://schemas.microsoft.com/office/drawing/2014/main" id="{64641281-D5E0-42FF-9CAC-1F6F815D4590}"/>
                </a:ext>
              </a:extLst>
            </p:cNvPr>
            <p:cNvSpPr>
              <a:spLocks noChangeArrowheads="1"/>
            </p:cNvSpPr>
            <p:nvPr/>
          </p:nvSpPr>
          <p:spPr bwMode="auto">
            <a:xfrm>
              <a:off x="4758" y="-701"/>
              <a:ext cx="463" cy="139"/>
            </a:xfrm>
            <a:prstGeom prst="ellipse">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 name="Freeform 7">
              <a:extLst>
                <a:ext uri="{FF2B5EF4-FFF2-40B4-BE49-F238E27FC236}">
                  <a16:creationId xmlns:a16="http://schemas.microsoft.com/office/drawing/2014/main" id="{F26328CC-1F0C-458F-ABE6-A05E223E653C}"/>
                </a:ext>
              </a:extLst>
            </p:cNvPr>
            <p:cNvSpPr>
              <a:spLocks/>
            </p:cNvSpPr>
            <p:nvPr/>
          </p:nvSpPr>
          <p:spPr bwMode="auto">
            <a:xfrm>
              <a:off x="4758" y="-627"/>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 name="Freeform 8">
              <a:extLst>
                <a:ext uri="{FF2B5EF4-FFF2-40B4-BE49-F238E27FC236}">
                  <a16:creationId xmlns:a16="http://schemas.microsoft.com/office/drawing/2014/main" id="{5A758F92-635B-49C2-8BF4-0A33F6117A4B}"/>
                </a:ext>
              </a:extLst>
            </p:cNvPr>
            <p:cNvSpPr>
              <a:spLocks/>
            </p:cNvSpPr>
            <p:nvPr/>
          </p:nvSpPr>
          <p:spPr bwMode="auto">
            <a:xfrm>
              <a:off x="4758" y="-484"/>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6" name="Group 185">
            <a:extLst>
              <a:ext uri="{FF2B5EF4-FFF2-40B4-BE49-F238E27FC236}">
                <a16:creationId xmlns:a16="http://schemas.microsoft.com/office/drawing/2014/main" id="{D986E400-9208-4F7D-833C-D09464F27A11}"/>
              </a:ext>
            </a:extLst>
          </p:cNvPr>
          <p:cNvGrpSpPr/>
          <p:nvPr/>
        </p:nvGrpSpPr>
        <p:grpSpPr>
          <a:xfrm>
            <a:off x="2238242" y="4410202"/>
            <a:ext cx="359528" cy="593075"/>
            <a:chOff x="2857501" y="-1033463"/>
            <a:chExt cx="588963" cy="971550"/>
          </a:xfrm>
        </p:grpSpPr>
        <p:sp>
          <p:nvSpPr>
            <p:cNvPr id="187" name="Line 5">
              <a:extLst>
                <a:ext uri="{FF2B5EF4-FFF2-40B4-BE49-F238E27FC236}">
                  <a16:creationId xmlns:a16="http://schemas.microsoft.com/office/drawing/2014/main" id="{A5E0BF6A-B2E0-410A-9400-C96985D82C20}"/>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8" name="Freeform 6">
              <a:extLst>
                <a:ext uri="{FF2B5EF4-FFF2-40B4-BE49-F238E27FC236}">
                  <a16:creationId xmlns:a16="http://schemas.microsoft.com/office/drawing/2014/main" id="{DA184F1D-787D-4830-8381-863A575608CA}"/>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9" name="Line 9">
              <a:extLst>
                <a:ext uri="{FF2B5EF4-FFF2-40B4-BE49-F238E27FC236}">
                  <a16:creationId xmlns:a16="http://schemas.microsoft.com/office/drawing/2014/main" id="{84856DDB-76CF-4B77-A68E-9CB14B012AE6}"/>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0" name="Line 10">
              <a:extLst>
                <a:ext uri="{FF2B5EF4-FFF2-40B4-BE49-F238E27FC236}">
                  <a16:creationId xmlns:a16="http://schemas.microsoft.com/office/drawing/2014/main" id="{5FF962E2-20D2-4A39-82AD-45781615D759}"/>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1" name="Freeform 11">
              <a:extLst>
                <a:ext uri="{FF2B5EF4-FFF2-40B4-BE49-F238E27FC236}">
                  <a16:creationId xmlns:a16="http://schemas.microsoft.com/office/drawing/2014/main" id="{F8535851-DB11-458D-9EEB-2F07B7CA511D}"/>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2" name="Freeform 12">
              <a:extLst>
                <a:ext uri="{FF2B5EF4-FFF2-40B4-BE49-F238E27FC236}">
                  <a16:creationId xmlns:a16="http://schemas.microsoft.com/office/drawing/2014/main" id="{A5C284B6-D96C-4F0F-9B2D-A38CF3929511}"/>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3" name="Freeform 13">
              <a:extLst>
                <a:ext uri="{FF2B5EF4-FFF2-40B4-BE49-F238E27FC236}">
                  <a16:creationId xmlns:a16="http://schemas.microsoft.com/office/drawing/2014/main" id="{38F72EEE-6C4B-4D6B-9DAA-237193CE8287}"/>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4" name="Freeform 14">
              <a:extLst>
                <a:ext uri="{FF2B5EF4-FFF2-40B4-BE49-F238E27FC236}">
                  <a16:creationId xmlns:a16="http://schemas.microsoft.com/office/drawing/2014/main" id="{E728279A-9FA7-4BE3-A0B8-7FCC00CC3BC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5" name="Line 15">
              <a:extLst>
                <a:ext uri="{FF2B5EF4-FFF2-40B4-BE49-F238E27FC236}">
                  <a16:creationId xmlns:a16="http://schemas.microsoft.com/office/drawing/2014/main" id="{55EC75D5-E3C8-44CF-A631-D9A5982DE2EC}"/>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pic>
        <p:nvPicPr>
          <p:cNvPr id="8" name="Picture 7">
            <a:extLst>
              <a:ext uri="{FF2B5EF4-FFF2-40B4-BE49-F238E27FC236}">
                <a16:creationId xmlns:a16="http://schemas.microsoft.com/office/drawing/2014/main" id="{0B7C6820-E5D7-D54E-BD68-6C2403B1A871}"/>
              </a:ext>
            </a:extLst>
          </p:cNvPr>
          <p:cNvPicPr>
            <a:picLocks noChangeAspect="1"/>
          </p:cNvPicPr>
          <p:nvPr/>
        </p:nvPicPr>
        <p:blipFill>
          <a:blip r:embed="rId4"/>
          <a:stretch>
            <a:fillRect/>
          </a:stretch>
        </p:blipFill>
        <p:spPr>
          <a:xfrm>
            <a:off x="5014977" y="2309554"/>
            <a:ext cx="2261232" cy="1191581"/>
          </a:xfrm>
          <a:prstGeom prst="rect">
            <a:avLst/>
          </a:prstGeom>
        </p:spPr>
      </p:pic>
    </p:spTree>
    <p:extLst>
      <p:ext uri="{BB962C8B-B14F-4D97-AF65-F5344CB8AC3E}">
        <p14:creationId xmlns:p14="http://schemas.microsoft.com/office/powerpoint/2010/main" val="186919054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764792" y="530352"/>
            <a:ext cx="8647214" cy="738664"/>
          </a:xfrm>
        </p:spPr>
        <p:txBody>
          <a:bodyPr/>
          <a:lstStyle/>
          <a:p>
            <a:pPr algn="ctr"/>
            <a:r>
              <a:rPr lang="en-US" sz="480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2478024" y="1325880"/>
            <a:ext cx="6986510" cy="651728"/>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a:ea typeface="+mn-ea"/>
                <a:cs typeface="Segoe UI Semibold" panose="020B0702040204020203" pitchFamily="34" charset="0"/>
              </a:rPr>
              <a:t>Get started easily </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373015" y="2170233"/>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568" b="1" i="0" u="none" strike="noStrike" kern="1200" cap="none" spc="0" normalizeH="0" baseline="0" noProof="0">
                <a:ln>
                  <a:noFill/>
                </a:ln>
                <a:solidFill>
                  <a:srgbClr val="0078D4"/>
                </a:solidFill>
                <a:effectLst/>
                <a:uLnTx/>
                <a:uFillTx/>
                <a:latin typeface="Consolas" charset="0"/>
                <a:ea typeface="+mn-ea"/>
                <a:cs typeface="+mn-cs"/>
              </a:rPr>
              <a:t>$ az </a:t>
            </a:r>
            <a:r>
              <a:rPr kumimoji="0" lang="en-US" sz="1568" b="1" i="0" u="none" strike="noStrike" kern="1200" cap="none" spc="0" normalizeH="0" baseline="0" noProof="0">
                <a:ln>
                  <a:noFill/>
                </a:ln>
                <a:solidFill>
                  <a:srgbClr val="0078D4"/>
                </a:solidFill>
                <a:effectLst/>
                <a:uLnTx/>
                <a:uFillTx/>
                <a:latin typeface="Consolas" charset="0"/>
                <a:ea typeface="Consolas" charset="0"/>
                <a:cs typeface="Consolas" charset="0"/>
              </a:rPr>
              <a:t>aks create</a:t>
            </a:r>
            <a:r>
              <a:rPr kumimoji="0" lang="en-US" sz="1568" b="0" i="0" u="none" strike="noStrike" kern="1200" cap="none" spc="0" normalizeH="0" baseline="0" noProof="0">
                <a:ln>
                  <a:noFill/>
                </a:ln>
                <a:solidFill>
                  <a:srgbClr val="0078D4"/>
                </a:solidFill>
                <a:effectLst/>
                <a:uLnTx/>
                <a:uFillTx/>
                <a:latin typeface="Consolas" charset="0"/>
                <a:ea typeface="Consolas" charset="0"/>
                <a:cs typeface="Consolas" charset="0"/>
              </a:rPr>
              <a:t> </a:t>
            </a: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g myResourceGroup -n myCluster --generate-ssh-keys</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 Running ..</a:t>
            </a: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endPar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mr-IN" sz="1568" b="1" i="0" u="none" strike="noStrike" kern="1200" cap="none" spc="0" normalizeH="0" baseline="0" noProof="0">
                <a:ln>
                  <a:noFill/>
                </a:ln>
                <a:solidFill>
                  <a:srgbClr val="0078D4"/>
                </a:solidFill>
                <a:effectLst/>
                <a:uLnTx/>
                <a:uFillTx/>
                <a:latin typeface="Consolas" charset="0"/>
                <a:ea typeface="+mn-ea"/>
                <a:cs typeface="+mn-cs"/>
              </a:rPr>
              <a:t>$ </a:t>
            </a:r>
            <a:r>
              <a:rPr kumimoji="0" lang="en-US" sz="1568" b="1" i="0" u="none" strike="noStrike" kern="1200" cap="none" spc="0" normalizeH="0" baseline="0" noProof="0">
                <a:ln>
                  <a:noFill/>
                </a:ln>
                <a:solidFill>
                  <a:srgbClr val="0078D4"/>
                </a:solidFill>
                <a:effectLst/>
                <a:uLnTx/>
                <a:uFillTx/>
                <a:latin typeface="Consolas" charset="0"/>
                <a:ea typeface="+mn-ea"/>
                <a:cs typeface="+mn-cs"/>
              </a:rPr>
              <a:t>az aks install-cli</a:t>
            </a: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Downloading client to /usr/local/bin/kubectl ..</a:t>
            </a: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endPar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endParaRP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568" b="1" i="0" u="none" strike="noStrike" kern="1200" cap="none" spc="0" normalizeH="0" baseline="0" noProof="0">
                <a:ln>
                  <a:noFill/>
                </a:ln>
                <a:solidFill>
                  <a:srgbClr val="0078D4"/>
                </a:solidFill>
                <a:effectLst/>
                <a:uLnTx/>
                <a:uFillTx/>
                <a:latin typeface="Consolas" charset="0"/>
                <a:ea typeface="+mn-ea"/>
                <a:cs typeface="+mn-cs"/>
              </a:rPr>
              <a:t>$ az aks get-credentials </a:t>
            </a: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g myResourceGroup -n myCluster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Merged "myCluster" as current context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568" b="1" i="0" u="none" strike="noStrike" kern="1200" cap="none" spc="0" normalizeH="0" baseline="0" noProof="0">
                <a:ln>
                  <a:noFill/>
                </a:ln>
                <a:solidFill>
                  <a:srgbClr val="0078D4"/>
                </a:solidFill>
                <a:effectLst/>
                <a:uLnTx/>
                <a:uFillTx/>
                <a:latin typeface="Consolas" charset="0"/>
                <a:ea typeface="+mn-ea"/>
                <a:cs typeface="+mn-cs"/>
              </a:rPr>
              <a:t>$ kubectl get nodes</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NAME                       STATUS    AGE       VERSION</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aks-mycluster-36851231-0   Ready     4m        v1.8.1</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aks-mycluster-36851231-1   Ready     4m        v1.8.1</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aks-mycluster-36851231-2   Ready     4m        v1.8.1</a:t>
            </a:r>
          </a:p>
        </p:txBody>
      </p:sp>
    </p:spTree>
    <p:extLst>
      <p:ext uri="{BB962C8B-B14F-4D97-AF65-F5344CB8AC3E}">
        <p14:creationId xmlns:p14="http://schemas.microsoft.com/office/powerpoint/2010/main" val="365040947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764792" y="530352"/>
            <a:ext cx="8647214" cy="738664"/>
          </a:xfrm>
        </p:spPr>
        <p:txBody>
          <a:bodyPr/>
          <a:lstStyle/>
          <a:p>
            <a:pPr algn="ctr"/>
            <a:r>
              <a:rPr lang="en-US" sz="480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2478024" y="1325880"/>
            <a:ext cx="6986510" cy="651728"/>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a:ea typeface="+mn-ea"/>
                <a:cs typeface="Segoe UI Semibold" panose="020B0702040204020203" pitchFamily="34" charset="0"/>
              </a:rPr>
              <a:t>Manage an AKS cluster</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377440" y="2167128"/>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mr-IN" sz="1568" b="1" i="0" u="none" strike="noStrike" kern="1200" cap="none" spc="0" normalizeH="0" baseline="0" noProof="0">
                <a:ln>
                  <a:noFill/>
                </a:ln>
                <a:solidFill>
                  <a:srgbClr val="0078D4"/>
                </a:solidFill>
                <a:effectLst/>
                <a:uLnTx/>
                <a:uFillTx/>
                <a:latin typeface="Consolas" charset="0"/>
                <a:ea typeface="+mn-ea"/>
                <a:cs typeface="+mn-cs"/>
              </a:rPr>
              <a:t>$ az aks list</a:t>
            </a:r>
            <a:r>
              <a:rPr kumimoji="0" lang="en-US" sz="1568" b="1" i="0" u="none" strike="noStrike" kern="1200" cap="none" spc="0" normalizeH="0" baseline="0" noProof="0">
                <a:ln>
                  <a:noFill/>
                </a:ln>
                <a:solidFill>
                  <a:srgbClr val="0078D4"/>
                </a:solidFill>
                <a:effectLst/>
                <a:uLnTx/>
                <a:uFillTx/>
                <a:latin typeface="Consolas" charset="0"/>
                <a:ea typeface="+mn-ea"/>
                <a:cs typeface="+mn-cs"/>
              </a:rPr>
              <a:t> </a:t>
            </a:r>
            <a:r>
              <a:rPr kumimoji="0" lang="mr-IN"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a:t>
            </a: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o table</a:t>
            </a: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mr-IN"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Name                Location    ResourceGroup     KubernetesRelease  ProvisioningState</a:t>
            </a:r>
            <a:endPar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mr-IN"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  ----------  --------------  -------------------  -------------------</a:t>
            </a:r>
            <a:endPar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myCluster    </a:t>
            </a:r>
            <a:r>
              <a:rPr kumimoji="0" lang="mr-IN"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       westus2     </a:t>
            </a:r>
            <a:r>
              <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myResourceGroup</a:t>
            </a:r>
            <a:r>
              <a:rPr kumimoji="0" lang="mr-IN"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               1.</a:t>
            </a:r>
            <a:r>
              <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7.7</a:t>
            </a:r>
            <a:r>
              <a:rPr kumimoji="0" lang="mr-IN"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  Succeeded          </a:t>
            </a:r>
            <a:endPar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endPar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568" b="1" i="0" u="none" strike="noStrike" kern="1200" cap="none" spc="0" normalizeH="0" baseline="0" noProof="0">
                <a:ln>
                  <a:noFill/>
                </a:ln>
                <a:solidFill>
                  <a:srgbClr val="0078D4"/>
                </a:solidFill>
                <a:effectLst/>
                <a:uLnTx/>
                <a:uFillTx/>
                <a:latin typeface="Consolas" charset="0"/>
                <a:ea typeface="+mn-ea"/>
                <a:cs typeface="+mn-cs"/>
              </a:rPr>
              <a:t>$ az aks upgrade </a:t>
            </a: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g myResourceGroup -n myCluster </a:t>
            </a:r>
            <a:r>
              <a:rPr kumimoji="0" lang="mr-IN"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a:t>
            </a: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kubernetes-version 1.8.1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mn-ea"/>
                <a:cs typeface="Consolas" panose="020B0609020204030204" pitchFamily="49" charset="0"/>
              </a:rPr>
              <a:t>\ Running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mn-ea"/>
              <a:cs typeface="Consolas" panose="020B0609020204030204" pitchFamily="49"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568" b="1" i="0" u="none" strike="noStrike" kern="1200" cap="none" spc="0" normalizeH="0" baseline="0" noProof="0">
                <a:ln>
                  <a:noFill/>
                </a:ln>
                <a:solidFill>
                  <a:srgbClr val="0078D4"/>
                </a:solidFill>
                <a:effectLst/>
                <a:uLnTx/>
                <a:uFillTx/>
                <a:latin typeface="Consolas" charset="0"/>
                <a:ea typeface="+mn-ea"/>
                <a:cs typeface="+mn-cs"/>
              </a:rPr>
              <a:t>$ kubectl get nodes</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NAME                       STATUS    AGE       VERSION</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aks-mycluster-36851231-0   Ready     12m       v1.8.1</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aks-mycluster-36851231-1   Ready     8m        v1.8.1</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aks-mycluster-36851231-2   Ready     3m        v1.8.1</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mn-ea"/>
              <a:cs typeface="Consolas" panose="020B0609020204030204" pitchFamily="49"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568" b="1" i="0" u="none" strike="noStrike" kern="1200" cap="none" spc="0" normalizeH="0" baseline="0" noProof="0">
                <a:ln>
                  <a:noFill/>
                </a:ln>
                <a:solidFill>
                  <a:srgbClr val="0078D4"/>
                </a:solidFill>
                <a:effectLst/>
                <a:uLnTx/>
                <a:uFillTx/>
                <a:latin typeface="Consolas" charset="0"/>
                <a:ea typeface="+mn-ea"/>
                <a:cs typeface="+mn-cs"/>
              </a:rPr>
              <a:t>$ az aks scale </a:t>
            </a: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g myResourceGroup -n myCluster --agent-count 10</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mn-ea"/>
                <a:cs typeface="Consolas" panose="020B0609020204030204" pitchFamily="49" charset="0"/>
              </a:rPr>
              <a:t>\ Running ..</a:t>
            </a:r>
          </a:p>
        </p:txBody>
      </p:sp>
    </p:spTree>
    <p:extLst>
      <p:ext uri="{BB962C8B-B14F-4D97-AF65-F5344CB8AC3E}">
        <p14:creationId xmlns:p14="http://schemas.microsoft.com/office/powerpoint/2010/main" val="194765706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32B4606-BBE9-40C1-AE1E-78DFD9472949}"/>
              </a:ext>
            </a:extLst>
          </p:cNvPr>
          <p:cNvGrpSpPr/>
          <p:nvPr/>
        </p:nvGrpSpPr>
        <p:grpSpPr>
          <a:xfrm>
            <a:off x="3203755" y="1988971"/>
            <a:ext cx="7252206" cy="935358"/>
            <a:chOff x="3641081" y="2013171"/>
            <a:chExt cx="7252206" cy="935358"/>
          </a:xfrm>
        </p:grpSpPr>
        <p:sp>
          <p:nvSpPr>
            <p:cNvPr id="3" name="Title 16">
              <a:extLst>
                <a:ext uri="{FF2B5EF4-FFF2-40B4-BE49-F238E27FC236}">
                  <a16:creationId xmlns:a16="http://schemas.microsoft.com/office/drawing/2014/main" id="{BE019C9D-30D6-47D3-8A50-1EB045A0C4C1}"/>
                </a:ext>
              </a:extLst>
            </p:cNvPr>
            <p:cNvSpPr txBox="1">
              <a:spLocks/>
            </p:cNvSpPr>
            <p:nvPr/>
          </p:nvSpPr>
          <p:spPr>
            <a:xfrm>
              <a:off x="3641081" y="2013171"/>
              <a:ext cx="685800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78D4"/>
                  </a:solidFill>
                  <a:effectLst/>
                  <a:uLnTx/>
                  <a:uFillTx/>
                  <a:latin typeface="Selawik Semibold" panose="020B0702040204020203" pitchFamily="34" charset="0"/>
                  <a:ea typeface="+mn-ea"/>
                  <a:cs typeface="Segoe UI Light" panose="020B0502040204020203" pitchFamily="34" charset="0"/>
                </a:rPr>
                <a:t>Demo</a:t>
              </a:r>
            </a:p>
          </p:txBody>
        </p:sp>
        <p:sp>
          <p:nvSpPr>
            <p:cNvPr id="5" name="Text Placeholder 2">
              <a:extLst>
                <a:ext uri="{FF2B5EF4-FFF2-40B4-BE49-F238E27FC236}">
                  <a16:creationId xmlns:a16="http://schemas.microsoft.com/office/drawing/2014/main" id="{0AF9B4E9-3717-4280-8E1F-A252B9CF5EED}"/>
                </a:ext>
              </a:extLst>
            </p:cNvPr>
            <p:cNvSpPr txBox="1">
              <a:spLocks/>
            </p:cNvSpPr>
            <p:nvPr/>
          </p:nvSpPr>
          <p:spPr>
            <a:xfrm>
              <a:off x="3641081" y="2579197"/>
              <a:ext cx="7252206" cy="369332"/>
            </a:xfrm>
            <a:prstGeom prst="rect">
              <a:avLst/>
            </a:prstGeom>
          </p:spPr>
          <p:txBody>
            <a:bodyPr wrap="square" l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lang="en-US" sz="2000">
                  <a:solidFill>
                    <a:srgbClr val="000000"/>
                  </a:solidFill>
                  <a:latin typeface="Segoe UI" panose="020B0502040204020203" pitchFamily="34" charset="0"/>
                  <a:cs typeface="Segoe UI" panose="020B0502040204020203" pitchFamily="34" charset="0"/>
                </a:rPr>
                <a:t>Deploy containers on AKS</a:t>
              </a: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grpSp>
      <p:sp>
        <p:nvSpPr>
          <p:cNvPr id="6" name="Touchscreen" title="Icon of a closed hand with one finger touching a screen">
            <a:extLst>
              <a:ext uri="{FF2B5EF4-FFF2-40B4-BE49-F238E27FC236}">
                <a16:creationId xmlns:a16="http://schemas.microsoft.com/office/drawing/2014/main" id="{27BDB699-5954-4B6B-940F-65F8D332F0A0}"/>
              </a:ext>
            </a:extLst>
          </p:cNvPr>
          <p:cNvSpPr>
            <a:spLocks noChangeAspect="1" noEditPoints="1"/>
          </p:cNvSpPr>
          <p:nvPr/>
        </p:nvSpPr>
        <p:spPr bwMode="auto">
          <a:xfrm>
            <a:off x="503116" y="1994481"/>
            <a:ext cx="2332850" cy="2187277"/>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85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399981265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A284CE4-6876-4CB5-9917-D96732D0DDF1}"/>
              </a:ext>
            </a:extLst>
          </p:cNvPr>
          <p:cNvSpPr txBox="1"/>
          <p:nvPr/>
        </p:nvSpPr>
        <p:spPr>
          <a:xfrm>
            <a:off x="215152" y="151738"/>
            <a:ext cx="8066504" cy="646331"/>
          </a:xfrm>
          <a:prstGeom prst="rect">
            <a:avLst/>
          </a:prstGeom>
          <a:noFill/>
        </p:spPr>
        <p:txBody>
          <a:bodyPr wrap="none" rtlCol="0">
            <a:spAutoFit/>
          </a:bodyPr>
          <a:lstStyle/>
          <a:p>
            <a:r>
              <a:rPr lang="en-US" sz="3600" b="1" spc="-50">
                <a:ln w="3175">
                  <a:noFill/>
                </a:ln>
                <a:latin typeface="+mj-lt"/>
                <a:cs typeface="Segoe UI Semibold" panose="020B0702040204020203" pitchFamily="34" charset="0"/>
              </a:rPr>
              <a:t>Powering Azure and Microsoft services</a:t>
            </a:r>
          </a:p>
        </p:txBody>
      </p:sp>
      <p:sp>
        <p:nvSpPr>
          <p:cNvPr id="6" name="Content Placeholder 6">
            <a:extLst>
              <a:ext uri="{FF2B5EF4-FFF2-40B4-BE49-F238E27FC236}">
                <a16:creationId xmlns:a16="http://schemas.microsoft.com/office/drawing/2014/main" id="{D144AB1B-9A11-4E80-B350-D45AED7073B8}"/>
              </a:ext>
            </a:extLst>
          </p:cNvPr>
          <p:cNvSpPr txBox="1">
            <a:spLocks/>
          </p:cNvSpPr>
          <p:nvPr/>
        </p:nvSpPr>
        <p:spPr>
          <a:xfrm>
            <a:off x="215152" y="757008"/>
            <a:ext cx="9763735" cy="312008"/>
          </a:xfrm>
          <a:prstGeom prst="rect">
            <a:avLst/>
          </a:prstGeom>
        </p:spPr>
        <p:txBody>
          <a:bodyPr vert="horz" wrap="square" lIns="91440" tIns="0" rIns="91440" bIns="0" rtlCol="0">
            <a:spAutoFit/>
          </a:bodyPr>
          <a:lstStyle>
            <a:lvl1pPr marL="0" indent="0" algn="l" defTabSz="914132" rtl="0" eaLnBrk="1" latinLnBrk="0" hangingPunct="1">
              <a:lnSpc>
                <a:spcPct val="110000"/>
              </a:lnSpc>
              <a:spcBef>
                <a:spcPts val="1200"/>
              </a:spcBef>
              <a:spcAft>
                <a:spcPts val="600"/>
              </a:spcAft>
              <a:buClr>
                <a:schemeClr val="bg1"/>
              </a:buClr>
              <a:buSzPct val="120000"/>
              <a:buFontTx/>
              <a:buNone/>
              <a:defRPr lang="en-US" sz="2400" b="1" i="0" kern="1200" spc="-60" baseline="0">
                <a:solidFill>
                  <a:schemeClr val="tx1"/>
                </a:solidFill>
                <a:effectLst/>
                <a:latin typeface="Segoe UI Semibold" charset="0"/>
                <a:ea typeface="Segoe UI Semibold" charset="0"/>
                <a:cs typeface="Segoe UI Semibold" charset="0"/>
              </a:defRPr>
            </a:lvl1pPr>
            <a:lvl2pPr marL="457200" indent="0" algn="ctr" defTabSz="914132" rtl="0" eaLnBrk="1" latinLnBrk="0" hangingPunct="1">
              <a:lnSpc>
                <a:spcPct val="110000"/>
              </a:lnSpc>
              <a:spcBef>
                <a:spcPts val="0"/>
              </a:spcBef>
              <a:spcAft>
                <a:spcPts val="600"/>
              </a:spcAft>
              <a:buClrTx/>
              <a:buSzPct val="110000"/>
              <a:buFont typeface="Arial" charset="0"/>
              <a:buNone/>
              <a:defRPr lang="en-US" sz="2000" b="0" i="0" kern="1200">
                <a:solidFill>
                  <a:schemeClr val="tx1"/>
                </a:solidFill>
                <a:effectLst/>
                <a:latin typeface="Segoe UI" charset="0"/>
                <a:ea typeface="Segoe UI" charset="0"/>
                <a:cs typeface="Segoe UI" charset="0"/>
              </a:defRPr>
            </a:lvl2pPr>
            <a:lvl3pPr marL="914400" indent="0" algn="ctr" defTabSz="914132" rtl="0" eaLnBrk="1" latinLnBrk="0" hangingPunct="1">
              <a:lnSpc>
                <a:spcPct val="110000"/>
              </a:lnSpc>
              <a:spcBef>
                <a:spcPts val="0"/>
              </a:spcBef>
              <a:spcAft>
                <a:spcPts val="600"/>
              </a:spcAft>
              <a:buClrTx/>
              <a:buSzPct val="120000"/>
              <a:buFont typeface="Arial" charset="0"/>
              <a:buNone/>
              <a:defRPr lang="en-US" sz="1800" b="0" i="0" kern="1200">
                <a:solidFill>
                  <a:schemeClr val="tx1"/>
                </a:solidFill>
                <a:effectLst/>
                <a:latin typeface="Segoe UI" charset="0"/>
                <a:ea typeface="Segoe UI" charset="0"/>
                <a:cs typeface="Segoe UI" charset="0"/>
              </a:defRPr>
            </a:lvl3pPr>
            <a:lvl4pPr marL="1371600" indent="0" algn="ctr" defTabSz="914132" rtl="0" eaLnBrk="1" latinLnBrk="0" hangingPunct="1">
              <a:lnSpc>
                <a:spcPct val="110000"/>
              </a:lnSpc>
              <a:spcBef>
                <a:spcPts val="0"/>
              </a:spcBef>
              <a:spcAft>
                <a:spcPts val="600"/>
              </a:spcAft>
              <a:buClrTx/>
              <a:buFont typeface="Arial" charset="0"/>
              <a:buNone/>
              <a:tabLst/>
              <a:defRPr lang="en-US" sz="1600" b="0" i="0" kern="1200">
                <a:solidFill>
                  <a:schemeClr val="tx1"/>
                </a:solidFill>
                <a:effectLst/>
                <a:latin typeface="Segoe UI" charset="0"/>
                <a:ea typeface="Segoe UI" charset="0"/>
                <a:cs typeface="Segoe UI" charset="0"/>
              </a:defRPr>
            </a:lvl4pPr>
            <a:lvl5pPr marL="1828800" indent="0" algn="ctr" defTabSz="914132" rtl="0" eaLnBrk="1" latinLnBrk="0" hangingPunct="1">
              <a:lnSpc>
                <a:spcPct val="110000"/>
              </a:lnSpc>
              <a:spcBef>
                <a:spcPts val="500"/>
              </a:spcBef>
              <a:buClr>
                <a:schemeClr val="tx1"/>
              </a:buClr>
              <a:buFont typeface="Arial"/>
              <a:buNone/>
              <a:defRPr lang="en-US" sz="1600" b="0" i="0" kern="1200">
                <a:solidFill>
                  <a:schemeClr val="tx1"/>
                </a:solidFill>
                <a:effectLst/>
                <a:latin typeface="Segoe UI" charset="0"/>
                <a:ea typeface="Segoe UI" charset="0"/>
                <a:cs typeface="Segoe UI" charset="0"/>
              </a:defRPr>
            </a:lvl5pPr>
            <a:lvl6pPr marL="2286000" indent="0" algn="ctr" defTabSz="914132" rtl="0" eaLnBrk="1" latinLnBrk="0" hangingPunct="1">
              <a:lnSpc>
                <a:spcPct val="11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132"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132"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132"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000">
                <a:solidFill>
                  <a:srgbClr val="505050"/>
                </a:solidFill>
                <a:latin typeface="+mj-lt"/>
                <a:ea typeface="+mn-ea"/>
                <a:cs typeface="+mn-cs"/>
              </a:rPr>
              <a:t>Service Fabric is designed for mission-critical services</a:t>
            </a:r>
          </a:p>
        </p:txBody>
      </p:sp>
      <p:grpSp>
        <p:nvGrpSpPr>
          <p:cNvPr id="43" name="Group 42">
            <a:extLst>
              <a:ext uri="{FF2B5EF4-FFF2-40B4-BE49-F238E27FC236}">
                <a16:creationId xmlns:a16="http://schemas.microsoft.com/office/drawing/2014/main" id="{FD9B5D8B-283D-44EE-AD15-EFB354292E07}"/>
              </a:ext>
            </a:extLst>
          </p:cNvPr>
          <p:cNvGrpSpPr/>
          <p:nvPr/>
        </p:nvGrpSpPr>
        <p:grpSpPr>
          <a:xfrm>
            <a:off x="118788" y="1268875"/>
            <a:ext cx="11945005" cy="4396449"/>
            <a:chOff x="123498" y="1535917"/>
            <a:chExt cx="11945005" cy="4396449"/>
          </a:xfrm>
        </p:grpSpPr>
        <p:grpSp>
          <p:nvGrpSpPr>
            <p:cNvPr id="132" name="Group 131">
              <a:extLst>
                <a:ext uri="{FF2B5EF4-FFF2-40B4-BE49-F238E27FC236}">
                  <a16:creationId xmlns:a16="http://schemas.microsoft.com/office/drawing/2014/main" id="{D28FE43F-C327-4B5E-8545-493AE26F479F}"/>
                </a:ext>
              </a:extLst>
            </p:cNvPr>
            <p:cNvGrpSpPr/>
            <p:nvPr/>
          </p:nvGrpSpPr>
          <p:grpSpPr>
            <a:xfrm>
              <a:off x="123498" y="1709187"/>
              <a:ext cx="6082479" cy="4223179"/>
              <a:chOff x="-88173" y="1377961"/>
              <a:chExt cx="6707382" cy="4657060"/>
            </a:xfrm>
          </p:grpSpPr>
          <p:sp>
            <p:nvSpPr>
              <p:cNvPr id="141" name="Oval 140">
                <a:extLst>
                  <a:ext uri="{FF2B5EF4-FFF2-40B4-BE49-F238E27FC236}">
                    <a16:creationId xmlns:a16="http://schemas.microsoft.com/office/drawing/2014/main" id="{811B07E2-9E2C-44A0-9916-B382C37C21F5}"/>
                  </a:ext>
                </a:extLst>
              </p:cNvPr>
              <p:cNvSpPr/>
              <p:nvPr/>
            </p:nvSpPr>
            <p:spPr bwMode="auto">
              <a:xfrm>
                <a:off x="1283407" y="2110067"/>
                <a:ext cx="3641002" cy="3641002"/>
              </a:xfrm>
              <a:prstGeom prst="ellipse">
                <a:avLst/>
              </a:prstGeom>
              <a:noFill/>
              <a:ln w="12700">
                <a:solidFill>
                  <a:srgbClr val="0078D7"/>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a:gradFill>
                      <a:gsLst>
                        <a:gs pos="0">
                          <a:srgbClr val="FFFFFF"/>
                        </a:gs>
                        <a:gs pos="100000">
                          <a:srgbClr val="FFFFFF"/>
                        </a:gs>
                      </a:gsLst>
                      <a:lin ang="5400000" scaled="0"/>
                    </a:gradFill>
                    <a:ea typeface="Segoe UI" pitchFamily="34" charset="0"/>
                    <a:cs typeface="Segoe UI" pitchFamily="34" charset="0"/>
                  </a:rPr>
                  <a:t> </a:t>
                </a:r>
              </a:p>
            </p:txBody>
          </p:sp>
          <p:sp>
            <p:nvSpPr>
              <p:cNvPr id="143" name="Rectangle 142">
                <a:extLst>
                  <a:ext uri="{FF2B5EF4-FFF2-40B4-BE49-F238E27FC236}">
                    <a16:creationId xmlns:a16="http://schemas.microsoft.com/office/drawing/2014/main" id="{E7901859-CCEB-44FE-A1C4-DECB72218AE6}"/>
                  </a:ext>
                </a:extLst>
              </p:cNvPr>
              <p:cNvSpPr/>
              <p:nvPr/>
            </p:nvSpPr>
            <p:spPr bwMode="auto">
              <a:xfrm>
                <a:off x="2889476" y="1954224"/>
                <a:ext cx="272511" cy="199239"/>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45" name="Group 144">
                <a:extLst>
                  <a:ext uri="{FF2B5EF4-FFF2-40B4-BE49-F238E27FC236}">
                    <a16:creationId xmlns:a16="http://schemas.microsoft.com/office/drawing/2014/main" id="{E244581C-810C-44B7-B9D5-EA3DE3666C7F}"/>
                  </a:ext>
                </a:extLst>
              </p:cNvPr>
              <p:cNvGrpSpPr/>
              <p:nvPr/>
            </p:nvGrpSpPr>
            <p:grpSpPr>
              <a:xfrm>
                <a:off x="3340320" y="5173965"/>
                <a:ext cx="861056" cy="861056"/>
                <a:chOff x="3340320" y="5173965"/>
                <a:chExt cx="861056" cy="861056"/>
              </a:xfrm>
            </p:grpSpPr>
            <p:sp>
              <p:nvSpPr>
                <p:cNvPr id="217" name="Oval 216">
                  <a:extLst>
                    <a:ext uri="{FF2B5EF4-FFF2-40B4-BE49-F238E27FC236}">
                      <a16:creationId xmlns:a16="http://schemas.microsoft.com/office/drawing/2014/main" id="{80C5C6AC-8455-452E-8A03-8E943E22A188}"/>
                    </a:ext>
                  </a:extLst>
                </p:cNvPr>
                <p:cNvSpPr/>
                <p:nvPr/>
              </p:nvSpPr>
              <p:spPr bwMode="auto">
                <a:xfrm>
                  <a:off x="3340320" y="517396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18" name="Group 217">
                  <a:extLst>
                    <a:ext uri="{FF2B5EF4-FFF2-40B4-BE49-F238E27FC236}">
                      <a16:creationId xmlns:a16="http://schemas.microsoft.com/office/drawing/2014/main" id="{A02159A9-DF4B-4681-9CF3-D89E8ACD733F}"/>
                    </a:ext>
                  </a:extLst>
                </p:cNvPr>
                <p:cNvGrpSpPr/>
                <p:nvPr/>
              </p:nvGrpSpPr>
              <p:grpSpPr>
                <a:xfrm>
                  <a:off x="3548253" y="5381899"/>
                  <a:ext cx="445190" cy="445189"/>
                  <a:chOff x="6650558" y="5072361"/>
                  <a:chExt cx="656362" cy="656362"/>
                </a:xfrm>
                <a:solidFill>
                  <a:srgbClr val="0078D7"/>
                </a:solidFill>
              </p:grpSpPr>
              <p:sp>
                <p:nvSpPr>
                  <p:cNvPr id="219" name="Freeform 88">
                    <a:extLst>
                      <a:ext uri="{FF2B5EF4-FFF2-40B4-BE49-F238E27FC236}">
                        <a16:creationId xmlns:a16="http://schemas.microsoft.com/office/drawing/2014/main" id="{CD2D94E7-AA52-46F3-8BE0-0113B9B4E86C}"/>
                      </a:ext>
                    </a:extLst>
                  </p:cNvPr>
                  <p:cNvSpPr>
                    <a:spLocks noEditPoints="1"/>
                  </p:cNvSpPr>
                  <p:nvPr/>
                </p:nvSpPr>
                <p:spPr bwMode="auto">
                  <a:xfrm>
                    <a:off x="6650558" y="5072361"/>
                    <a:ext cx="656362" cy="656362"/>
                  </a:xfrm>
                  <a:custGeom>
                    <a:avLst/>
                    <a:gdLst>
                      <a:gd name="T0" fmla="*/ 286 w 297"/>
                      <a:gd name="T1" fmla="*/ 172 h 297"/>
                      <a:gd name="T2" fmla="*/ 288 w 297"/>
                      <a:gd name="T3" fmla="*/ 148 h 297"/>
                      <a:gd name="T4" fmla="*/ 148 w 297"/>
                      <a:gd name="T5" fmla="*/ 9 h 297"/>
                      <a:gd name="T6" fmla="*/ 124 w 297"/>
                      <a:gd name="T7" fmla="*/ 11 h 297"/>
                      <a:gd name="T8" fmla="*/ 83 w 297"/>
                      <a:gd name="T9" fmla="*/ 0 h 297"/>
                      <a:gd name="T10" fmla="*/ 0 w 297"/>
                      <a:gd name="T11" fmla="*/ 83 h 297"/>
                      <a:gd name="T12" fmla="*/ 11 w 297"/>
                      <a:gd name="T13" fmla="*/ 124 h 297"/>
                      <a:gd name="T14" fmla="*/ 9 w 297"/>
                      <a:gd name="T15" fmla="*/ 148 h 297"/>
                      <a:gd name="T16" fmla="*/ 148 w 297"/>
                      <a:gd name="T17" fmla="*/ 288 h 297"/>
                      <a:gd name="T18" fmla="*/ 172 w 297"/>
                      <a:gd name="T19" fmla="*/ 286 h 297"/>
                      <a:gd name="T20" fmla="*/ 214 w 297"/>
                      <a:gd name="T21" fmla="*/ 297 h 297"/>
                      <a:gd name="T22" fmla="*/ 297 w 297"/>
                      <a:gd name="T23" fmla="*/ 214 h 297"/>
                      <a:gd name="T24" fmla="*/ 286 w 297"/>
                      <a:gd name="T25" fmla="*/ 172 h 297"/>
                      <a:gd name="T26" fmla="*/ 214 w 297"/>
                      <a:gd name="T27" fmla="*/ 275 h 297"/>
                      <a:gd name="T28" fmla="*/ 183 w 297"/>
                      <a:gd name="T29" fmla="*/ 268 h 297"/>
                      <a:gd name="T30" fmla="*/ 176 w 297"/>
                      <a:gd name="T31" fmla="*/ 264 h 297"/>
                      <a:gd name="T32" fmla="*/ 169 w 297"/>
                      <a:gd name="T33" fmla="*/ 265 h 297"/>
                      <a:gd name="T34" fmla="*/ 148 w 297"/>
                      <a:gd name="T35" fmla="*/ 266 h 297"/>
                      <a:gd name="T36" fmla="*/ 30 w 297"/>
                      <a:gd name="T37" fmla="*/ 148 h 297"/>
                      <a:gd name="T38" fmla="*/ 32 w 297"/>
                      <a:gd name="T39" fmla="*/ 128 h 297"/>
                      <a:gd name="T40" fmla="*/ 33 w 297"/>
                      <a:gd name="T41" fmla="*/ 120 h 297"/>
                      <a:gd name="T42" fmla="*/ 29 w 297"/>
                      <a:gd name="T43" fmla="*/ 114 h 297"/>
                      <a:gd name="T44" fmla="*/ 21 w 297"/>
                      <a:gd name="T45" fmla="*/ 83 h 297"/>
                      <a:gd name="T46" fmla="*/ 83 w 297"/>
                      <a:gd name="T47" fmla="*/ 21 h 297"/>
                      <a:gd name="T48" fmla="*/ 114 w 297"/>
                      <a:gd name="T49" fmla="*/ 29 h 297"/>
                      <a:gd name="T50" fmla="*/ 120 w 297"/>
                      <a:gd name="T51" fmla="*/ 33 h 297"/>
                      <a:gd name="T52" fmla="*/ 127 w 297"/>
                      <a:gd name="T53" fmla="*/ 32 h 297"/>
                      <a:gd name="T54" fmla="*/ 148 w 297"/>
                      <a:gd name="T55" fmla="*/ 30 h 297"/>
                      <a:gd name="T56" fmla="*/ 266 w 297"/>
                      <a:gd name="T57" fmla="*/ 148 h 297"/>
                      <a:gd name="T58" fmla="*/ 265 w 297"/>
                      <a:gd name="T59" fmla="*/ 169 h 297"/>
                      <a:gd name="T60" fmla="*/ 264 w 297"/>
                      <a:gd name="T61" fmla="*/ 176 h 297"/>
                      <a:gd name="T62" fmla="*/ 267 w 297"/>
                      <a:gd name="T63" fmla="*/ 183 h 297"/>
                      <a:gd name="T64" fmla="*/ 275 w 297"/>
                      <a:gd name="T65" fmla="*/ 214 h 297"/>
                      <a:gd name="T66" fmla="*/ 214 w 297"/>
                      <a:gd name="T67" fmla="*/ 275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7" h="297">
                        <a:moveTo>
                          <a:pt x="286" y="172"/>
                        </a:moveTo>
                        <a:cubicBezTo>
                          <a:pt x="287" y="165"/>
                          <a:pt x="288" y="157"/>
                          <a:pt x="288" y="148"/>
                        </a:cubicBezTo>
                        <a:cubicBezTo>
                          <a:pt x="288" y="71"/>
                          <a:pt x="225" y="9"/>
                          <a:pt x="148" y="9"/>
                        </a:cubicBezTo>
                        <a:cubicBezTo>
                          <a:pt x="140" y="9"/>
                          <a:pt x="132" y="9"/>
                          <a:pt x="124" y="11"/>
                        </a:cubicBezTo>
                        <a:cubicBezTo>
                          <a:pt x="112" y="4"/>
                          <a:pt x="98" y="0"/>
                          <a:pt x="83" y="0"/>
                        </a:cubicBezTo>
                        <a:cubicBezTo>
                          <a:pt x="37" y="0"/>
                          <a:pt x="0" y="37"/>
                          <a:pt x="0" y="83"/>
                        </a:cubicBezTo>
                        <a:cubicBezTo>
                          <a:pt x="0" y="98"/>
                          <a:pt x="3" y="112"/>
                          <a:pt x="11" y="124"/>
                        </a:cubicBezTo>
                        <a:cubicBezTo>
                          <a:pt x="9" y="132"/>
                          <a:pt x="9" y="140"/>
                          <a:pt x="9" y="148"/>
                        </a:cubicBezTo>
                        <a:cubicBezTo>
                          <a:pt x="9" y="225"/>
                          <a:pt x="71" y="288"/>
                          <a:pt x="148" y="288"/>
                        </a:cubicBezTo>
                        <a:cubicBezTo>
                          <a:pt x="156" y="288"/>
                          <a:pt x="165" y="287"/>
                          <a:pt x="172" y="286"/>
                        </a:cubicBezTo>
                        <a:cubicBezTo>
                          <a:pt x="184" y="293"/>
                          <a:pt x="199" y="297"/>
                          <a:pt x="214" y="297"/>
                        </a:cubicBezTo>
                        <a:cubicBezTo>
                          <a:pt x="260" y="297"/>
                          <a:pt x="297" y="260"/>
                          <a:pt x="297" y="214"/>
                        </a:cubicBezTo>
                        <a:cubicBezTo>
                          <a:pt x="297" y="199"/>
                          <a:pt x="293" y="184"/>
                          <a:pt x="286" y="172"/>
                        </a:cubicBezTo>
                        <a:close/>
                        <a:moveTo>
                          <a:pt x="214" y="275"/>
                        </a:moveTo>
                        <a:cubicBezTo>
                          <a:pt x="203" y="275"/>
                          <a:pt x="192" y="273"/>
                          <a:pt x="183" y="268"/>
                        </a:cubicBezTo>
                        <a:cubicBezTo>
                          <a:pt x="176" y="264"/>
                          <a:pt x="176" y="264"/>
                          <a:pt x="176" y="264"/>
                        </a:cubicBezTo>
                        <a:cubicBezTo>
                          <a:pt x="169" y="265"/>
                          <a:pt x="169" y="265"/>
                          <a:pt x="169" y="265"/>
                        </a:cubicBezTo>
                        <a:cubicBezTo>
                          <a:pt x="162" y="266"/>
                          <a:pt x="155" y="266"/>
                          <a:pt x="148" y="266"/>
                        </a:cubicBezTo>
                        <a:cubicBezTo>
                          <a:pt x="83" y="266"/>
                          <a:pt x="30" y="214"/>
                          <a:pt x="30" y="148"/>
                        </a:cubicBezTo>
                        <a:cubicBezTo>
                          <a:pt x="30" y="141"/>
                          <a:pt x="31" y="134"/>
                          <a:pt x="32" y="128"/>
                        </a:cubicBezTo>
                        <a:cubicBezTo>
                          <a:pt x="33" y="120"/>
                          <a:pt x="33" y="120"/>
                          <a:pt x="33" y="120"/>
                        </a:cubicBezTo>
                        <a:cubicBezTo>
                          <a:pt x="29" y="114"/>
                          <a:pt x="29" y="114"/>
                          <a:pt x="29" y="114"/>
                        </a:cubicBezTo>
                        <a:cubicBezTo>
                          <a:pt x="24" y="104"/>
                          <a:pt x="21" y="93"/>
                          <a:pt x="21" y="83"/>
                        </a:cubicBezTo>
                        <a:cubicBezTo>
                          <a:pt x="21" y="49"/>
                          <a:pt x="49" y="21"/>
                          <a:pt x="83" y="21"/>
                        </a:cubicBezTo>
                        <a:cubicBezTo>
                          <a:pt x="93" y="21"/>
                          <a:pt x="104" y="24"/>
                          <a:pt x="114" y="29"/>
                        </a:cubicBezTo>
                        <a:cubicBezTo>
                          <a:pt x="120" y="33"/>
                          <a:pt x="120" y="33"/>
                          <a:pt x="120" y="33"/>
                        </a:cubicBezTo>
                        <a:cubicBezTo>
                          <a:pt x="127" y="32"/>
                          <a:pt x="127" y="32"/>
                          <a:pt x="127" y="32"/>
                        </a:cubicBezTo>
                        <a:cubicBezTo>
                          <a:pt x="134" y="31"/>
                          <a:pt x="141" y="30"/>
                          <a:pt x="148" y="30"/>
                        </a:cubicBezTo>
                        <a:cubicBezTo>
                          <a:pt x="214" y="30"/>
                          <a:pt x="266" y="83"/>
                          <a:pt x="266" y="148"/>
                        </a:cubicBezTo>
                        <a:cubicBezTo>
                          <a:pt x="266" y="155"/>
                          <a:pt x="266" y="162"/>
                          <a:pt x="265" y="169"/>
                        </a:cubicBezTo>
                        <a:cubicBezTo>
                          <a:pt x="264" y="176"/>
                          <a:pt x="264" y="176"/>
                          <a:pt x="264" y="176"/>
                        </a:cubicBezTo>
                        <a:cubicBezTo>
                          <a:pt x="267" y="183"/>
                          <a:pt x="267" y="183"/>
                          <a:pt x="267" y="183"/>
                        </a:cubicBezTo>
                        <a:cubicBezTo>
                          <a:pt x="273" y="192"/>
                          <a:pt x="275" y="203"/>
                          <a:pt x="275" y="214"/>
                        </a:cubicBezTo>
                        <a:cubicBezTo>
                          <a:pt x="275" y="248"/>
                          <a:pt x="248" y="275"/>
                          <a:pt x="214" y="275"/>
                        </a:cubicBezTo>
                        <a:close/>
                      </a:path>
                    </a:pathLst>
                  </a:custGeom>
                  <a:grpFill/>
                  <a:ln w="19050">
                    <a:noFill/>
                  </a:ln>
                  <a:extLst/>
                </p:spPr>
                <p:txBody>
                  <a:bodyPr vert="horz" wrap="square" lIns="89642" tIns="44821" rIns="89642" bIns="44821" numCol="1" anchor="t" anchorCtr="0" compatLnSpc="1">
                    <a:prstTxWarp prst="textNoShape">
                      <a:avLst/>
                    </a:prstTxWarp>
                  </a:bodyPr>
                  <a:lstStyle/>
                  <a:p>
                    <a:endParaRPr lang="en-US" sz="1730"/>
                  </a:p>
                </p:txBody>
              </p:sp>
              <p:sp>
                <p:nvSpPr>
                  <p:cNvPr id="220" name="Freeform 89">
                    <a:extLst>
                      <a:ext uri="{FF2B5EF4-FFF2-40B4-BE49-F238E27FC236}">
                        <a16:creationId xmlns:a16="http://schemas.microsoft.com/office/drawing/2014/main" id="{A15B32A9-E762-4885-B008-08BBA4C63E1F}"/>
                      </a:ext>
                    </a:extLst>
                  </p:cNvPr>
                  <p:cNvSpPr>
                    <a:spLocks/>
                  </p:cNvSpPr>
                  <p:nvPr/>
                </p:nvSpPr>
                <p:spPr bwMode="auto">
                  <a:xfrm>
                    <a:off x="6826972" y="5209859"/>
                    <a:ext cx="303535" cy="378770"/>
                  </a:xfrm>
                  <a:custGeom>
                    <a:avLst/>
                    <a:gdLst>
                      <a:gd name="T0" fmla="*/ 93 w 137"/>
                      <a:gd name="T1" fmla="*/ 73 h 172"/>
                      <a:gd name="T2" fmla="*/ 62 w 137"/>
                      <a:gd name="T3" fmla="*/ 66 h 172"/>
                      <a:gd name="T4" fmla="*/ 37 w 137"/>
                      <a:gd name="T5" fmla="*/ 48 h 172"/>
                      <a:gd name="T6" fmla="*/ 63 w 137"/>
                      <a:gd name="T7" fmla="*/ 28 h 172"/>
                      <a:gd name="T8" fmla="*/ 113 w 137"/>
                      <a:gd name="T9" fmla="*/ 53 h 172"/>
                      <a:gd name="T10" fmla="*/ 130 w 137"/>
                      <a:gd name="T11" fmla="*/ 38 h 172"/>
                      <a:gd name="T12" fmla="*/ 66 w 137"/>
                      <a:gd name="T13" fmla="*/ 0 h 172"/>
                      <a:gd name="T14" fmla="*/ 1 w 137"/>
                      <a:gd name="T15" fmla="*/ 50 h 172"/>
                      <a:gd name="T16" fmla="*/ 41 w 137"/>
                      <a:gd name="T17" fmla="*/ 95 h 172"/>
                      <a:gd name="T18" fmla="*/ 83 w 137"/>
                      <a:gd name="T19" fmla="*/ 105 h 172"/>
                      <a:gd name="T20" fmla="*/ 100 w 137"/>
                      <a:gd name="T21" fmla="*/ 123 h 172"/>
                      <a:gd name="T22" fmla="*/ 69 w 137"/>
                      <a:gd name="T23" fmla="*/ 145 h 172"/>
                      <a:gd name="T24" fmla="*/ 16 w 137"/>
                      <a:gd name="T25" fmla="*/ 115 h 172"/>
                      <a:gd name="T26" fmla="*/ 0 w 137"/>
                      <a:gd name="T27" fmla="*/ 130 h 172"/>
                      <a:gd name="T28" fmla="*/ 69 w 137"/>
                      <a:gd name="T29" fmla="*/ 172 h 172"/>
                      <a:gd name="T30" fmla="*/ 137 w 137"/>
                      <a:gd name="T31" fmla="*/ 120 h 172"/>
                      <a:gd name="T32" fmla="*/ 93 w 137"/>
                      <a:gd name="T33" fmla="*/ 7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172">
                        <a:moveTo>
                          <a:pt x="93" y="73"/>
                        </a:moveTo>
                        <a:cubicBezTo>
                          <a:pt x="62" y="66"/>
                          <a:pt x="62" y="66"/>
                          <a:pt x="62" y="66"/>
                        </a:cubicBezTo>
                        <a:cubicBezTo>
                          <a:pt x="50" y="63"/>
                          <a:pt x="37" y="59"/>
                          <a:pt x="37" y="48"/>
                        </a:cubicBezTo>
                        <a:cubicBezTo>
                          <a:pt x="37" y="37"/>
                          <a:pt x="46" y="28"/>
                          <a:pt x="63" y="28"/>
                        </a:cubicBezTo>
                        <a:cubicBezTo>
                          <a:pt x="98" y="28"/>
                          <a:pt x="95" y="53"/>
                          <a:pt x="113" y="53"/>
                        </a:cubicBezTo>
                        <a:cubicBezTo>
                          <a:pt x="122" y="53"/>
                          <a:pt x="130" y="48"/>
                          <a:pt x="130" y="38"/>
                        </a:cubicBezTo>
                        <a:cubicBezTo>
                          <a:pt x="130" y="16"/>
                          <a:pt x="95" y="0"/>
                          <a:pt x="66" y="0"/>
                        </a:cubicBezTo>
                        <a:cubicBezTo>
                          <a:pt x="34" y="0"/>
                          <a:pt x="1" y="14"/>
                          <a:pt x="1" y="50"/>
                        </a:cubicBezTo>
                        <a:cubicBezTo>
                          <a:pt x="1" y="68"/>
                          <a:pt x="7" y="86"/>
                          <a:pt x="41" y="95"/>
                        </a:cubicBezTo>
                        <a:cubicBezTo>
                          <a:pt x="83" y="105"/>
                          <a:pt x="83" y="105"/>
                          <a:pt x="83" y="105"/>
                        </a:cubicBezTo>
                        <a:cubicBezTo>
                          <a:pt x="96" y="109"/>
                          <a:pt x="100" y="116"/>
                          <a:pt x="100" y="123"/>
                        </a:cubicBezTo>
                        <a:cubicBezTo>
                          <a:pt x="100" y="134"/>
                          <a:pt x="88" y="145"/>
                          <a:pt x="69" y="145"/>
                        </a:cubicBezTo>
                        <a:cubicBezTo>
                          <a:pt x="31" y="145"/>
                          <a:pt x="36" y="115"/>
                          <a:pt x="16" y="115"/>
                        </a:cubicBezTo>
                        <a:cubicBezTo>
                          <a:pt x="7" y="115"/>
                          <a:pt x="0" y="121"/>
                          <a:pt x="0" y="130"/>
                        </a:cubicBezTo>
                        <a:cubicBezTo>
                          <a:pt x="0" y="148"/>
                          <a:pt x="21" y="172"/>
                          <a:pt x="69" y="172"/>
                        </a:cubicBezTo>
                        <a:cubicBezTo>
                          <a:pt x="114" y="172"/>
                          <a:pt x="137" y="149"/>
                          <a:pt x="137" y="120"/>
                        </a:cubicBezTo>
                        <a:cubicBezTo>
                          <a:pt x="137" y="101"/>
                          <a:pt x="128" y="80"/>
                          <a:pt x="93" y="73"/>
                        </a:cubicBezTo>
                        <a:close/>
                      </a:path>
                    </a:pathLst>
                  </a:custGeom>
                  <a:grpFill/>
                  <a:ln w="19050">
                    <a:noFill/>
                  </a:ln>
                  <a:extLst/>
                </p:spPr>
                <p:txBody>
                  <a:bodyPr vert="horz" wrap="square" lIns="89642" tIns="44821" rIns="89642" bIns="44821" numCol="1" anchor="t" anchorCtr="0" compatLnSpc="1">
                    <a:prstTxWarp prst="textNoShape">
                      <a:avLst/>
                    </a:prstTxWarp>
                  </a:bodyPr>
                  <a:lstStyle/>
                  <a:p>
                    <a:endParaRPr lang="en-US" sz="1730"/>
                  </a:p>
                </p:txBody>
              </p:sp>
            </p:grpSp>
          </p:grpSp>
          <p:sp>
            <p:nvSpPr>
              <p:cNvPr id="148" name="Oval 147">
                <a:extLst>
                  <a:ext uri="{FF2B5EF4-FFF2-40B4-BE49-F238E27FC236}">
                    <a16:creationId xmlns:a16="http://schemas.microsoft.com/office/drawing/2014/main" id="{892C540F-B919-4464-9266-66E514EE9CD0}"/>
                  </a:ext>
                </a:extLst>
              </p:cNvPr>
              <p:cNvSpPr/>
              <p:nvPr/>
            </p:nvSpPr>
            <p:spPr bwMode="auto">
              <a:xfrm>
                <a:off x="1109387" y="4498639"/>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49" name="Group 148">
                <a:extLst>
                  <a:ext uri="{FF2B5EF4-FFF2-40B4-BE49-F238E27FC236}">
                    <a16:creationId xmlns:a16="http://schemas.microsoft.com/office/drawing/2014/main" id="{F0CB7A64-8E5B-4CBB-BEE0-E159795EDC33}"/>
                  </a:ext>
                </a:extLst>
              </p:cNvPr>
              <p:cNvGrpSpPr/>
              <p:nvPr/>
            </p:nvGrpSpPr>
            <p:grpSpPr>
              <a:xfrm>
                <a:off x="1362073" y="2224905"/>
                <a:ext cx="861056" cy="861056"/>
                <a:chOff x="1362073" y="2224905"/>
                <a:chExt cx="861056" cy="861056"/>
              </a:xfrm>
            </p:grpSpPr>
            <p:sp>
              <p:nvSpPr>
                <p:cNvPr id="215" name="Oval 214">
                  <a:extLst>
                    <a:ext uri="{FF2B5EF4-FFF2-40B4-BE49-F238E27FC236}">
                      <a16:creationId xmlns:a16="http://schemas.microsoft.com/office/drawing/2014/main" id="{B4F1B114-5E59-4834-A2EF-5E3B1A0A80D9}"/>
                    </a:ext>
                  </a:extLst>
                </p:cNvPr>
                <p:cNvSpPr/>
                <p:nvPr/>
              </p:nvSpPr>
              <p:spPr bwMode="auto">
                <a:xfrm>
                  <a:off x="1362073" y="222490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16" name="Graphic 215">
                  <a:extLst>
                    <a:ext uri="{FF2B5EF4-FFF2-40B4-BE49-F238E27FC236}">
                      <a16:creationId xmlns:a16="http://schemas.microsoft.com/office/drawing/2014/main" id="{8725584F-DD37-47FF-A7AD-5B0E9FF877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3452" y="2443837"/>
                  <a:ext cx="398298" cy="423192"/>
                </a:xfrm>
                <a:prstGeom prst="rect">
                  <a:avLst/>
                </a:prstGeom>
              </p:spPr>
            </p:pic>
          </p:grpSp>
          <p:sp>
            <p:nvSpPr>
              <p:cNvPr id="150" name="Text Placeholder 21">
                <a:extLst>
                  <a:ext uri="{FF2B5EF4-FFF2-40B4-BE49-F238E27FC236}">
                    <a16:creationId xmlns:a16="http://schemas.microsoft.com/office/drawing/2014/main" id="{E1DDE21A-FAFB-4FFB-80A8-BD49AFCF816C}"/>
                  </a:ext>
                </a:extLst>
              </p:cNvPr>
              <p:cNvSpPr txBox="1">
                <a:spLocks/>
              </p:cNvSpPr>
              <p:nvPr/>
            </p:nvSpPr>
            <p:spPr>
              <a:xfrm>
                <a:off x="124312" y="2516934"/>
                <a:ext cx="1188720"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Power BI</a:t>
                </a:r>
              </a:p>
            </p:txBody>
          </p:sp>
          <p:sp>
            <p:nvSpPr>
              <p:cNvPr id="151" name="Text Placeholder 21">
                <a:extLst>
                  <a:ext uri="{FF2B5EF4-FFF2-40B4-BE49-F238E27FC236}">
                    <a16:creationId xmlns:a16="http://schemas.microsoft.com/office/drawing/2014/main" id="{3B0A970D-9DE8-4753-948E-89D7AC66727E}"/>
                  </a:ext>
                </a:extLst>
              </p:cNvPr>
              <p:cNvSpPr txBox="1">
                <a:spLocks/>
              </p:cNvSpPr>
              <p:nvPr/>
            </p:nvSpPr>
            <p:spPr>
              <a:xfrm>
                <a:off x="-88173" y="3620119"/>
                <a:ext cx="914361" cy="305457"/>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Dynamics</a:t>
                </a:r>
              </a:p>
            </p:txBody>
          </p:sp>
          <p:sp>
            <p:nvSpPr>
              <p:cNvPr id="168" name="Text Placeholder 21">
                <a:extLst>
                  <a:ext uri="{FF2B5EF4-FFF2-40B4-BE49-F238E27FC236}">
                    <a16:creationId xmlns:a16="http://schemas.microsoft.com/office/drawing/2014/main" id="{5DB99219-A615-4B1D-805B-1BEBE960016C}"/>
                  </a:ext>
                </a:extLst>
              </p:cNvPr>
              <p:cNvSpPr txBox="1">
                <a:spLocks/>
              </p:cNvSpPr>
              <p:nvPr/>
            </p:nvSpPr>
            <p:spPr>
              <a:xfrm>
                <a:off x="0" y="4790668"/>
                <a:ext cx="1063750"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Intune</a:t>
                </a:r>
              </a:p>
            </p:txBody>
          </p:sp>
          <p:sp>
            <p:nvSpPr>
              <p:cNvPr id="170" name="Text Placeholder 21">
                <a:extLst>
                  <a:ext uri="{FF2B5EF4-FFF2-40B4-BE49-F238E27FC236}">
                    <a16:creationId xmlns:a16="http://schemas.microsoft.com/office/drawing/2014/main" id="{BFB7A74F-21E3-4595-B47B-2F78ECA874A7}"/>
                  </a:ext>
                </a:extLst>
              </p:cNvPr>
              <p:cNvSpPr txBox="1">
                <a:spLocks/>
              </p:cNvSpPr>
              <p:nvPr/>
            </p:nvSpPr>
            <p:spPr>
              <a:xfrm>
                <a:off x="817074" y="5529494"/>
                <a:ext cx="1188720"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Cortana</a:t>
                </a:r>
              </a:p>
            </p:txBody>
          </p:sp>
          <p:sp>
            <p:nvSpPr>
              <p:cNvPr id="171" name="Text Placeholder 21">
                <a:extLst>
                  <a:ext uri="{FF2B5EF4-FFF2-40B4-BE49-F238E27FC236}">
                    <a16:creationId xmlns:a16="http://schemas.microsoft.com/office/drawing/2014/main" id="{B1822E8A-A7FD-480A-AB2B-656E8FFBF6C3}"/>
                  </a:ext>
                </a:extLst>
              </p:cNvPr>
              <p:cNvSpPr txBox="1">
                <a:spLocks/>
              </p:cNvSpPr>
              <p:nvPr/>
            </p:nvSpPr>
            <p:spPr>
              <a:xfrm>
                <a:off x="4239589" y="5529494"/>
                <a:ext cx="1188720"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Skype</a:t>
                </a:r>
              </a:p>
            </p:txBody>
          </p:sp>
          <p:sp>
            <p:nvSpPr>
              <p:cNvPr id="172" name="Text Placeholder 21">
                <a:extLst>
                  <a:ext uri="{FF2B5EF4-FFF2-40B4-BE49-F238E27FC236}">
                    <a16:creationId xmlns:a16="http://schemas.microsoft.com/office/drawing/2014/main" id="{9EB1BEA4-91F6-4467-B666-FD36446F12B4}"/>
                  </a:ext>
                </a:extLst>
              </p:cNvPr>
              <p:cNvSpPr txBox="1">
                <a:spLocks/>
              </p:cNvSpPr>
              <p:nvPr/>
            </p:nvSpPr>
            <p:spPr>
              <a:xfrm>
                <a:off x="4879905" y="2516934"/>
                <a:ext cx="1188720"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Cosmos DB</a:t>
                </a:r>
              </a:p>
            </p:txBody>
          </p:sp>
          <p:sp>
            <p:nvSpPr>
              <p:cNvPr id="173" name="Text Placeholder 21">
                <a:extLst>
                  <a:ext uri="{FF2B5EF4-FFF2-40B4-BE49-F238E27FC236}">
                    <a16:creationId xmlns:a16="http://schemas.microsoft.com/office/drawing/2014/main" id="{58609EC5-8BE5-40CF-A872-D4B004A11F79}"/>
                  </a:ext>
                </a:extLst>
              </p:cNvPr>
              <p:cNvSpPr txBox="1">
                <a:spLocks/>
              </p:cNvSpPr>
              <p:nvPr/>
            </p:nvSpPr>
            <p:spPr>
              <a:xfrm>
                <a:off x="5430489" y="3620119"/>
                <a:ext cx="1188720"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IoT Hub</a:t>
                </a:r>
              </a:p>
            </p:txBody>
          </p:sp>
          <p:sp>
            <p:nvSpPr>
              <p:cNvPr id="174" name="Text Placeholder 21">
                <a:extLst>
                  <a:ext uri="{FF2B5EF4-FFF2-40B4-BE49-F238E27FC236}">
                    <a16:creationId xmlns:a16="http://schemas.microsoft.com/office/drawing/2014/main" id="{A599372A-DB36-42FF-A929-0DF9F1B4FE17}"/>
                  </a:ext>
                </a:extLst>
              </p:cNvPr>
              <p:cNvSpPr txBox="1">
                <a:spLocks/>
              </p:cNvSpPr>
              <p:nvPr/>
            </p:nvSpPr>
            <p:spPr>
              <a:xfrm>
                <a:off x="5196999" y="4824089"/>
                <a:ext cx="1223216"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Event Hub</a:t>
                </a:r>
              </a:p>
            </p:txBody>
          </p:sp>
          <p:sp>
            <p:nvSpPr>
              <p:cNvPr id="175" name="Text Placeholder 21">
                <a:extLst>
                  <a:ext uri="{FF2B5EF4-FFF2-40B4-BE49-F238E27FC236}">
                    <a16:creationId xmlns:a16="http://schemas.microsoft.com/office/drawing/2014/main" id="{26B807C6-3A79-461C-926F-C90D509B5CD2}"/>
                  </a:ext>
                </a:extLst>
              </p:cNvPr>
              <p:cNvSpPr txBox="1">
                <a:spLocks/>
              </p:cNvSpPr>
              <p:nvPr/>
            </p:nvSpPr>
            <p:spPr>
              <a:xfrm>
                <a:off x="2451120" y="1377961"/>
                <a:ext cx="1310847"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a:r>
                  <a:rPr lang="en-US"/>
                  <a:t>SQL Database</a:t>
                </a:r>
              </a:p>
            </p:txBody>
          </p:sp>
          <p:grpSp>
            <p:nvGrpSpPr>
              <p:cNvPr id="176" name="Group 175">
                <a:extLst>
                  <a:ext uri="{FF2B5EF4-FFF2-40B4-BE49-F238E27FC236}">
                    <a16:creationId xmlns:a16="http://schemas.microsoft.com/office/drawing/2014/main" id="{86A89EC0-67F0-4CE7-A7A4-F870DE777BEF}"/>
                  </a:ext>
                </a:extLst>
              </p:cNvPr>
              <p:cNvGrpSpPr/>
              <p:nvPr/>
            </p:nvGrpSpPr>
            <p:grpSpPr>
              <a:xfrm>
                <a:off x="2051237" y="5173965"/>
                <a:ext cx="861056" cy="861056"/>
                <a:chOff x="2051237" y="5173965"/>
                <a:chExt cx="861056" cy="861056"/>
              </a:xfrm>
            </p:grpSpPr>
            <p:sp>
              <p:nvSpPr>
                <p:cNvPr id="211" name="Oval 210">
                  <a:extLst>
                    <a:ext uri="{FF2B5EF4-FFF2-40B4-BE49-F238E27FC236}">
                      <a16:creationId xmlns:a16="http://schemas.microsoft.com/office/drawing/2014/main" id="{B210B83B-9F2D-4DBC-ACCB-F997FDC72D31}"/>
                    </a:ext>
                  </a:extLst>
                </p:cNvPr>
                <p:cNvSpPr/>
                <p:nvPr/>
              </p:nvSpPr>
              <p:spPr bwMode="auto">
                <a:xfrm>
                  <a:off x="2051237" y="517396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12" name="Group 211">
                  <a:extLst>
                    <a:ext uri="{FF2B5EF4-FFF2-40B4-BE49-F238E27FC236}">
                      <a16:creationId xmlns:a16="http://schemas.microsoft.com/office/drawing/2014/main" id="{2C57E150-9F28-482A-B9B4-FBA3F873C5ED}"/>
                    </a:ext>
                  </a:extLst>
                </p:cNvPr>
                <p:cNvGrpSpPr/>
                <p:nvPr/>
              </p:nvGrpSpPr>
              <p:grpSpPr>
                <a:xfrm>
                  <a:off x="2244851" y="5367581"/>
                  <a:ext cx="473828" cy="473825"/>
                  <a:chOff x="2230103" y="5352831"/>
                  <a:chExt cx="503326" cy="503323"/>
                </a:xfrm>
              </p:grpSpPr>
              <p:sp>
                <p:nvSpPr>
                  <p:cNvPr id="213" name="Oval 212">
                    <a:extLst>
                      <a:ext uri="{FF2B5EF4-FFF2-40B4-BE49-F238E27FC236}">
                        <a16:creationId xmlns:a16="http://schemas.microsoft.com/office/drawing/2014/main" id="{BD935A93-1E1F-4EE3-A521-02A93FCC0E28}"/>
                      </a:ext>
                    </a:extLst>
                  </p:cNvPr>
                  <p:cNvSpPr/>
                  <p:nvPr/>
                </p:nvSpPr>
                <p:spPr bwMode="auto">
                  <a:xfrm>
                    <a:off x="2230103" y="5352831"/>
                    <a:ext cx="503326" cy="503323"/>
                  </a:xfrm>
                  <a:prstGeom prst="ellipse">
                    <a:avLst/>
                  </a:prstGeom>
                  <a:noFill/>
                  <a:ln w="317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4" name="Oval 213">
                    <a:extLst>
                      <a:ext uri="{FF2B5EF4-FFF2-40B4-BE49-F238E27FC236}">
                        <a16:creationId xmlns:a16="http://schemas.microsoft.com/office/drawing/2014/main" id="{908C7BFE-E3C8-40A2-9DC4-587DA8F06852}"/>
                      </a:ext>
                    </a:extLst>
                  </p:cNvPr>
                  <p:cNvSpPr/>
                  <p:nvPr/>
                </p:nvSpPr>
                <p:spPr bwMode="auto">
                  <a:xfrm>
                    <a:off x="2297388" y="5420116"/>
                    <a:ext cx="368757" cy="368754"/>
                  </a:xfrm>
                  <a:prstGeom prst="ellipse">
                    <a:avLst/>
                  </a:prstGeom>
                  <a:noFill/>
                  <a:ln w="444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77" name="Group 176">
                <a:extLst>
                  <a:ext uri="{FF2B5EF4-FFF2-40B4-BE49-F238E27FC236}">
                    <a16:creationId xmlns:a16="http://schemas.microsoft.com/office/drawing/2014/main" id="{DB01A7AB-32AA-4228-A357-602515352142}"/>
                  </a:ext>
                </a:extLst>
              </p:cNvPr>
              <p:cNvGrpSpPr/>
              <p:nvPr/>
            </p:nvGrpSpPr>
            <p:grpSpPr>
              <a:xfrm>
                <a:off x="869366" y="3328090"/>
                <a:ext cx="861056" cy="861056"/>
                <a:chOff x="869366" y="3328090"/>
                <a:chExt cx="861056" cy="861056"/>
              </a:xfrm>
            </p:grpSpPr>
            <p:sp>
              <p:nvSpPr>
                <p:cNvPr id="209" name="Oval 208">
                  <a:extLst>
                    <a:ext uri="{FF2B5EF4-FFF2-40B4-BE49-F238E27FC236}">
                      <a16:creationId xmlns:a16="http://schemas.microsoft.com/office/drawing/2014/main" id="{7650B0F2-7DF5-4929-BA78-FC194199F6D0}"/>
                    </a:ext>
                  </a:extLst>
                </p:cNvPr>
                <p:cNvSpPr/>
                <p:nvPr/>
              </p:nvSpPr>
              <p:spPr bwMode="auto">
                <a:xfrm>
                  <a:off x="869366" y="332809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0" name="Freeform 144">
                  <a:extLst>
                    <a:ext uri="{FF2B5EF4-FFF2-40B4-BE49-F238E27FC236}">
                      <a16:creationId xmlns:a16="http://schemas.microsoft.com/office/drawing/2014/main" id="{7ECE55E4-3780-4957-A2A4-E446450576D4}"/>
                    </a:ext>
                  </a:extLst>
                </p:cNvPr>
                <p:cNvSpPr>
                  <a:spLocks noChangeAspect="1" noEditPoints="1"/>
                </p:cNvSpPr>
                <p:nvPr/>
              </p:nvSpPr>
              <p:spPr bwMode="black">
                <a:xfrm>
                  <a:off x="1080743" y="3552737"/>
                  <a:ext cx="438302" cy="411762"/>
                </a:xfrm>
                <a:custGeom>
                  <a:avLst/>
                  <a:gdLst>
                    <a:gd name="T0" fmla="*/ 1091 w 1412"/>
                    <a:gd name="T1" fmla="*/ 240 h 1327"/>
                    <a:gd name="T2" fmla="*/ 1091 w 1412"/>
                    <a:gd name="T3" fmla="*/ 1152 h 1327"/>
                    <a:gd name="T4" fmla="*/ 1048 w 1412"/>
                    <a:gd name="T5" fmla="*/ 1159 h 1327"/>
                    <a:gd name="T6" fmla="*/ 0 w 1412"/>
                    <a:gd name="T7" fmla="*/ 1321 h 1327"/>
                    <a:gd name="T8" fmla="*/ 695 w 1412"/>
                    <a:gd name="T9" fmla="*/ 1074 h 1327"/>
                    <a:gd name="T10" fmla="*/ 715 w 1412"/>
                    <a:gd name="T11" fmla="*/ 1072 h 1327"/>
                    <a:gd name="T12" fmla="*/ 726 w 1412"/>
                    <a:gd name="T13" fmla="*/ 1066 h 1327"/>
                    <a:gd name="T14" fmla="*/ 726 w 1412"/>
                    <a:gd name="T15" fmla="*/ 750 h 1327"/>
                    <a:gd name="T16" fmla="*/ 1061 w 1412"/>
                    <a:gd name="T17" fmla="*/ 230 h 1327"/>
                    <a:gd name="T18" fmla="*/ 1061 w 1412"/>
                    <a:gd name="T19" fmla="*/ 230 h 1327"/>
                    <a:gd name="T20" fmla="*/ 1091 w 1412"/>
                    <a:gd name="T21" fmla="*/ 240 h 1327"/>
                    <a:gd name="T22" fmla="*/ 1390 w 1412"/>
                    <a:gd name="T23" fmla="*/ 450 h 1327"/>
                    <a:gd name="T24" fmla="*/ 1390 w 1412"/>
                    <a:gd name="T25" fmla="*/ 450 h 1327"/>
                    <a:gd name="T26" fmla="*/ 1200 w 1412"/>
                    <a:gd name="T27" fmla="*/ 638 h 1327"/>
                    <a:gd name="T28" fmla="*/ 1117 w 1412"/>
                    <a:gd name="T29" fmla="*/ 714 h 1327"/>
                    <a:gd name="T30" fmla="*/ 1117 w 1412"/>
                    <a:gd name="T31" fmla="*/ 1182 h 1327"/>
                    <a:gd name="T32" fmla="*/ 1088 w 1412"/>
                    <a:gd name="T33" fmla="*/ 1190 h 1327"/>
                    <a:gd name="T34" fmla="*/ 755 w 1412"/>
                    <a:gd name="T35" fmla="*/ 1144 h 1327"/>
                    <a:gd name="T36" fmla="*/ 1 w 1412"/>
                    <a:gd name="T37" fmla="*/ 1321 h 1327"/>
                    <a:gd name="T38" fmla="*/ 11 w 1412"/>
                    <a:gd name="T39" fmla="*/ 1322 h 1327"/>
                    <a:gd name="T40" fmla="*/ 1384 w 1412"/>
                    <a:gd name="T41" fmla="*/ 1327 h 1327"/>
                    <a:gd name="T42" fmla="*/ 1384 w 1412"/>
                    <a:gd name="T43" fmla="*/ 1327 h 1327"/>
                    <a:gd name="T44" fmla="*/ 1412 w 1412"/>
                    <a:gd name="T45" fmla="*/ 1317 h 1327"/>
                    <a:gd name="T46" fmla="*/ 1412 w 1412"/>
                    <a:gd name="T47" fmla="*/ 462 h 1327"/>
                    <a:gd name="T48" fmla="*/ 1390 w 1412"/>
                    <a:gd name="T49" fmla="*/ 450 h 1327"/>
                    <a:gd name="T50" fmla="*/ 700 w 1412"/>
                    <a:gd name="T51" fmla="*/ 9 h 1327"/>
                    <a:gd name="T52" fmla="*/ 666 w 1412"/>
                    <a:gd name="T53" fmla="*/ 0 h 1327"/>
                    <a:gd name="T54" fmla="*/ 666 w 1412"/>
                    <a:gd name="T55" fmla="*/ 0 h 1327"/>
                    <a:gd name="T56" fmla="*/ 666 w 1412"/>
                    <a:gd name="T57" fmla="*/ 0 h 1327"/>
                    <a:gd name="T58" fmla="*/ 665 w 1412"/>
                    <a:gd name="T59" fmla="*/ 0 h 1327"/>
                    <a:gd name="T60" fmla="*/ 665 w 1412"/>
                    <a:gd name="T61" fmla="*/ 4 h 1327"/>
                    <a:gd name="T62" fmla="*/ 464 w 1412"/>
                    <a:gd name="T63" fmla="*/ 568 h 1327"/>
                    <a:gd name="T64" fmla="*/ 0 w 1412"/>
                    <a:gd name="T65" fmla="*/ 1215 h 1327"/>
                    <a:gd name="T66" fmla="*/ 0 w 1412"/>
                    <a:gd name="T67" fmla="*/ 1321 h 1327"/>
                    <a:gd name="T68" fmla="*/ 661 w 1412"/>
                    <a:gd name="T69" fmla="*/ 1053 h 1327"/>
                    <a:gd name="T70" fmla="*/ 676 w 1412"/>
                    <a:gd name="T71" fmla="*/ 1052 h 1327"/>
                    <a:gd name="T72" fmla="*/ 700 w 1412"/>
                    <a:gd name="T73" fmla="*/ 1044 h 1327"/>
                    <a:gd name="T74" fmla="*/ 700 w 1412"/>
                    <a:gd name="T75" fmla="*/ 9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2" h="1327">
                      <a:moveTo>
                        <a:pt x="1091" y="240"/>
                      </a:moveTo>
                      <a:cubicBezTo>
                        <a:pt x="1091" y="1152"/>
                        <a:pt x="1091" y="1152"/>
                        <a:pt x="1091" y="1152"/>
                      </a:cubicBezTo>
                      <a:cubicBezTo>
                        <a:pt x="1048" y="1159"/>
                        <a:pt x="1048" y="1159"/>
                        <a:pt x="1048" y="1159"/>
                      </a:cubicBezTo>
                      <a:cubicBezTo>
                        <a:pt x="1047" y="1159"/>
                        <a:pt x="491" y="1018"/>
                        <a:pt x="0" y="1321"/>
                      </a:cubicBezTo>
                      <a:cubicBezTo>
                        <a:pt x="0" y="1321"/>
                        <a:pt x="257" y="1103"/>
                        <a:pt x="695" y="1074"/>
                      </a:cubicBezTo>
                      <a:cubicBezTo>
                        <a:pt x="715" y="1072"/>
                        <a:pt x="715" y="1072"/>
                        <a:pt x="715" y="1072"/>
                      </a:cubicBezTo>
                      <a:cubicBezTo>
                        <a:pt x="726" y="1066"/>
                        <a:pt x="726" y="1066"/>
                        <a:pt x="726" y="1066"/>
                      </a:cubicBezTo>
                      <a:cubicBezTo>
                        <a:pt x="726" y="750"/>
                        <a:pt x="726" y="750"/>
                        <a:pt x="726" y="750"/>
                      </a:cubicBezTo>
                      <a:cubicBezTo>
                        <a:pt x="854" y="620"/>
                        <a:pt x="979" y="433"/>
                        <a:pt x="1061" y="230"/>
                      </a:cubicBezTo>
                      <a:cubicBezTo>
                        <a:pt x="1061" y="230"/>
                        <a:pt x="1061" y="230"/>
                        <a:pt x="1061" y="230"/>
                      </a:cubicBezTo>
                      <a:lnTo>
                        <a:pt x="1091" y="240"/>
                      </a:lnTo>
                      <a:close/>
                      <a:moveTo>
                        <a:pt x="1390" y="450"/>
                      </a:moveTo>
                      <a:cubicBezTo>
                        <a:pt x="1390" y="450"/>
                        <a:pt x="1390" y="450"/>
                        <a:pt x="1390" y="450"/>
                      </a:cubicBezTo>
                      <a:cubicBezTo>
                        <a:pt x="1390" y="450"/>
                        <a:pt x="1342" y="510"/>
                        <a:pt x="1200" y="638"/>
                      </a:cubicBezTo>
                      <a:cubicBezTo>
                        <a:pt x="1167" y="668"/>
                        <a:pt x="1149" y="686"/>
                        <a:pt x="1117" y="714"/>
                      </a:cubicBezTo>
                      <a:cubicBezTo>
                        <a:pt x="1117" y="1182"/>
                        <a:pt x="1117" y="1182"/>
                        <a:pt x="1117" y="1182"/>
                      </a:cubicBezTo>
                      <a:cubicBezTo>
                        <a:pt x="1088" y="1190"/>
                        <a:pt x="1088" y="1190"/>
                        <a:pt x="1088" y="1190"/>
                      </a:cubicBezTo>
                      <a:cubicBezTo>
                        <a:pt x="1088" y="1189"/>
                        <a:pt x="965" y="1150"/>
                        <a:pt x="755" y="1144"/>
                      </a:cubicBezTo>
                      <a:cubicBezTo>
                        <a:pt x="547" y="1137"/>
                        <a:pt x="237" y="1195"/>
                        <a:pt x="1" y="1321"/>
                      </a:cubicBezTo>
                      <a:cubicBezTo>
                        <a:pt x="11" y="1322"/>
                        <a:pt x="11" y="1322"/>
                        <a:pt x="11" y="1322"/>
                      </a:cubicBezTo>
                      <a:cubicBezTo>
                        <a:pt x="11" y="1322"/>
                        <a:pt x="646" y="1074"/>
                        <a:pt x="1384" y="1327"/>
                      </a:cubicBezTo>
                      <a:cubicBezTo>
                        <a:pt x="1384" y="1327"/>
                        <a:pt x="1384" y="1327"/>
                        <a:pt x="1384" y="1327"/>
                      </a:cubicBezTo>
                      <a:cubicBezTo>
                        <a:pt x="1412" y="1317"/>
                        <a:pt x="1412" y="1317"/>
                        <a:pt x="1412" y="1317"/>
                      </a:cubicBezTo>
                      <a:cubicBezTo>
                        <a:pt x="1412" y="462"/>
                        <a:pt x="1412" y="462"/>
                        <a:pt x="1412" y="462"/>
                      </a:cubicBezTo>
                      <a:lnTo>
                        <a:pt x="1390" y="450"/>
                      </a:lnTo>
                      <a:close/>
                      <a:moveTo>
                        <a:pt x="700" y="9"/>
                      </a:moveTo>
                      <a:cubicBezTo>
                        <a:pt x="666" y="0"/>
                        <a:pt x="666" y="0"/>
                        <a:pt x="666" y="0"/>
                      </a:cubicBezTo>
                      <a:cubicBezTo>
                        <a:pt x="666" y="0"/>
                        <a:pt x="666" y="0"/>
                        <a:pt x="666" y="0"/>
                      </a:cubicBezTo>
                      <a:cubicBezTo>
                        <a:pt x="666" y="0"/>
                        <a:pt x="666" y="0"/>
                        <a:pt x="666" y="0"/>
                      </a:cubicBezTo>
                      <a:cubicBezTo>
                        <a:pt x="665" y="0"/>
                        <a:pt x="665" y="0"/>
                        <a:pt x="665" y="0"/>
                      </a:cubicBezTo>
                      <a:cubicBezTo>
                        <a:pt x="665" y="4"/>
                        <a:pt x="665" y="4"/>
                        <a:pt x="665" y="4"/>
                      </a:cubicBezTo>
                      <a:cubicBezTo>
                        <a:pt x="661" y="33"/>
                        <a:pt x="625" y="255"/>
                        <a:pt x="464" y="568"/>
                      </a:cubicBezTo>
                      <a:cubicBezTo>
                        <a:pt x="368" y="753"/>
                        <a:pt x="223" y="984"/>
                        <a:pt x="0" y="1215"/>
                      </a:cubicBezTo>
                      <a:cubicBezTo>
                        <a:pt x="0" y="1321"/>
                        <a:pt x="0" y="1321"/>
                        <a:pt x="0" y="1321"/>
                      </a:cubicBezTo>
                      <a:cubicBezTo>
                        <a:pt x="0" y="1321"/>
                        <a:pt x="237" y="1097"/>
                        <a:pt x="661" y="1053"/>
                      </a:cubicBezTo>
                      <a:cubicBezTo>
                        <a:pt x="676" y="1052"/>
                        <a:pt x="676" y="1052"/>
                        <a:pt x="676" y="1052"/>
                      </a:cubicBezTo>
                      <a:cubicBezTo>
                        <a:pt x="700" y="1044"/>
                        <a:pt x="700" y="1044"/>
                        <a:pt x="700" y="1044"/>
                      </a:cubicBezTo>
                      <a:lnTo>
                        <a:pt x="700" y="9"/>
                      </a:lnTo>
                      <a:close/>
                    </a:path>
                  </a:pathLst>
                </a:custGeom>
                <a:solidFill>
                  <a:srgbClr val="0078D7"/>
                </a:solidFill>
                <a:ln>
                  <a:noFill/>
                </a:ln>
                <a:extLst/>
              </p:spPr>
              <p:txBody>
                <a:bodyPr vert="horz" wrap="square" lIns="68574" tIns="34287" rIns="68574" bIns="34287" numCol="1" anchor="t" anchorCtr="0" compatLnSpc="1">
                  <a:prstTxWarp prst="textNoShape">
                    <a:avLst/>
                  </a:prstTxWarp>
                </a:bodyPr>
                <a:lstStyle/>
                <a:p>
                  <a:endParaRPr lang="en-US" sz="1350"/>
                </a:p>
              </p:txBody>
            </p:sp>
          </p:grpSp>
          <p:grpSp>
            <p:nvGrpSpPr>
              <p:cNvPr id="178" name="Group 177">
                <a:extLst>
                  <a:ext uri="{FF2B5EF4-FFF2-40B4-BE49-F238E27FC236}">
                    <a16:creationId xmlns:a16="http://schemas.microsoft.com/office/drawing/2014/main" id="{634EE15A-F130-4751-B952-4CC6A4F95B45}"/>
                  </a:ext>
                </a:extLst>
              </p:cNvPr>
              <p:cNvGrpSpPr/>
              <p:nvPr/>
            </p:nvGrpSpPr>
            <p:grpSpPr>
              <a:xfrm>
                <a:off x="2675658" y="1700065"/>
                <a:ext cx="861056" cy="861056"/>
                <a:chOff x="2675658" y="1700065"/>
                <a:chExt cx="861056" cy="861056"/>
              </a:xfrm>
            </p:grpSpPr>
            <p:sp>
              <p:nvSpPr>
                <p:cNvPr id="204" name="Oval 203">
                  <a:extLst>
                    <a:ext uri="{FF2B5EF4-FFF2-40B4-BE49-F238E27FC236}">
                      <a16:creationId xmlns:a16="http://schemas.microsoft.com/office/drawing/2014/main" id="{05337CCF-0675-4E30-B0D8-72478DD65048}"/>
                    </a:ext>
                  </a:extLst>
                </p:cNvPr>
                <p:cNvSpPr/>
                <p:nvPr/>
              </p:nvSpPr>
              <p:spPr bwMode="auto">
                <a:xfrm>
                  <a:off x="2675658" y="170006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05" name="Group 204">
                  <a:extLst>
                    <a:ext uri="{FF2B5EF4-FFF2-40B4-BE49-F238E27FC236}">
                      <a16:creationId xmlns:a16="http://schemas.microsoft.com/office/drawing/2014/main" id="{1902A7BD-3038-4089-B43A-9C07B96DA974}"/>
                    </a:ext>
                  </a:extLst>
                </p:cNvPr>
                <p:cNvGrpSpPr/>
                <p:nvPr/>
              </p:nvGrpSpPr>
              <p:grpSpPr>
                <a:xfrm>
                  <a:off x="2883062" y="1894225"/>
                  <a:ext cx="446250" cy="472751"/>
                  <a:chOff x="5891689" y="3211354"/>
                  <a:chExt cx="401002" cy="424815"/>
                </a:xfrm>
                <a:solidFill>
                  <a:srgbClr val="0078D7"/>
                </a:solidFill>
              </p:grpSpPr>
              <p:sp>
                <p:nvSpPr>
                  <p:cNvPr id="206" name="Freeform: Shape 205">
                    <a:extLst>
                      <a:ext uri="{FF2B5EF4-FFF2-40B4-BE49-F238E27FC236}">
                        <a16:creationId xmlns:a16="http://schemas.microsoft.com/office/drawing/2014/main" id="{58A4D062-676D-4961-A268-2F00DE14D153}"/>
                      </a:ext>
                    </a:extLst>
                  </p:cNvPr>
                  <p:cNvSpPr/>
                  <p:nvPr/>
                </p:nvSpPr>
                <p:spPr>
                  <a:xfrm>
                    <a:off x="6015514" y="3386614"/>
                    <a:ext cx="38100" cy="47625"/>
                  </a:xfrm>
                  <a:custGeom>
                    <a:avLst/>
                    <a:gdLst>
                      <a:gd name="connsiteX0" fmla="*/ 11906 w 38100"/>
                      <a:gd name="connsiteY0" fmla="*/ 43339 h 47625"/>
                      <a:gd name="connsiteX1" fmla="*/ 16669 w 38100"/>
                      <a:gd name="connsiteY1" fmla="*/ 46196 h 47625"/>
                      <a:gd name="connsiteX2" fmla="*/ 22384 w 38100"/>
                      <a:gd name="connsiteY2" fmla="*/ 47149 h 47625"/>
                      <a:gd name="connsiteX3" fmla="*/ 27146 w 38100"/>
                      <a:gd name="connsiteY3" fmla="*/ 46196 h 47625"/>
                      <a:gd name="connsiteX4" fmla="*/ 31909 w 38100"/>
                      <a:gd name="connsiteY4" fmla="*/ 42386 h 47625"/>
                      <a:gd name="connsiteX5" fmla="*/ 34766 w 38100"/>
                      <a:gd name="connsiteY5" fmla="*/ 36671 h 47625"/>
                      <a:gd name="connsiteX6" fmla="*/ 35719 w 38100"/>
                      <a:gd name="connsiteY6" fmla="*/ 28099 h 47625"/>
                      <a:gd name="connsiteX7" fmla="*/ 34766 w 38100"/>
                      <a:gd name="connsiteY7" fmla="*/ 20479 h 47625"/>
                      <a:gd name="connsiteX8" fmla="*/ 31909 w 38100"/>
                      <a:gd name="connsiteY8" fmla="*/ 13811 h 47625"/>
                      <a:gd name="connsiteX9" fmla="*/ 28099 w 38100"/>
                      <a:gd name="connsiteY9" fmla="*/ 9049 h 47625"/>
                      <a:gd name="connsiteX10" fmla="*/ 22384 w 38100"/>
                      <a:gd name="connsiteY10" fmla="*/ 7144 h 47625"/>
                      <a:gd name="connsiteX11" fmla="*/ 15716 w 38100"/>
                      <a:gd name="connsiteY11" fmla="*/ 9049 h 47625"/>
                      <a:gd name="connsiteX12" fmla="*/ 10954 w 38100"/>
                      <a:gd name="connsiteY12" fmla="*/ 12859 h 47625"/>
                      <a:gd name="connsiteX13" fmla="*/ 8096 w 38100"/>
                      <a:gd name="connsiteY13" fmla="*/ 18574 h 47625"/>
                      <a:gd name="connsiteX14" fmla="*/ 7144 w 38100"/>
                      <a:gd name="connsiteY14" fmla="*/ 26194 h 47625"/>
                      <a:gd name="connsiteX15" fmla="*/ 8096 w 38100"/>
                      <a:gd name="connsiteY15" fmla="*/ 34766 h 47625"/>
                      <a:gd name="connsiteX16" fmla="*/ 11906 w 38100"/>
                      <a:gd name="connsiteY16" fmla="*/ 4333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 h="47625">
                        <a:moveTo>
                          <a:pt x="11906" y="43339"/>
                        </a:moveTo>
                        <a:cubicBezTo>
                          <a:pt x="12859" y="45244"/>
                          <a:pt x="14764" y="46196"/>
                          <a:pt x="16669" y="46196"/>
                        </a:cubicBezTo>
                        <a:cubicBezTo>
                          <a:pt x="18574" y="47149"/>
                          <a:pt x="20479" y="47149"/>
                          <a:pt x="22384" y="47149"/>
                        </a:cubicBezTo>
                        <a:cubicBezTo>
                          <a:pt x="24289" y="47149"/>
                          <a:pt x="26194" y="47149"/>
                          <a:pt x="27146" y="46196"/>
                        </a:cubicBezTo>
                        <a:cubicBezTo>
                          <a:pt x="29051" y="45244"/>
                          <a:pt x="30004" y="44291"/>
                          <a:pt x="31909" y="42386"/>
                        </a:cubicBezTo>
                        <a:cubicBezTo>
                          <a:pt x="32861" y="40481"/>
                          <a:pt x="33814" y="38576"/>
                          <a:pt x="34766" y="36671"/>
                        </a:cubicBezTo>
                        <a:cubicBezTo>
                          <a:pt x="35719" y="34766"/>
                          <a:pt x="35719" y="31909"/>
                          <a:pt x="35719" y="28099"/>
                        </a:cubicBezTo>
                        <a:cubicBezTo>
                          <a:pt x="35719" y="25241"/>
                          <a:pt x="35719" y="23336"/>
                          <a:pt x="34766" y="20479"/>
                        </a:cubicBezTo>
                        <a:cubicBezTo>
                          <a:pt x="33814" y="17621"/>
                          <a:pt x="33814" y="15716"/>
                          <a:pt x="31909" y="13811"/>
                        </a:cubicBezTo>
                        <a:cubicBezTo>
                          <a:pt x="30956" y="11906"/>
                          <a:pt x="29051" y="10954"/>
                          <a:pt x="28099" y="9049"/>
                        </a:cubicBezTo>
                        <a:cubicBezTo>
                          <a:pt x="26194" y="8096"/>
                          <a:pt x="24289" y="7144"/>
                          <a:pt x="22384" y="7144"/>
                        </a:cubicBezTo>
                        <a:cubicBezTo>
                          <a:pt x="19526" y="7144"/>
                          <a:pt x="17621" y="8096"/>
                          <a:pt x="15716" y="9049"/>
                        </a:cubicBezTo>
                        <a:cubicBezTo>
                          <a:pt x="13811" y="10001"/>
                          <a:pt x="12859" y="11906"/>
                          <a:pt x="10954" y="12859"/>
                        </a:cubicBezTo>
                        <a:cubicBezTo>
                          <a:pt x="10001" y="14764"/>
                          <a:pt x="9049" y="16669"/>
                          <a:pt x="8096" y="18574"/>
                        </a:cubicBezTo>
                        <a:cubicBezTo>
                          <a:pt x="7144" y="20479"/>
                          <a:pt x="7144" y="23336"/>
                          <a:pt x="7144" y="26194"/>
                        </a:cubicBezTo>
                        <a:cubicBezTo>
                          <a:pt x="7144" y="30004"/>
                          <a:pt x="7144" y="32861"/>
                          <a:pt x="8096" y="34766"/>
                        </a:cubicBezTo>
                        <a:cubicBezTo>
                          <a:pt x="10001" y="39529"/>
                          <a:pt x="10954" y="41434"/>
                          <a:pt x="11906" y="43339"/>
                        </a:cubicBezTo>
                        <a:close/>
                      </a:path>
                    </a:pathLst>
                  </a:custGeom>
                  <a:grpFill/>
                  <a:ln w="9525"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6C2AEAF0-478B-4044-A158-892F0A91B6F5}"/>
                      </a:ext>
                    </a:extLst>
                  </p:cNvPr>
                  <p:cNvSpPr/>
                  <p:nvPr/>
                </p:nvSpPr>
                <p:spPr>
                  <a:xfrm>
                    <a:off x="5891689" y="3211354"/>
                    <a:ext cx="285750" cy="371475"/>
                  </a:xfrm>
                  <a:custGeom>
                    <a:avLst/>
                    <a:gdLst>
                      <a:gd name="connsiteX0" fmla="*/ 190976 w 285750"/>
                      <a:gd name="connsiteY0" fmla="*/ 292894 h 371475"/>
                      <a:gd name="connsiteX1" fmla="*/ 200501 w 285750"/>
                      <a:gd name="connsiteY1" fmla="*/ 293846 h 371475"/>
                      <a:gd name="connsiteX2" fmla="*/ 281464 w 285750"/>
                      <a:gd name="connsiteY2" fmla="*/ 241459 h 371475"/>
                      <a:gd name="connsiteX3" fmla="*/ 281464 w 285750"/>
                      <a:gd name="connsiteY3" fmla="*/ 63341 h 371475"/>
                      <a:gd name="connsiteX4" fmla="*/ 144304 w 285750"/>
                      <a:gd name="connsiteY4" fmla="*/ 7144 h 371475"/>
                      <a:gd name="connsiteX5" fmla="*/ 7144 w 285750"/>
                      <a:gd name="connsiteY5" fmla="*/ 61436 h 371475"/>
                      <a:gd name="connsiteX6" fmla="*/ 7144 w 285750"/>
                      <a:gd name="connsiteY6" fmla="*/ 318611 h 371475"/>
                      <a:gd name="connsiteX7" fmla="*/ 123349 w 285750"/>
                      <a:gd name="connsiteY7" fmla="*/ 372904 h 371475"/>
                      <a:gd name="connsiteX8" fmla="*/ 122396 w 285750"/>
                      <a:gd name="connsiteY8" fmla="*/ 361474 h 371475"/>
                      <a:gd name="connsiteX9" fmla="*/ 190976 w 285750"/>
                      <a:gd name="connsiteY9" fmla="*/ 292894 h 371475"/>
                      <a:gd name="connsiteX10" fmla="*/ 240506 w 285750"/>
                      <a:gd name="connsiteY10" fmla="*/ 240506 h 371475"/>
                      <a:gd name="connsiteX11" fmla="*/ 192881 w 285750"/>
                      <a:gd name="connsiteY11" fmla="*/ 240506 h 371475"/>
                      <a:gd name="connsiteX12" fmla="*/ 192881 w 285750"/>
                      <a:gd name="connsiteY12" fmla="*/ 167164 h 371475"/>
                      <a:gd name="connsiteX13" fmla="*/ 214789 w 285750"/>
                      <a:gd name="connsiteY13" fmla="*/ 167164 h 371475"/>
                      <a:gd name="connsiteX14" fmla="*/ 214789 w 285750"/>
                      <a:gd name="connsiteY14" fmla="*/ 223361 h 371475"/>
                      <a:gd name="connsiteX15" fmla="*/ 240506 w 285750"/>
                      <a:gd name="connsiteY15" fmla="*/ 223361 h 371475"/>
                      <a:gd name="connsiteX16" fmla="*/ 240506 w 285750"/>
                      <a:gd name="connsiteY16" fmla="*/ 240506 h 371475"/>
                      <a:gd name="connsiteX17" fmla="*/ 144304 w 285750"/>
                      <a:gd name="connsiteY17" fmla="*/ 27146 h 371475"/>
                      <a:gd name="connsiteX18" fmla="*/ 242411 w 285750"/>
                      <a:gd name="connsiteY18" fmla="*/ 56674 h 371475"/>
                      <a:gd name="connsiteX19" fmla="*/ 144304 w 285750"/>
                      <a:gd name="connsiteY19" fmla="*/ 86201 h 371475"/>
                      <a:gd name="connsiteX20" fmla="*/ 46196 w 285750"/>
                      <a:gd name="connsiteY20" fmla="*/ 56674 h 371475"/>
                      <a:gd name="connsiteX21" fmla="*/ 144304 w 285750"/>
                      <a:gd name="connsiteY21" fmla="*/ 27146 h 371475"/>
                      <a:gd name="connsiteX22" fmla="*/ 103346 w 285750"/>
                      <a:gd name="connsiteY22" fmla="*/ 223361 h 371475"/>
                      <a:gd name="connsiteX23" fmla="*/ 101441 w 285750"/>
                      <a:gd name="connsiteY23" fmla="*/ 229076 h 371475"/>
                      <a:gd name="connsiteX24" fmla="*/ 97631 w 285750"/>
                      <a:gd name="connsiteY24" fmla="*/ 233839 h 371475"/>
                      <a:gd name="connsiteX25" fmla="*/ 91916 w 285750"/>
                      <a:gd name="connsiteY25" fmla="*/ 237649 h 371475"/>
                      <a:gd name="connsiteX26" fmla="*/ 83344 w 285750"/>
                      <a:gd name="connsiteY26" fmla="*/ 240506 h 371475"/>
                      <a:gd name="connsiteX27" fmla="*/ 71914 w 285750"/>
                      <a:gd name="connsiteY27" fmla="*/ 241459 h 371475"/>
                      <a:gd name="connsiteX28" fmla="*/ 65246 w 285750"/>
                      <a:gd name="connsiteY28" fmla="*/ 241459 h 371475"/>
                      <a:gd name="connsiteX29" fmla="*/ 59531 w 285750"/>
                      <a:gd name="connsiteY29" fmla="*/ 240506 h 371475"/>
                      <a:gd name="connsiteX30" fmla="*/ 54769 w 285750"/>
                      <a:gd name="connsiteY30" fmla="*/ 239554 h 371475"/>
                      <a:gd name="connsiteX31" fmla="*/ 50959 w 285750"/>
                      <a:gd name="connsiteY31" fmla="*/ 237649 h 371475"/>
                      <a:gd name="connsiteX32" fmla="*/ 50959 w 285750"/>
                      <a:gd name="connsiteY32" fmla="*/ 217646 h 371475"/>
                      <a:gd name="connsiteX33" fmla="*/ 55721 w 285750"/>
                      <a:gd name="connsiteY33" fmla="*/ 220504 h 371475"/>
                      <a:gd name="connsiteX34" fmla="*/ 60484 w 285750"/>
                      <a:gd name="connsiteY34" fmla="*/ 223361 h 371475"/>
                      <a:gd name="connsiteX35" fmla="*/ 66199 w 285750"/>
                      <a:gd name="connsiteY35" fmla="*/ 225266 h 371475"/>
                      <a:gd name="connsiteX36" fmla="*/ 71914 w 285750"/>
                      <a:gd name="connsiteY36" fmla="*/ 226219 h 371475"/>
                      <a:gd name="connsiteX37" fmla="*/ 75724 w 285750"/>
                      <a:gd name="connsiteY37" fmla="*/ 225266 h 371475"/>
                      <a:gd name="connsiteX38" fmla="*/ 77629 w 285750"/>
                      <a:gd name="connsiteY38" fmla="*/ 224314 h 371475"/>
                      <a:gd name="connsiteX39" fmla="*/ 78581 w 285750"/>
                      <a:gd name="connsiteY39" fmla="*/ 222409 h 371475"/>
                      <a:gd name="connsiteX40" fmla="*/ 78581 w 285750"/>
                      <a:gd name="connsiteY40" fmla="*/ 220504 h 371475"/>
                      <a:gd name="connsiteX41" fmla="*/ 77629 w 285750"/>
                      <a:gd name="connsiteY41" fmla="*/ 217646 h 371475"/>
                      <a:gd name="connsiteX42" fmla="*/ 75724 w 285750"/>
                      <a:gd name="connsiteY42" fmla="*/ 215741 h 371475"/>
                      <a:gd name="connsiteX43" fmla="*/ 71914 w 285750"/>
                      <a:gd name="connsiteY43" fmla="*/ 213836 h 371475"/>
                      <a:gd name="connsiteX44" fmla="*/ 67151 w 285750"/>
                      <a:gd name="connsiteY44" fmla="*/ 211931 h 371475"/>
                      <a:gd name="connsiteX45" fmla="*/ 58579 w 285750"/>
                      <a:gd name="connsiteY45" fmla="*/ 207169 h 371475"/>
                      <a:gd name="connsiteX46" fmla="*/ 52864 w 285750"/>
                      <a:gd name="connsiteY46" fmla="*/ 202406 h 371475"/>
                      <a:gd name="connsiteX47" fmla="*/ 50006 w 285750"/>
                      <a:gd name="connsiteY47" fmla="*/ 196691 h 371475"/>
                      <a:gd name="connsiteX48" fmla="*/ 49054 w 285750"/>
                      <a:gd name="connsiteY48" fmla="*/ 190024 h 371475"/>
                      <a:gd name="connsiteX49" fmla="*/ 50959 w 285750"/>
                      <a:gd name="connsiteY49" fmla="*/ 180499 h 371475"/>
                      <a:gd name="connsiteX50" fmla="*/ 56674 w 285750"/>
                      <a:gd name="connsiteY50" fmla="*/ 172879 h 371475"/>
                      <a:gd name="connsiteX51" fmla="*/ 66199 w 285750"/>
                      <a:gd name="connsiteY51" fmla="*/ 168116 h 371475"/>
                      <a:gd name="connsiteX52" fmla="*/ 78581 w 285750"/>
                      <a:gd name="connsiteY52" fmla="*/ 166211 h 371475"/>
                      <a:gd name="connsiteX53" fmla="*/ 85249 w 285750"/>
                      <a:gd name="connsiteY53" fmla="*/ 166211 h 371475"/>
                      <a:gd name="connsiteX54" fmla="*/ 90964 w 285750"/>
                      <a:gd name="connsiteY54" fmla="*/ 167164 h 371475"/>
                      <a:gd name="connsiteX55" fmla="*/ 95726 w 285750"/>
                      <a:gd name="connsiteY55" fmla="*/ 168116 h 371475"/>
                      <a:gd name="connsiteX56" fmla="*/ 99536 w 285750"/>
                      <a:gd name="connsiteY56" fmla="*/ 169069 h 371475"/>
                      <a:gd name="connsiteX57" fmla="*/ 99536 w 285750"/>
                      <a:gd name="connsiteY57" fmla="*/ 188119 h 371475"/>
                      <a:gd name="connsiteX58" fmla="*/ 95726 w 285750"/>
                      <a:gd name="connsiteY58" fmla="*/ 186214 h 371475"/>
                      <a:gd name="connsiteX59" fmla="*/ 90964 w 285750"/>
                      <a:gd name="connsiteY59" fmla="*/ 184309 h 371475"/>
                      <a:gd name="connsiteX60" fmla="*/ 86201 w 285750"/>
                      <a:gd name="connsiteY60" fmla="*/ 183356 h 371475"/>
                      <a:gd name="connsiteX61" fmla="*/ 80486 w 285750"/>
                      <a:gd name="connsiteY61" fmla="*/ 183356 h 371475"/>
                      <a:gd name="connsiteX62" fmla="*/ 74771 w 285750"/>
                      <a:gd name="connsiteY62" fmla="*/ 184309 h 371475"/>
                      <a:gd name="connsiteX63" fmla="*/ 72866 w 285750"/>
                      <a:gd name="connsiteY63" fmla="*/ 188119 h 371475"/>
                      <a:gd name="connsiteX64" fmla="*/ 73819 w 285750"/>
                      <a:gd name="connsiteY64" fmla="*/ 190024 h 371475"/>
                      <a:gd name="connsiteX65" fmla="*/ 75724 w 285750"/>
                      <a:gd name="connsiteY65" fmla="*/ 191929 h 371475"/>
                      <a:gd name="connsiteX66" fmla="*/ 78581 w 285750"/>
                      <a:gd name="connsiteY66" fmla="*/ 193834 h 371475"/>
                      <a:gd name="connsiteX67" fmla="*/ 83344 w 285750"/>
                      <a:gd name="connsiteY67" fmla="*/ 195739 h 371475"/>
                      <a:gd name="connsiteX68" fmla="*/ 91916 w 285750"/>
                      <a:gd name="connsiteY68" fmla="*/ 199549 h 371475"/>
                      <a:gd name="connsiteX69" fmla="*/ 98584 w 285750"/>
                      <a:gd name="connsiteY69" fmla="*/ 204311 h 371475"/>
                      <a:gd name="connsiteX70" fmla="*/ 103346 w 285750"/>
                      <a:gd name="connsiteY70" fmla="*/ 210026 h 371475"/>
                      <a:gd name="connsiteX71" fmla="*/ 105251 w 285750"/>
                      <a:gd name="connsiteY71" fmla="*/ 218599 h 371475"/>
                      <a:gd name="connsiteX72" fmla="*/ 103346 w 285750"/>
                      <a:gd name="connsiteY72" fmla="*/ 223361 h 371475"/>
                      <a:gd name="connsiteX73" fmla="*/ 110966 w 285750"/>
                      <a:gd name="connsiteY73" fmla="*/ 219551 h 371475"/>
                      <a:gd name="connsiteX74" fmla="*/ 108109 w 285750"/>
                      <a:gd name="connsiteY74" fmla="*/ 204311 h 371475"/>
                      <a:gd name="connsiteX75" fmla="*/ 110966 w 285750"/>
                      <a:gd name="connsiteY75" fmla="*/ 188119 h 371475"/>
                      <a:gd name="connsiteX76" fmla="*/ 118586 w 285750"/>
                      <a:gd name="connsiteY76" fmla="*/ 175736 h 371475"/>
                      <a:gd name="connsiteX77" fmla="*/ 130016 w 285750"/>
                      <a:gd name="connsiteY77" fmla="*/ 168116 h 371475"/>
                      <a:gd name="connsiteX78" fmla="*/ 145256 w 285750"/>
                      <a:gd name="connsiteY78" fmla="*/ 165259 h 371475"/>
                      <a:gd name="connsiteX79" fmla="*/ 159544 w 285750"/>
                      <a:gd name="connsiteY79" fmla="*/ 168116 h 371475"/>
                      <a:gd name="connsiteX80" fmla="*/ 170974 w 285750"/>
                      <a:gd name="connsiteY80" fmla="*/ 175736 h 371475"/>
                      <a:gd name="connsiteX81" fmla="*/ 178594 w 285750"/>
                      <a:gd name="connsiteY81" fmla="*/ 187166 h 371475"/>
                      <a:gd name="connsiteX82" fmla="*/ 181451 w 285750"/>
                      <a:gd name="connsiteY82" fmla="*/ 203359 h 371475"/>
                      <a:gd name="connsiteX83" fmla="*/ 179546 w 285750"/>
                      <a:gd name="connsiteY83" fmla="*/ 214789 h 371475"/>
                      <a:gd name="connsiteX84" fmla="*/ 174784 w 285750"/>
                      <a:gd name="connsiteY84" fmla="*/ 224314 h 371475"/>
                      <a:gd name="connsiteX85" fmla="*/ 168116 w 285750"/>
                      <a:gd name="connsiteY85" fmla="*/ 231934 h 371475"/>
                      <a:gd name="connsiteX86" fmla="*/ 159544 w 285750"/>
                      <a:gd name="connsiteY86" fmla="*/ 237649 h 371475"/>
                      <a:gd name="connsiteX87" fmla="*/ 184309 w 285750"/>
                      <a:gd name="connsiteY87" fmla="*/ 258604 h 371475"/>
                      <a:gd name="connsiteX88" fmla="*/ 155734 w 285750"/>
                      <a:gd name="connsiteY88" fmla="*/ 258604 h 371475"/>
                      <a:gd name="connsiteX89" fmla="*/ 139541 w 285750"/>
                      <a:gd name="connsiteY89" fmla="*/ 241459 h 371475"/>
                      <a:gd name="connsiteX90" fmla="*/ 126206 w 285750"/>
                      <a:gd name="connsiteY90" fmla="*/ 238601 h 371475"/>
                      <a:gd name="connsiteX91" fmla="*/ 115729 w 285750"/>
                      <a:gd name="connsiteY91" fmla="*/ 230981 h 371475"/>
                      <a:gd name="connsiteX92" fmla="*/ 110966 w 285750"/>
                      <a:gd name="connsiteY92" fmla="*/ 21955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85750" h="371475">
                        <a:moveTo>
                          <a:pt x="190976" y="292894"/>
                        </a:moveTo>
                        <a:cubicBezTo>
                          <a:pt x="193834" y="292894"/>
                          <a:pt x="197644" y="292894"/>
                          <a:pt x="200501" y="293846"/>
                        </a:cubicBezTo>
                        <a:cubicBezTo>
                          <a:pt x="215741" y="263366"/>
                          <a:pt x="246221" y="243364"/>
                          <a:pt x="281464" y="241459"/>
                        </a:cubicBezTo>
                        <a:lnTo>
                          <a:pt x="281464" y="63341"/>
                        </a:lnTo>
                        <a:cubicBezTo>
                          <a:pt x="281464" y="34766"/>
                          <a:pt x="219551" y="7144"/>
                          <a:pt x="144304" y="7144"/>
                        </a:cubicBezTo>
                        <a:cubicBezTo>
                          <a:pt x="68104" y="7144"/>
                          <a:pt x="7144" y="32861"/>
                          <a:pt x="7144" y="61436"/>
                        </a:cubicBezTo>
                        <a:lnTo>
                          <a:pt x="7144" y="318611"/>
                        </a:lnTo>
                        <a:cubicBezTo>
                          <a:pt x="7144" y="344329"/>
                          <a:pt x="57626" y="369094"/>
                          <a:pt x="123349" y="372904"/>
                        </a:cubicBezTo>
                        <a:cubicBezTo>
                          <a:pt x="122396" y="369094"/>
                          <a:pt x="122396" y="365284"/>
                          <a:pt x="122396" y="361474"/>
                        </a:cubicBezTo>
                        <a:cubicBezTo>
                          <a:pt x="122396" y="324326"/>
                          <a:pt x="152876" y="292894"/>
                          <a:pt x="190976" y="292894"/>
                        </a:cubicBezTo>
                        <a:close/>
                        <a:moveTo>
                          <a:pt x="240506" y="240506"/>
                        </a:moveTo>
                        <a:lnTo>
                          <a:pt x="192881" y="240506"/>
                        </a:lnTo>
                        <a:lnTo>
                          <a:pt x="192881" y="167164"/>
                        </a:lnTo>
                        <a:lnTo>
                          <a:pt x="214789" y="167164"/>
                        </a:lnTo>
                        <a:lnTo>
                          <a:pt x="214789" y="223361"/>
                        </a:lnTo>
                        <a:lnTo>
                          <a:pt x="240506" y="223361"/>
                        </a:lnTo>
                        <a:lnTo>
                          <a:pt x="240506" y="240506"/>
                        </a:lnTo>
                        <a:close/>
                        <a:moveTo>
                          <a:pt x="144304" y="27146"/>
                        </a:moveTo>
                        <a:cubicBezTo>
                          <a:pt x="198596" y="27146"/>
                          <a:pt x="242411" y="40481"/>
                          <a:pt x="242411" y="56674"/>
                        </a:cubicBezTo>
                        <a:cubicBezTo>
                          <a:pt x="242411" y="72866"/>
                          <a:pt x="198596" y="86201"/>
                          <a:pt x="144304" y="86201"/>
                        </a:cubicBezTo>
                        <a:cubicBezTo>
                          <a:pt x="90011" y="86201"/>
                          <a:pt x="46196" y="72866"/>
                          <a:pt x="46196" y="56674"/>
                        </a:cubicBezTo>
                        <a:cubicBezTo>
                          <a:pt x="46196" y="40481"/>
                          <a:pt x="90011" y="27146"/>
                          <a:pt x="144304" y="27146"/>
                        </a:cubicBezTo>
                        <a:close/>
                        <a:moveTo>
                          <a:pt x="103346" y="223361"/>
                        </a:moveTo>
                        <a:cubicBezTo>
                          <a:pt x="103346" y="225266"/>
                          <a:pt x="102394" y="227171"/>
                          <a:pt x="101441" y="229076"/>
                        </a:cubicBezTo>
                        <a:cubicBezTo>
                          <a:pt x="100489" y="230981"/>
                          <a:pt x="99536" y="232886"/>
                          <a:pt x="97631" y="233839"/>
                        </a:cubicBezTo>
                        <a:cubicBezTo>
                          <a:pt x="95726" y="235744"/>
                          <a:pt x="93821" y="236696"/>
                          <a:pt x="91916" y="237649"/>
                        </a:cubicBezTo>
                        <a:cubicBezTo>
                          <a:pt x="90011" y="238601"/>
                          <a:pt x="87154" y="239554"/>
                          <a:pt x="83344" y="240506"/>
                        </a:cubicBezTo>
                        <a:cubicBezTo>
                          <a:pt x="80486" y="241459"/>
                          <a:pt x="76676" y="241459"/>
                          <a:pt x="71914" y="241459"/>
                        </a:cubicBezTo>
                        <a:cubicBezTo>
                          <a:pt x="70009" y="241459"/>
                          <a:pt x="67151" y="241459"/>
                          <a:pt x="65246" y="241459"/>
                        </a:cubicBezTo>
                        <a:cubicBezTo>
                          <a:pt x="63341" y="241459"/>
                          <a:pt x="61436" y="241459"/>
                          <a:pt x="59531" y="240506"/>
                        </a:cubicBezTo>
                        <a:cubicBezTo>
                          <a:pt x="57626" y="240506"/>
                          <a:pt x="55721" y="239554"/>
                          <a:pt x="54769" y="239554"/>
                        </a:cubicBezTo>
                        <a:cubicBezTo>
                          <a:pt x="52864" y="239554"/>
                          <a:pt x="51911" y="238601"/>
                          <a:pt x="50959" y="237649"/>
                        </a:cubicBezTo>
                        <a:lnTo>
                          <a:pt x="50959" y="217646"/>
                        </a:lnTo>
                        <a:cubicBezTo>
                          <a:pt x="51911" y="218599"/>
                          <a:pt x="53816" y="219551"/>
                          <a:pt x="55721" y="220504"/>
                        </a:cubicBezTo>
                        <a:cubicBezTo>
                          <a:pt x="57626" y="221456"/>
                          <a:pt x="58579" y="222409"/>
                          <a:pt x="60484" y="223361"/>
                        </a:cubicBezTo>
                        <a:cubicBezTo>
                          <a:pt x="62389" y="224314"/>
                          <a:pt x="64294" y="224314"/>
                          <a:pt x="66199" y="225266"/>
                        </a:cubicBezTo>
                        <a:cubicBezTo>
                          <a:pt x="68104" y="226219"/>
                          <a:pt x="70009" y="226219"/>
                          <a:pt x="71914" y="226219"/>
                        </a:cubicBezTo>
                        <a:cubicBezTo>
                          <a:pt x="73819" y="226219"/>
                          <a:pt x="74771" y="226219"/>
                          <a:pt x="75724" y="225266"/>
                        </a:cubicBezTo>
                        <a:cubicBezTo>
                          <a:pt x="76676" y="225266"/>
                          <a:pt x="77629" y="224314"/>
                          <a:pt x="77629" y="224314"/>
                        </a:cubicBezTo>
                        <a:cubicBezTo>
                          <a:pt x="78581" y="224314"/>
                          <a:pt x="78581" y="223361"/>
                          <a:pt x="78581" y="222409"/>
                        </a:cubicBezTo>
                        <a:cubicBezTo>
                          <a:pt x="78581" y="221456"/>
                          <a:pt x="78581" y="221456"/>
                          <a:pt x="78581" y="220504"/>
                        </a:cubicBezTo>
                        <a:cubicBezTo>
                          <a:pt x="78581" y="219551"/>
                          <a:pt x="78581" y="218599"/>
                          <a:pt x="77629" y="217646"/>
                        </a:cubicBezTo>
                        <a:cubicBezTo>
                          <a:pt x="76676" y="216694"/>
                          <a:pt x="76676" y="215741"/>
                          <a:pt x="75724" y="215741"/>
                        </a:cubicBezTo>
                        <a:cubicBezTo>
                          <a:pt x="74771" y="214789"/>
                          <a:pt x="73819" y="214789"/>
                          <a:pt x="71914" y="213836"/>
                        </a:cubicBezTo>
                        <a:cubicBezTo>
                          <a:pt x="70009" y="212884"/>
                          <a:pt x="69056" y="212884"/>
                          <a:pt x="67151" y="211931"/>
                        </a:cubicBezTo>
                        <a:cubicBezTo>
                          <a:pt x="64294" y="210979"/>
                          <a:pt x="61436" y="209074"/>
                          <a:pt x="58579" y="207169"/>
                        </a:cubicBezTo>
                        <a:cubicBezTo>
                          <a:pt x="56674" y="205264"/>
                          <a:pt x="54769" y="204311"/>
                          <a:pt x="52864" y="202406"/>
                        </a:cubicBezTo>
                        <a:cubicBezTo>
                          <a:pt x="50959" y="200501"/>
                          <a:pt x="50006" y="198596"/>
                          <a:pt x="50006" y="196691"/>
                        </a:cubicBezTo>
                        <a:cubicBezTo>
                          <a:pt x="49054" y="194786"/>
                          <a:pt x="49054" y="191929"/>
                          <a:pt x="49054" y="190024"/>
                        </a:cubicBezTo>
                        <a:cubicBezTo>
                          <a:pt x="49054" y="186214"/>
                          <a:pt x="50006" y="183356"/>
                          <a:pt x="50959" y="180499"/>
                        </a:cubicBezTo>
                        <a:cubicBezTo>
                          <a:pt x="52864" y="177641"/>
                          <a:pt x="54769" y="174784"/>
                          <a:pt x="56674" y="172879"/>
                        </a:cubicBezTo>
                        <a:cubicBezTo>
                          <a:pt x="59531" y="170974"/>
                          <a:pt x="62389" y="169069"/>
                          <a:pt x="66199" y="168116"/>
                        </a:cubicBezTo>
                        <a:cubicBezTo>
                          <a:pt x="70009" y="167164"/>
                          <a:pt x="73819" y="166211"/>
                          <a:pt x="78581" y="166211"/>
                        </a:cubicBezTo>
                        <a:cubicBezTo>
                          <a:pt x="81439" y="166211"/>
                          <a:pt x="83344" y="166211"/>
                          <a:pt x="85249" y="166211"/>
                        </a:cubicBezTo>
                        <a:cubicBezTo>
                          <a:pt x="87154" y="166211"/>
                          <a:pt x="89059" y="166211"/>
                          <a:pt x="90964" y="167164"/>
                        </a:cubicBezTo>
                        <a:cubicBezTo>
                          <a:pt x="92869" y="167164"/>
                          <a:pt x="93821" y="168116"/>
                          <a:pt x="95726" y="168116"/>
                        </a:cubicBezTo>
                        <a:cubicBezTo>
                          <a:pt x="96679" y="168116"/>
                          <a:pt x="98584" y="169069"/>
                          <a:pt x="99536" y="169069"/>
                        </a:cubicBezTo>
                        <a:lnTo>
                          <a:pt x="99536" y="188119"/>
                        </a:lnTo>
                        <a:cubicBezTo>
                          <a:pt x="98584" y="187166"/>
                          <a:pt x="97631" y="187166"/>
                          <a:pt x="95726" y="186214"/>
                        </a:cubicBezTo>
                        <a:cubicBezTo>
                          <a:pt x="94774" y="185261"/>
                          <a:pt x="92869" y="185261"/>
                          <a:pt x="90964" y="184309"/>
                        </a:cubicBezTo>
                        <a:cubicBezTo>
                          <a:pt x="89059" y="183356"/>
                          <a:pt x="88106" y="183356"/>
                          <a:pt x="86201" y="183356"/>
                        </a:cubicBezTo>
                        <a:cubicBezTo>
                          <a:pt x="84296" y="183356"/>
                          <a:pt x="82391" y="183356"/>
                          <a:pt x="80486" y="183356"/>
                        </a:cubicBezTo>
                        <a:cubicBezTo>
                          <a:pt x="77629" y="183356"/>
                          <a:pt x="75724" y="183356"/>
                          <a:pt x="74771" y="184309"/>
                        </a:cubicBezTo>
                        <a:cubicBezTo>
                          <a:pt x="72866" y="185261"/>
                          <a:pt x="72866" y="186214"/>
                          <a:pt x="72866" y="188119"/>
                        </a:cubicBezTo>
                        <a:cubicBezTo>
                          <a:pt x="72866" y="189071"/>
                          <a:pt x="72866" y="190024"/>
                          <a:pt x="73819" y="190024"/>
                        </a:cubicBezTo>
                        <a:cubicBezTo>
                          <a:pt x="73819" y="190976"/>
                          <a:pt x="74771" y="190976"/>
                          <a:pt x="75724" y="191929"/>
                        </a:cubicBezTo>
                        <a:cubicBezTo>
                          <a:pt x="76676" y="192881"/>
                          <a:pt x="77629" y="192881"/>
                          <a:pt x="78581" y="193834"/>
                        </a:cubicBezTo>
                        <a:cubicBezTo>
                          <a:pt x="79534" y="194786"/>
                          <a:pt x="81439" y="194786"/>
                          <a:pt x="83344" y="195739"/>
                        </a:cubicBezTo>
                        <a:cubicBezTo>
                          <a:pt x="86201" y="196691"/>
                          <a:pt x="89059" y="198596"/>
                          <a:pt x="91916" y="199549"/>
                        </a:cubicBezTo>
                        <a:cubicBezTo>
                          <a:pt x="94774" y="201454"/>
                          <a:pt x="96679" y="202406"/>
                          <a:pt x="98584" y="204311"/>
                        </a:cubicBezTo>
                        <a:cubicBezTo>
                          <a:pt x="100489" y="206216"/>
                          <a:pt x="101441" y="208121"/>
                          <a:pt x="103346" y="210026"/>
                        </a:cubicBezTo>
                        <a:cubicBezTo>
                          <a:pt x="104299" y="211931"/>
                          <a:pt x="105251" y="214789"/>
                          <a:pt x="105251" y="218599"/>
                        </a:cubicBezTo>
                        <a:cubicBezTo>
                          <a:pt x="103346" y="219551"/>
                          <a:pt x="103346" y="221456"/>
                          <a:pt x="103346" y="223361"/>
                        </a:cubicBezTo>
                        <a:close/>
                        <a:moveTo>
                          <a:pt x="110966" y="219551"/>
                        </a:moveTo>
                        <a:cubicBezTo>
                          <a:pt x="109061" y="214789"/>
                          <a:pt x="108109" y="210026"/>
                          <a:pt x="108109" y="204311"/>
                        </a:cubicBezTo>
                        <a:cubicBezTo>
                          <a:pt x="108109" y="198596"/>
                          <a:pt x="109061" y="192881"/>
                          <a:pt x="110966" y="188119"/>
                        </a:cubicBezTo>
                        <a:cubicBezTo>
                          <a:pt x="112871" y="183356"/>
                          <a:pt x="115729" y="179546"/>
                          <a:pt x="118586" y="175736"/>
                        </a:cubicBezTo>
                        <a:cubicBezTo>
                          <a:pt x="121444" y="171926"/>
                          <a:pt x="126206" y="170021"/>
                          <a:pt x="130016" y="168116"/>
                        </a:cubicBezTo>
                        <a:cubicBezTo>
                          <a:pt x="134779" y="166211"/>
                          <a:pt x="139541" y="165259"/>
                          <a:pt x="145256" y="165259"/>
                        </a:cubicBezTo>
                        <a:cubicBezTo>
                          <a:pt x="150971" y="165259"/>
                          <a:pt x="155734" y="166211"/>
                          <a:pt x="159544" y="168116"/>
                        </a:cubicBezTo>
                        <a:cubicBezTo>
                          <a:pt x="164306" y="170021"/>
                          <a:pt x="168116" y="172879"/>
                          <a:pt x="170974" y="175736"/>
                        </a:cubicBezTo>
                        <a:cubicBezTo>
                          <a:pt x="173831" y="178594"/>
                          <a:pt x="176689" y="183356"/>
                          <a:pt x="178594" y="187166"/>
                        </a:cubicBezTo>
                        <a:cubicBezTo>
                          <a:pt x="180499" y="191929"/>
                          <a:pt x="181451" y="196691"/>
                          <a:pt x="181451" y="203359"/>
                        </a:cubicBezTo>
                        <a:cubicBezTo>
                          <a:pt x="181451" y="207169"/>
                          <a:pt x="181451" y="211931"/>
                          <a:pt x="179546" y="214789"/>
                        </a:cubicBezTo>
                        <a:cubicBezTo>
                          <a:pt x="178594" y="218599"/>
                          <a:pt x="176689" y="221456"/>
                          <a:pt x="174784" y="224314"/>
                        </a:cubicBezTo>
                        <a:cubicBezTo>
                          <a:pt x="172879" y="227171"/>
                          <a:pt x="170974" y="230029"/>
                          <a:pt x="168116" y="231934"/>
                        </a:cubicBezTo>
                        <a:cubicBezTo>
                          <a:pt x="165259" y="233839"/>
                          <a:pt x="163354" y="235744"/>
                          <a:pt x="159544" y="237649"/>
                        </a:cubicBezTo>
                        <a:lnTo>
                          <a:pt x="184309" y="258604"/>
                        </a:lnTo>
                        <a:lnTo>
                          <a:pt x="155734" y="258604"/>
                        </a:lnTo>
                        <a:lnTo>
                          <a:pt x="139541" y="241459"/>
                        </a:lnTo>
                        <a:cubicBezTo>
                          <a:pt x="134779" y="241459"/>
                          <a:pt x="130016" y="239554"/>
                          <a:pt x="126206" y="238601"/>
                        </a:cubicBezTo>
                        <a:cubicBezTo>
                          <a:pt x="122396" y="236696"/>
                          <a:pt x="118586" y="233839"/>
                          <a:pt x="115729" y="230981"/>
                        </a:cubicBezTo>
                        <a:cubicBezTo>
                          <a:pt x="115729" y="228124"/>
                          <a:pt x="112871" y="224314"/>
                          <a:pt x="110966" y="219551"/>
                        </a:cubicBezTo>
                        <a:close/>
                      </a:path>
                    </a:pathLst>
                  </a:custGeom>
                  <a:grpFill/>
                  <a:ln w="9525"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53ABD414-1A5A-424C-B462-00189954BC6E}"/>
                      </a:ext>
                    </a:extLst>
                  </p:cNvPr>
                  <p:cNvSpPr/>
                  <p:nvPr/>
                </p:nvSpPr>
                <p:spPr>
                  <a:xfrm>
                    <a:off x="6016466" y="3455194"/>
                    <a:ext cx="276225" cy="180975"/>
                  </a:xfrm>
                  <a:custGeom>
                    <a:avLst/>
                    <a:gdLst>
                      <a:gd name="connsiteX0" fmla="*/ 276701 w 276225"/>
                      <a:gd name="connsiteY0" fmla="*/ 143351 h 180975"/>
                      <a:gd name="connsiteX1" fmla="*/ 244316 w 276225"/>
                      <a:gd name="connsiteY1" fmla="*/ 108109 h 180975"/>
                      <a:gd name="connsiteX2" fmla="*/ 246221 w 276225"/>
                      <a:gd name="connsiteY2" fmla="*/ 91916 h 180975"/>
                      <a:gd name="connsiteX3" fmla="*/ 161449 w 276225"/>
                      <a:gd name="connsiteY3" fmla="*/ 7144 h 180975"/>
                      <a:gd name="connsiteX4" fmla="*/ 82391 w 276225"/>
                      <a:gd name="connsiteY4" fmla="*/ 60484 h 180975"/>
                      <a:gd name="connsiteX5" fmla="*/ 67151 w 276225"/>
                      <a:gd name="connsiteY5" fmla="*/ 58579 h 180975"/>
                      <a:gd name="connsiteX6" fmla="*/ 7144 w 276225"/>
                      <a:gd name="connsiteY6" fmla="*/ 118586 h 180975"/>
                      <a:gd name="connsiteX7" fmla="*/ 66199 w 276225"/>
                      <a:gd name="connsiteY7" fmla="*/ 178594 h 180975"/>
                      <a:gd name="connsiteX8" fmla="*/ 245269 w 276225"/>
                      <a:gd name="connsiteY8" fmla="*/ 178594 h 180975"/>
                      <a:gd name="connsiteX9" fmla="*/ 251936 w 276225"/>
                      <a:gd name="connsiteY9" fmla="*/ 178594 h 180975"/>
                      <a:gd name="connsiteX10" fmla="*/ 251936 w 276225"/>
                      <a:gd name="connsiteY10" fmla="*/ 177641 h 180975"/>
                      <a:gd name="connsiteX11" fmla="*/ 276701 w 276225"/>
                      <a:gd name="connsiteY11" fmla="*/ 143351 h 180975"/>
                      <a:gd name="connsiteX12" fmla="*/ 244316 w 276225"/>
                      <a:gd name="connsiteY12" fmla="*/ 169069 h 180975"/>
                      <a:gd name="connsiteX13" fmla="*/ 67151 w 276225"/>
                      <a:gd name="connsiteY13" fmla="*/ 169069 h 180975"/>
                      <a:gd name="connsiteX14" fmla="*/ 16669 w 276225"/>
                      <a:gd name="connsiteY14" fmla="*/ 118586 h 180975"/>
                      <a:gd name="connsiteX15" fmla="*/ 67151 w 276225"/>
                      <a:gd name="connsiteY15" fmla="*/ 68104 h 180975"/>
                      <a:gd name="connsiteX16" fmla="*/ 83344 w 276225"/>
                      <a:gd name="connsiteY16" fmla="*/ 70961 h 180975"/>
                      <a:gd name="connsiteX17" fmla="*/ 88106 w 276225"/>
                      <a:gd name="connsiteY17" fmla="*/ 72866 h 180975"/>
                      <a:gd name="connsiteX18" fmla="*/ 90011 w 276225"/>
                      <a:gd name="connsiteY18" fmla="*/ 68104 h 180975"/>
                      <a:gd name="connsiteX19" fmla="*/ 161449 w 276225"/>
                      <a:gd name="connsiteY19" fmla="*/ 16669 h 180975"/>
                      <a:gd name="connsiteX20" fmla="*/ 236696 w 276225"/>
                      <a:gd name="connsiteY20" fmla="*/ 91916 h 180975"/>
                      <a:gd name="connsiteX21" fmla="*/ 233839 w 276225"/>
                      <a:gd name="connsiteY21" fmla="*/ 111919 h 180975"/>
                      <a:gd name="connsiteX22" fmla="*/ 231934 w 276225"/>
                      <a:gd name="connsiteY22" fmla="*/ 119539 h 180975"/>
                      <a:gd name="connsiteX23" fmla="*/ 238601 w 276225"/>
                      <a:gd name="connsiteY23" fmla="*/ 118586 h 180975"/>
                      <a:gd name="connsiteX24" fmla="*/ 241459 w 276225"/>
                      <a:gd name="connsiteY24" fmla="*/ 118586 h 180975"/>
                      <a:gd name="connsiteX25" fmla="*/ 267176 w 276225"/>
                      <a:gd name="connsiteY25" fmla="*/ 144304 h 180975"/>
                      <a:gd name="connsiteX26" fmla="*/ 244316 w 276225"/>
                      <a:gd name="connsiteY26" fmla="*/ 169069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6225" h="180975">
                        <a:moveTo>
                          <a:pt x="276701" y="143351"/>
                        </a:moveTo>
                        <a:cubicBezTo>
                          <a:pt x="276701" y="125254"/>
                          <a:pt x="262414" y="110014"/>
                          <a:pt x="244316" y="108109"/>
                        </a:cubicBezTo>
                        <a:cubicBezTo>
                          <a:pt x="245269" y="102394"/>
                          <a:pt x="246221" y="97631"/>
                          <a:pt x="246221" y="91916"/>
                        </a:cubicBezTo>
                        <a:cubicBezTo>
                          <a:pt x="246221" y="45244"/>
                          <a:pt x="208121" y="7144"/>
                          <a:pt x="161449" y="7144"/>
                        </a:cubicBezTo>
                        <a:cubicBezTo>
                          <a:pt x="126206" y="7144"/>
                          <a:pt x="94774" y="28099"/>
                          <a:pt x="82391" y="60484"/>
                        </a:cubicBezTo>
                        <a:cubicBezTo>
                          <a:pt x="77629" y="59531"/>
                          <a:pt x="72866" y="58579"/>
                          <a:pt x="67151" y="58579"/>
                        </a:cubicBezTo>
                        <a:cubicBezTo>
                          <a:pt x="33814" y="58579"/>
                          <a:pt x="7144" y="85249"/>
                          <a:pt x="7144" y="118586"/>
                        </a:cubicBezTo>
                        <a:cubicBezTo>
                          <a:pt x="7144" y="150971"/>
                          <a:pt x="32861" y="177641"/>
                          <a:pt x="66199" y="178594"/>
                        </a:cubicBezTo>
                        <a:lnTo>
                          <a:pt x="245269" y="178594"/>
                        </a:lnTo>
                        <a:lnTo>
                          <a:pt x="251936" y="178594"/>
                        </a:lnTo>
                        <a:lnTo>
                          <a:pt x="251936" y="177641"/>
                        </a:lnTo>
                        <a:cubicBezTo>
                          <a:pt x="266224" y="173831"/>
                          <a:pt x="276701" y="159544"/>
                          <a:pt x="276701" y="143351"/>
                        </a:cubicBezTo>
                        <a:close/>
                        <a:moveTo>
                          <a:pt x="244316" y="169069"/>
                        </a:moveTo>
                        <a:lnTo>
                          <a:pt x="67151" y="169069"/>
                        </a:lnTo>
                        <a:cubicBezTo>
                          <a:pt x="39529" y="169069"/>
                          <a:pt x="16669" y="146209"/>
                          <a:pt x="16669" y="118586"/>
                        </a:cubicBezTo>
                        <a:cubicBezTo>
                          <a:pt x="16669" y="90964"/>
                          <a:pt x="39529" y="68104"/>
                          <a:pt x="67151" y="68104"/>
                        </a:cubicBezTo>
                        <a:cubicBezTo>
                          <a:pt x="72866" y="68104"/>
                          <a:pt x="78581" y="69056"/>
                          <a:pt x="83344" y="70961"/>
                        </a:cubicBezTo>
                        <a:lnTo>
                          <a:pt x="88106" y="72866"/>
                        </a:lnTo>
                        <a:lnTo>
                          <a:pt x="90011" y="68104"/>
                        </a:lnTo>
                        <a:cubicBezTo>
                          <a:pt x="100489" y="37624"/>
                          <a:pt x="129064" y="16669"/>
                          <a:pt x="161449" y="16669"/>
                        </a:cubicBezTo>
                        <a:cubicBezTo>
                          <a:pt x="203359" y="16669"/>
                          <a:pt x="236696" y="50959"/>
                          <a:pt x="236696" y="91916"/>
                        </a:cubicBezTo>
                        <a:cubicBezTo>
                          <a:pt x="236696" y="98584"/>
                          <a:pt x="235744" y="105251"/>
                          <a:pt x="233839" y="111919"/>
                        </a:cubicBezTo>
                        <a:lnTo>
                          <a:pt x="231934" y="119539"/>
                        </a:lnTo>
                        <a:lnTo>
                          <a:pt x="238601" y="118586"/>
                        </a:lnTo>
                        <a:cubicBezTo>
                          <a:pt x="239554" y="118586"/>
                          <a:pt x="240506" y="118586"/>
                          <a:pt x="241459" y="118586"/>
                        </a:cubicBezTo>
                        <a:cubicBezTo>
                          <a:pt x="255746" y="118586"/>
                          <a:pt x="267176" y="130016"/>
                          <a:pt x="267176" y="144304"/>
                        </a:cubicBezTo>
                        <a:cubicBezTo>
                          <a:pt x="267176" y="156686"/>
                          <a:pt x="257651" y="168116"/>
                          <a:pt x="244316" y="169069"/>
                        </a:cubicBezTo>
                        <a:close/>
                      </a:path>
                    </a:pathLst>
                  </a:custGeom>
                  <a:grpFill/>
                  <a:ln w="9525" cap="flat">
                    <a:noFill/>
                    <a:prstDash val="solid"/>
                    <a:miter/>
                  </a:ln>
                </p:spPr>
                <p:txBody>
                  <a:bodyPr rtlCol="0" anchor="ctr"/>
                  <a:lstStyle/>
                  <a:p>
                    <a:endParaRPr lang="en-US"/>
                  </a:p>
                </p:txBody>
              </p:sp>
            </p:grpSp>
          </p:grpSp>
          <p:grpSp>
            <p:nvGrpSpPr>
              <p:cNvPr id="179" name="Group 178">
                <a:extLst>
                  <a:ext uri="{FF2B5EF4-FFF2-40B4-BE49-F238E27FC236}">
                    <a16:creationId xmlns:a16="http://schemas.microsoft.com/office/drawing/2014/main" id="{0B04C03C-D164-4DDA-B5B8-B9B973728FAE}"/>
                  </a:ext>
                </a:extLst>
              </p:cNvPr>
              <p:cNvGrpSpPr/>
              <p:nvPr/>
            </p:nvGrpSpPr>
            <p:grpSpPr>
              <a:xfrm>
                <a:off x="3971548" y="2224905"/>
                <a:ext cx="861056" cy="861056"/>
                <a:chOff x="3971548" y="2224905"/>
                <a:chExt cx="861056" cy="861056"/>
              </a:xfrm>
            </p:grpSpPr>
            <p:sp>
              <p:nvSpPr>
                <p:cNvPr id="194" name="Oval 193">
                  <a:extLst>
                    <a:ext uri="{FF2B5EF4-FFF2-40B4-BE49-F238E27FC236}">
                      <a16:creationId xmlns:a16="http://schemas.microsoft.com/office/drawing/2014/main" id="{39253998-6D52-4C6F-A76B-E3FA19DFC10A}"/>
                    </a:ext>
                  </a:extLst>
                </p:cNvPr>
                <p:cNvSpPr/>
                <p:nvPr/>
              </p:nvSpPr>
              <p:spPr bwMode="auto">
                <a:xfrm>
                  <a:off x="3971548" y="222490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95" name="Graphic 131">
                  <a:extLst>
                    <a:ext uri="{FF2B5EF4-FFF2-40B4-BE49-F238E27FC236}">
                      <a16:creationId xmlns:a16="http://schemas.microsoft.com/office/drawing/2014/main" id="{C0B70B58-A16D-4E09-9DFB-A576ACD337EF}"/>
                    </a:ext>
                  </a:extLst>
                </p:cNvPr>
                <p:cNvGrpSpPr/>
                <p:nvPr/>
              </p:nvGrpSpPr>
              <p:grpSpPr>
                <a:xfrm>
                  <a:off x="4128625" y="2382017"/>
                  <a:ext cx="546888" cy="546828"/>
                  <a:chOff x="5640760" y="1728055"/>
                  <a:chExt cx="792873" cy="792786"/>
                </a:xfrm>
              </p:grpSpPr>
              <p:sp>
                <p:nvSpPr>
                  <p:cNvPr id="196" name="Freeform: Shape 195">
                    <a:extLst>
                      <a:ext uri="{FF2B5EF4-FFF2-40B4-BE49-F238E27FC236}">
                        <a16:creationId xmlns:a16="http://schemas.microsoft.com/office/drawing/2014/main" id="{76A0A1F2-7A0C-45ED-88F6-BAF50166CF58}"/>
                      </a:ext>
                    </a:extLst>
                  </p:cNvPr>
                  <p:cNvSpPr/>
                  <p:nvPr/>
                </p:nvSpPr>
                <p:spPr>
                  <a:xfrm>
                    <a:off x="5753696" y="1840991"/>
                    <a:ext cx="536448" cy="536448"/>
                  </a:xfrm>
                  <a:custGeom>
                    <a:avLst/>
                    <a:gdLst>
                      <a:gd name="connsiteX0" fmla="*/ 179731 w 536448"/>
                      <a:gd name="connsiteY0" fmla="*/ 486439 h 536448"/>
                      <a:gd name="connsiteX1" fmla="*/ 345155 w 536448"/>
                      <a:gd name="connsiteY1" fmla="*/ 345155 h 536448"/>
                      <a:gd name="connsiteX2" fmla="*/ 486552 w 536448"/>
                      <a:gd name="connsiteY2" fmla="*/ 179901 h 536448"/>
                      <a:gd name="connsiteX3" fmla="*/ 288517 w 536448"/>
                      <a:gd name="connsiteY3" fmla="*/ 62644 h 536448"/>
                      <a:gd name="connsiteX4" fmla="*/ 62644 w 536448"/>
                      <a:gd name="connsiteY4" fmla="*/ 288517 h 536448"/>
                      <a:gd name="connsiteX5" fmla="*/ 179731 w 536448"/>
                      <a:gd name="connsiteY5" fmla="*/ 486439 h 536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448" h="536448">
                        <a:moveTo>
                          <a:pt x="179731" y="486439"/>
                        </a:moveTo>
                        <a:cubicBezTo>
                          <a:pt x="228576" y="452021"/>
                          <a:pt x="284649" y="405661"/>
                          <a:pt x="345155" y="345155"/>
                        </a:cubicBezTo>
                        <a:cubicBezTo>
                          <a:pt x="407298" y="283012"/>
                          <a:pt x="452981" y="227504"/>
                          <a:pt x="486552" y="179901"/>
                        </a:cubicBezTo>
                        <a:cubicBezTo>
                          <a:pt x="448153" y="110021"/>
                          <a:pt x="373897" y="62644"/>
                          <a:pt x="288517" y="62644"/>
                        </a:cubicBezTo>
                        <a:cubicBezTo>
                          <a:pt x="163779" y="62644"/>
                          <a:pt x="62644" y="163779"/>
                          <a:pt x="62644" y="288517"/>
                        </a:cubicBezTo>
                        <a:cubicBezTo>
                          <a:pt x="62644" y="373813"/>
                          <a:pt x="109937" y="448012"/>
                          <a:pt x="179731" y="486439"/>
                        </a:cubicBezTo>
                        <a:close/>
                      </a:path>
                    </a:pathLst>
                  </a:custGeom>
                  <a:noFill/>
                  <a:ln w="12700" cap="flat">
                    <a:solidFill>
                      <a:srgbClr val="0078D7"/>
                    </a:solid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0ABF4E20-DB91-4279-96F3-C7F0FB076E84}"/>
                      </a:ext>
                    </a:extLst>
                  </p:cNvPr>
                  <p:cNvSpPr/>
                  <p:nvPr/>
                </p:nvSpPr>
                <p:spPr>
                  <a:xfrm>
                    <a:off x="5974176" y="2061471"/>
                    <a:ext cx="338810" cy="338810"/>
                  </a:xfrm>
                  <a:custGeom>
                    <a:avLst/>
                    <a:gdLst>
                      <a:gd name="connsiteX0" fmla="*/ 184559 w 338809"/>
                      <a:gd name="connsiteY0" fmla="*/ 184559 h 338809"/>
                      <a:gd name="connsiteX1" fmla="*/ 62644 w 338809"/>
                      <a:gd name="connsiteY1" fmla="*/ 293628 h 338809"/>
                      <a:gd name="connsiteX2" fmla="*/ 68037 w 338809"/>
                      <a:gd name="connsiteY2" fmla="*/ 293910 h 338809"/>
                      <a:gd name="connsiteX3" fmla="*/ 293910 w 338809"/>
                      <a:gd name="connsiteY3" fmla="*/ 68037 h 338809"/>
                      <a:gd name="connsiteX4" fmla="*/ 293628 w 338809"/>
                      <a:gd name="connsiteY4" fmla="*/ 62644 h 338809"/>
                      <a:gd name="connsiteX5" fmla="*/ 184559 w 338809"/>
                      <a:gd name="connsiteY5" fmla="*/ 184559 h 33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809" h="338809">
                        <a:moveTo>
                          <a:pt x="184559" y="184559"/>
                        </a:moveTo>
                        <a:cubicBezTo>
                          <a:pt x="144185" y="224906"/>
                          <a:pt x="103019" y="261497"/>
                          <a:pt x="62644" y="293628"/>
                        </a:cubicBezTo>
                        <a:cubicBezTo>
                          <a:pt x="64451" y="293684"/>
                          <a:pt x="66230" y="293910"/>
                          <a:pt x="68037" y="293910"/>
                        </a:cubicBezTo>
                        <a:cubicBezTo>
                          <a:pt x="192776" y="293910"/>
                          <a:pt x="293910" y="192776"/>
                          <a:pt x="293910" y="68037"/>
                        </a:cubicBezTo>
                        <a:cubicBezTo>
                          <a:pt x="293910" y="66202"/>
                          <a:pt x="293684" y="64451"/>
                          <a:pt x="293628" y="62644"/>
                        </a:cubicBezTo>
                        <a:cubicBezTo>
                          <a:pt x="260594" y="104064"/>
                          <a:pt x="223692" y="145427"/>
                          <a:pt x="184559" y="184559"/>
                        </a:cubicBezTo>
                        <a:close/>
                      </a:path>
                    </a:pathLst>
                  </a:custGeom>
                  <a:noFill/>
                  <a:ln w="12700" cap="flat">
                    <a:solidFill>
                      <a:srgbClr val="0078D7"/>
                    </a:solid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71939E76-2E26-467A-8720-1F3F9BDD40EA}"/>
                      </a:ext>
                    </a:extLst>
                  </p:cNvPr>
                  <p:cNvSpPr/>
                  <p:nvPr/>
                </p:nvSpPr>
                <p:spPr>
                  <a:xfrm>
                    <a:off x="5643077" y="1730285"/>
                    <a:ext cx="790556" cy="790556"/>
                  </a:xfrm>
                  <a:custGeom>
                    <a:avLst/>
                    <a:gdLst>
                      <a:gd name="connsiteX0" fmla="*/ 721486 w 790555"/>
                      <a:gd name="connsiteY0" fmla="*/ 76874 h 790555"/>
                      <a:gd name="connsiteX1" fmla="*/ 680236 w 790555"/>
                      <a:gd name="connsiteY1" fmla="*/ 62644 h 790555"/>
                      <a:gd name="connsiteX2" fmla="*/ 473788 w 790555"/>
                      <a:gd name="connsiteY2" fmla="*/ 156608 h 790555"/>
                      <a:gd name="connsiteX3" fmla="*/ 505777 w 790555"/>
                      <a:gd name="connsiteY3" fmla="*/ 168833 h 790555"/>
                      <a:gd name="connsiteX4" fmla="*/ 680264 w 790555"/>
                      <a:gd name="connsiteY4" fmla="*/ 90879 h 790555"/>
                      <a:gd name="connsiteX5" fmla="*/ 701552 w 790555"/>
                      <a:gd name="connsiteY5" fmla="*/ 96836 h 790555"/>
                      <a:gd name="connsiteX6" fmla="*/ 475764 w 790555"/>
                      <a:gd name="connsiteY6" fmla="*/ 475794 h 790555"/>
                      <a:gd name="connsiteX7" fmla="*/ 118094 w 790555"/>
                      <a:gd name="connsiteY7" fmla="*/ 707540 h 790555"/>
                      <a:gd name="connsiteX8" fmla="*/ 96806 w 790555"/>
                      <a:gd name="connsiteY8" fmla="*/ 701583 h 790555"/>
                      <a:gd name="connsiteX9" fmla="*/ 168577 w 790555"/>
                      <a:gd name="connsiteY9" fmla="*/ 505384 h 790555"/>
                      <a:gd name="connsiteX10" fmla="*/ 156577 w 790555"/>
                      <a:gd name="connsiteY10" fmla="*/ 473818 h 790555"/>
                      <a:gd name="connsiteX11" fmla="*/ 76844 w 790555"/>
                      <a:gd name="connsiteY11" fmla="*/ 721544 h 790555"/>
                      <a:gd name="connsiteX12" fmla="*/ 118094 w 790555"/>
                      <a:gd name="connsiteY12" fmla="*/ 735774 h 790555"/>
                      <a:gd name="connsiteX13" fmla="*/ 495726 w 790555"/>
                      <a:gd name="connsiteY13" fmla="*/ 495756 h 790555"/>
                      <a:gd name="connsiteX14" fmla="*/ 721486 w 790555"/>
                      <a:gd name="connsiteY14" fmla="*/ 76874 h 79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55" h="790555">
                        <a:moveTo>
                          <a:pt x="721486" y="76874"/>
                        </a:moveTo>
                        <a:cubicBezTo>
                          <a:pt x="711830" y="67218"/>
                          <a:pt x="697797" y="62644"/>
                          <a:pt x="680236" y="62644"/>
                        </a:cubicBezTo>
                        <a:cubicBezTo>
                          <a:pt x="632153" y="62644"/>
                          <a:pt x="557474" y="97231"/>
                          <a:pt x="473788" y="156608"/>
                        </a:cubicBezTo>
                        <a:cubicBezTo>
                          <a:pt x="484771" y="160024"/>
                          <a:pt x="495471" y="164005"/>
                          <a:pt x="505777" y="168833"/>
                        </a:cubicBezTo>
                        <a:cubicBezTo>
                          <a:pt x="581501" y="117419"/>
                          <a:pt x="644237" y="90879"/>
                          <a:pt x="680264" y="90879"/>
                        </a:cubicBezTo>
                        <a:cubicBezTo>
                          <a:pt x="687238" y="90879"/>
                          <a:pt x="696611" y="91923"/>
                          <a:pt x="701552" y="96836"/>
                        </a:cubicBezTo>
                        <a:cubicBezTo>
                          <a:pt x="728290" y="123574"/>
                          <a:pt x="674278" y="277280"/>
                          <a:pt x="475764" y="475794"/>
                        </a:cubicBezTo>
                        <a:cubicBezTo>
                          <a:pt x="323610" y="627948"/>
                          <a:pt x="180661" y="707540"/>
                          <a:pt x="118094" y="707540"/>
                        </a:cubicBezTo>
                        <a:cubicBezTo>
                          <a:pt x="111092" y="707540"/>
                          <a:pt x="101747" y="706495"/>
                          <a:pt x="96806" y="701583"/>
                        </a:cubicBezTo>
                        <a:cubicBezTo>
                          <a:pt x="79131" y="683908"/>
                          <a:pt x="97116" y="610443"/>
                          <a:pt x="168577" y="505384"/>
                        </a:cubicBezTo>
                        <a:cubicBezTo>
                          <a:pt x="163862" y="495219"/>
                          <a:pt x="159937" y="484660"/>
                          <a:pt x="156577" y="473818"/>
                        </a:cubicBezTo>
                        <a:cubicBezTo>
                          <a:pt x="75489" y="588082"/>
                          <a:pt x="40817" y="685489"/>
                          <a:pt x="76844" y="721544"/>
                        </a:cubicBezTo>
                        <a:cubicBezTo>
                          <a:pt x="86500" y="731200"/>
                          <a:pt x="100532" y="735774"/>
                          <a:pt x="118094" y="735774"/>
                        </a:cubicBezTo>
                        <a:cubicBezTo>
                          <a:pt x="197686" y="735774"/>
                          <a:pt x="349896" y="641557"/>
                          <a:pt x="495726" y="495756"/>
                        </a:cubicBezTo>
                        <a:cubicBezTo>
                          <a:pt x="673713" y="317740"/>
                          <a:pt x="774792" y="130209"/>
                          <a:pt x="721486" y="76874"/>
                        </a:cubicBezTo>
                        <a:close/>
                      </a:path>
                    </a:pathLst>
                  </a:custGeom>
                  <a:solidFill>
                    <a:srgbClr val="0078D7"/>
                  </a:solidFill>
                  <a:ln w="28178"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481D4F09-AD6C-452A-A11E-FB97C120BD1D}"/>
                      </a:ext>
                    </a:extLst>
                  </p:cNvPr>
                  <p:cNvSpPr/>
                  <p:nvPr/>
                </p:nvSpPr>
                <p:spPr>
                  <a:xfrm>
                    <a:off x="5640760" y="1728055"/>
                    <a:ext cx="338810" cy="338810"/>
                  </a:xfrm>
                  <a:custGeom>
                    <a:avLst/>
                    <a:gdLst>
                      <a:gd name="connsiteX0" fmla="*/ 175581 w 338809"/>
                      <a:gd name="connsiteY0" fmla="*/ 62644 h 338809"/>
                      <a:gd name="connsiteX1" fmla="*/ 62644 w 338809"/>
                      <a:gd name="connsiteY1" fmla="*/ 175581 h 338809"/>
                      <a:gd name="connsiteX2" fmla="*/ 175581 w 338809"/>
                      <a:gd name="connsiteY2" fmla="*/ 288517 h 338809"/>
                      <a:gd name="connsiteX3" fmla="*/ 288517 w 338809"/>
                      <a:gd name="connsiteY3" fmla="*/ 175581 h 338809"/>
                      <a:gd name="connsiteX4" fmla="*/ 175581 w 338809"/>
                      <a:gd name="connsiteY4" fmla="*/ 62644 h 338809"/>
                      <a:gd name="connsiteX5" fmla="*/ 175581 w 338809"/>
                      <a:gd name="connsiteY5" fmla="*/ 62644 h 33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809" h="338809">
                        <a:moveTo>
                          <a:pt x="175581" y="62644"/>
                        </a:moveTo>
                        <a:cubicBezTo>
                          <a:pt x="175581" y="125014"/>
                          <a:pt x="125014" y="175581"/>
                          <a:pt x="62644" y="175581"/>
                        </a:cubicBezTo>
                        <a:cubicBezTo>
                          <a:pt x="125014" y="175581"/>
                          <a:pt x="175581" y="226148"/>
                          <a:pt x="175581" y="288517"/>
                        </a:cubicBezTo>
                        <a:cubicBezTo>
                          <a:pt x="175581" y="226148"/>
                          <a:pt x="226148" y="175581"/>
                          <a:pt x="288517" y="175581"/>
                        </a:cubicBezTo>
                        <a:cubicBezTo>
                          <a:pt x="226148" y="175581"/>
                          <a:pt x="175581" y="125014"/>
                          <a:pt x="175581" y="62644"/>
                        </a:cubicBezTo>
                        <a:lnTo>
                          <a:pt x="175581" y="62644"/>
                        </a:lnTo>
                        <a:close/>
                      </a:path>
                    </a:pathLst>
                  </a:custGeom>
                  <a:solidFill>
                    <a:srgbClr val="0078D7"/>
                  </a:solidFill>
                  <a:ln w="28178"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58BB8FBA-38C5-4000-B0FA-ACC20A9B5717}"/>
                      </a:ext>
                    </a:extLst>
                  </p:cNvPr>
                  <p:cNvSpPr/>
                  <p:nvPr/>
                </p:nvSpPr>
                <p:spPr>
                  <a:xfrm>
                    <a:off x="6148974" y="2236269"/>
                    <a:ext cx="282341" cy="282341"/>
                  </a:xfrm>
                  <a:custGeom>
                    <a:avLst/>
                    <a:gdLst>
                      <a:gd name="connsiteX0" fmla="*/ 147347 w 282341"/>
                      <a:gd name="connsiteY0" fmla="*/ 62644 h 282341"/>
                      <a:gd name="connsiteX1" fmla="*/ 62644 w 282341"/>
                      <a:gd name="connsiteY1" fmla="*/ 147347 h 282341"/>
                      <a:gd name="connsiteX2" fmla="*/ 147347 w 282341"/>
                      <a:gd name="connsiteY2" fmla="*/ 232049 h 282341"/>
                      <a:gd name="connsiteX3" fmla="*/ 232049 w 282341"/>
                      <a:gd name="connsiteY3" fmla="*/ 147347 h 282341"/>
                      <a:gd name="connsiteX4" fmla="*/ 147347 w 282341"/>
                      <a:gd name="connsiteY4" fmla="*/ 62644 h 282341"/>
                      <a:gd name="connsiteX5" fmla="*/ 147347 w 282341"/>
                      <a:gd name="connsiteY5" fmla="*/ 62644 h 282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2341" h="282341">
                        <a:moveTo>
                          <a:pt x="147347" y="62644"/>
                        </a:moveTo>
                        <a:cubicBezTo>
                          <a:pt x="147347" y="109428"/>
                          <a:pt x="109428" y="147347"/>
                          <a:pt x="62644" y="147347"/>
                        </a:cubicBezTo>
                        <a:cubicBezTo>
                          <a:pt x="109428" y="147347"/>
                          <a:pt x="147347" y="185265"/>
                          <a:pt x="147347" y="232049"/>
                        </a:cubicBezTo>
                        <a:cubicBezTo>
                          <a:pt x="147347" y="185265"/>
                          <a:pt x="185265" y="147347"/>
                          <a:pt x="232049" y="147347"/>
                        </a:cubicBezTo>
                        <a:cubicBezTo>
                          <a:pt x="185265" y="147347"/>
                          <a:pt x="147347" y="109428"/>
                          <a:pt x="147347" y="62644"/>
                        </a:cubicBezTo>
                        <a:lnTo>
                          <a:pt x="147347" y="62644"/>
                        </a:lnTo>
                        <a:close/>
                      </a:path>
                    </a:pathLst>
                  </a:custGeom>
                  <a:solidFill>
                    <a:srgbClr val="0078D7"/>
                  </a:solidFill>
                  <a:ln w="28178"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A848D289-9207-4C78-80E6-7B7C31262EEF}"/>
                      </a:ext>
                    </a:extLst>
                  </p:cNvPr>
                  <p:cNvSpPr/>
                  <p:nvPr/>
                </p:nvSpPr>
                <p:spPr>
                  <a:xfrm>
                    <a:off x="5753696" y="2024513"/>
                    <a:ext cx="310575" cy="310575"/>
                  </a:xfrm>
                  <a:custGeom>
                    <a:avLst/>
                    <a:gdLst>
                      <a:gd name="connsiteX0" fmla="*/ 193623 w 310575"/>
                      <a:gd name="connsiteY0" fmla="*/ 138707 h 310575"/>
                      <a:gd name="connsiteX1" fmla="*/ 184390 w 310575"/>
                      <a:gd name="connsiteY1" fmla="*/ 138707 h 310575"/>
                      <a:gd name="connsiteX2" fmla="*/ 186112 w 310575"/>
                      <a:gd name="connsiteY2" fmla="*/ 124308 h 310575"/>
                      <a:gd name="connsiteX3" fmla="*/ 124449 w 310575"/>
                      <a:gd name="connsiteY3" fmla="*/ 62644 h 310575"/>
                      <a:gd name="connsiteX4" fmla="*/ 66767 w 310575"/>
                      <a:gd name="connsiteY4" fmla="*/ 62644 h 310575"/>
                      <a:gd name="connsiteX5" fmla="*/ 62644 w 310575"/>
                      <a:gd name="connsiteY5" fmla="*/ 104996 h 310575"/>
                      <a:gd name="connsiteX6" fmla="*/ 126397 w 310575"/>
                      <a:gd name="connsiteY6" fmla="*/ 262062 h 310575"/>
                      <a:gd name="connsiteX7" fmla="*/ 193623 w 310575"/>
                      <a:gd name="connsiteY7" fmla="*/ 262062 h 310575"/>
                      <a:gd name="connsiteX8" fmla="*/ 255286 w 310575"/>
                      <a:gd name="connsiteY8" fmla="*/ 200399 h 310575"/>
                      <a:gd name="connsiteX9" fmla="*/ 193623 w 310575"/>
                      <a:gd name="connsiteY9" fmla="*/ 138707 h 31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575" h="310575">
                        <a:moveTo>
                          <a:pt x="193623" y="138707"/>
                        </a:moveTo>
                        <a:lnTo>
                          <a:pt x="184390" y="138707"/>
                        </a:lnTo>
                        <a:cubicBezTo>
                          <a:pt x="185548" y="134105"/>
                          <a:pt x="186112" y="129475"/>
                          <a:pt x="186112" y="124308"/>
                        </a:cubicBezTo>
                        <a:cubicBezTo>
                          <a:pt x="186112" y="90286"/>
                          <a:pt x="158443" y="62644"/>
                          <a:pt x="124449" y="62644"/>
                        </a:cubicBezTo>
                        <a:lnTo>
                          <a:pt x="66767" y="62644"/>
                        </a:lnTo>
                        <a:cubicBezTo>
                          <a:pt x="64141" y="76366"/>
                          <a:pt x="62644" y="90512"/>
                          <a:pt x="62644" y="104996"/>
                        </a:cubicBezTo>
                        <a:cubicBezTo>
                          <a:pt x="62644" y="166094"/>
                          <a:pt x="87011" y="221405"/>
                          <a:pt x="126397" y="262062"/>
                        </a:cubicBezTo>
                        <a:lnTo>
                          <a:pt x="193623" y="262062"/>
                        </a:lnTo>
                        <a:cubicBezTo>
                          <a:pt x="227645" y="262062"/>
                          <a:pt x="255286" y="234393"/>
                          <a:pt x="255286" y="200399"/>
                        </a:cubicBezTo>
                        <a:cubicBezTo>
                          <a:pt x="255286" y="166377"/>
                          <a:pt x="227616" y="138707"/>
                          <a:pt x="193623" y="138707"/>
                        </a:cubicBezTo>
                        <a:close/>
                      </a:path>
                    </a:pathLst>
                  </a:custGeom>
                  <a:solidFill>
                    <a:srgbClr val="0078D7"/>
                  </a:solidFill>
                  <a:ln w="28178"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9BF20DEB-45F3-4297-80AF-B10147BEF6E5}"/>
                      </a:ext>
                    </a:extLst>
                  </p:cNvPr>
                  <p:cNvSpPr/>
                  <p:nvPr/>
                </p:nvSpPr>
                <p:spPr>
                  <a:xfrm>
                    <a:off x="6036066" y="2098910"/>
                    <a:ext cx="141171" cy="141171"/>
                  </a:xfrm>
                  <a:custGeom>
                    <a:avLst/>
                    <a:gdLst>
                      <a:gd name="connsiteX0" fmla="*/ 62644 w 141170"/>
                      <a:gd name="connsiteY0" fmla="*/ 87378 h 141170"/>
                      <a:gd name="connsiteX1" fmla="*/ 62786 w 141170"/>
                      <a:gd name="connsiteY1" fmla="*/ 87236 h 141170"/>
                      <a:gd name="connsiteX2" fmla="*/ 86700 w 141170"/>
                      <a:gd name="connsiteY2" fmla="*/ 62644 h 141170"/>
                      <a:gd name="connsiteX3" fmla="*/ 62644 w 141170"/>
                      <a:gd name="connsiteY3" fmla="*/ 87378 h 141170"/>
                    </a:gdLst>
                    <a:ahLst/>
                    <a:cxnLst>
                      <a:cxn ang="0">
                        <a:pos x="connsiteX0" y="connsiteY0"/>
                      </a:cxn>
                      <a:cxn ang="0">
                        <a:pos x="connsiteX1" y="connsiteY1"/>
                      </a:cxn>
                      <a:cxn ang="0">
                        <a:pos x="connsiteX2" y="connsiteY2"/>
                      </a:cxn>
                      <a:cxn ang="0">
                        <a:pos x="connsiteX3" y="connsiteY3"/>
                      </a:cxn>
                    </a:cxnLst>
                    <a:rect l="l" t="t" r="r" b="b"/>
                    <a:pathLst>
                      <a:path w="141170" h="141170">
                        <a:moveTo>
                          <a:pt x="62644" y="87378"/>
                        </a:moveTo>
                        <a:cubicBezTo>
                          <a:pt x="62701" y="87321"/>
                          <a:pt x="62729" y="87293"/>
                          <a:pt x="62786" y="87236"/>
                        </a:cubicBezTo>
                        <a:cubicBezTo>
                          <a:pt x="71143" y="78879"/>
                          <a:pt x="78936" y="70748"/>
                          <a:pt x="86700" y="62644"/>
                        </a:cubicBezTo>
                        <a:cubicBezTo>
                          <a:pt x="76169" y="67952"/>
                          <a:pt x="67642" y="76649"/>
                          <a:pt x="62644" y="87378"/>
                        </a:cubicBezTo>
                        <a:close/>
                      </a:path>
                    </a:pathLst>
                  </a:custGeom>
                  <a:solidFill>
                    <a:srgbClr val="59B4D9"/>
                  </a:solidFill>
                  <a:ln w="28178"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4D208149-2EF2-4D38-999A-EAE38AA343BC}"/>
                      </a:ext>
                    </a:extLst>
                  </p:cNvPr>
                  <p:cNvSpPr/>
                  <p:nvPr/>
                </p:nvSpPr>
                <p:spPr>
                  <a:xfrm>
                    <a:off x="5933660" y="1863663"/>
                    <a:ext cx="367044" cy="282341"/>
                  </a:xfrm>
                  <a:custGeom>
                    <a:avLst/>
                    <a:gdLst>
                      <a:gd name="connsiteX0" fmla="*/ 127216 w 367043"/>
                      <a:gd name="connsiteY0" fmla="*/ 244218 h 282341"/>
                      <a:gd name="connsiteX1" fmla="*/ 238063 w 367043"/>
                      <a:gd name="connsiteY1" fmla="*/ 244218 h 282341"/>
                      <a:gd name="connsiteX2" fmla="*/ 306446 w 367043"/>
                      <a:gd name="connsiteY2" fmla="*/ 157455 h 282341"/>
                      <a:gd name="connsiteX3" fmla="*/ 206751 w 367043"/>
                      <a:gd name="connsiteY3" fmla="*/ 62644 h 282341"/>
                      <a:gd name="connsiteX4" fmla="*/ 194074 w 367043"/>
                      <a:gd name="connsiteY4" fmla="*/ 62644 h 282341"/>
                      <a:gd name="connsiteX5" fmla="*/ 152570 w 367043"/>
                      <a:gd name="connsiteY5" fmla="*/ 104149 h 282341"/>
                      <a:gd name="connsiteX6" fmla="*/ 154292 w 367043"/>
                      <a:gd name="connsiteY6" fmla="*/ 115103 h 282341"/>
                      <a:gd name="connsiteX7" fmla="*/ 127781 w 367043"/>
                      <a:gd name="connsiteY7" fmla="*/ 115103 h 282341"/>
                      <a:gd name="connsiteX8" fmla="*/ 62644 w 367043"/>
                      <a:gd name="connsiteY8" fmla="*/ 179647 h 282341"/>
                      <a:gd name="connsiteX9" fmla="*/ 127216 w 367043"/>
                      <a:gd name="connsiteY9" fmla="*/ 244218 h 282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7043" h="282341">
                        <a:moveTo>
                          <a:pt x="127216" y="244218"/>
                        </a:moveTo>
                        <a:lnTo>
                          <a:pt x="238063" y="244218"/>
                        </a:lnTo>
                        <a:cubicBezTo>
                          <a:pt x="265111" y="212963"/>
                          <a:pt x="287727" y="183967"/>
                          <a:pt x="306446" y="157455"/>
                        </a:cubicBezTo>
                        <a:cubicBezTo>
                          <a:pt x="283887" y="116459"/>
                          <a:pt x="249074" y="83114"/>
                          <a:pt x="206751" y="62644"/>
                        </a:cubicBezTo>
                        <a:lnTo>
                          <a:pt x="194074" y="62644"/>
                        </a:lnTo>
                        <a:cubicBezTo>
                          <a:pt x="171007" y="62644"/>
                          <a:pt x="152570" y="81081"/>
                          <a:pt x="152570" y="104149"/>
                        </a:cubicBezTo>
                        <a:cubicBezTo>
                          <a:pt x="152570" y="107593"/>
                          <a:pt x="153135" y="111631"/>
                          <a:pt x="154292" y="115103"/>
                        </a:cubicBezTo>
                        <a:lnTo>
                          <a:pt x="127781" y="115103"/>
                        </a:lnTo>
                        <a:cubicBezTo>
                          <a:pt x="91472" y="115103"/>
                          <a:pt x="62644" y="143931"/>
                          <a:pt x="62644" y="179647"/>
                        </a:cubicBezTo>
                        <a:cubicBezTo>
                          <a:pt x="62644" y="215363"/>
                          <a:pt x="91472" y="244218"/>
                          <a:pt x="127216" y="244218"/>
                        </a:cubicBezTo>
                        <a:close/>
                      </a:path>
                    </a:pathLst>
                  </a:custGeom>
                  <a:solidFill>
                    <a:srgbClr val="0078D7"/>
                  </a:solidFill>
                  <a:ln w="28178" cap="flat">
                    <a:noFill/>
                    <a:prstDash val="solid"/>
                    <a:miter/>
                  </a:ln>
                </p:spPr>
                <p:txBody>
                  <a:bodyPr rtlCol="0" anchor="ctr"/>
                  <a:lstStyle/>
                  <a:p>
                    <a:endParaRPr lang="en-US"/>
                  </a:p>
                </p:txBody>
              </p:sp>
            </p:grpSp>
          </p:grpSp>
          <p:grpSp>
            <p:nvGrpSpPr>
              <p:cNvPr id="180" name="Group 179">
                <a:extLst>
                  <a:ext uri="{FF2B5EF4-FFF2-40B4-BE49-F238E27FC236}">
                    <a16:creationId xmlns:a16="http://schemas.microsoft.com/office/drawing/2014/main" id="{56E52D45-AF81-4109-91FE-2441F6AC7087}"/>
                  </a:ext>
                </a:extLst>
              </p:cNvPr>
              <p:cNvGrpSpPr/>
              <p:nvPr/>
            </p:nvGrpSpPr>
            <p:grpSpPr>
              <a:xfrm>
                <a:off x="4526400" y="3328090"/>
                <a:ext cx="861056" cy="861056"/>
                <a:chOff x="4526400" y="3328090"/>
                <a:chExt cx="861056" cy="861056"/>
              </a:xfrm>
            </p:grpSpPr>
            <p:sp>
              <p:nvSpPr>
                <p:cNvPr id="192" name="Oval 191">
                  <a:extLst>
                    <a:ext uri="{FF2B5EF4-FFF2-40B4-BE49-F238E27FC236}">
                      <a16:creationId xmlns:a16="http://schemas.microsoft.com/office/drawing/2014/main" id="{8B5C2C10-9C53-4CB4-AE10-DDB8EA9D1ABF}"/>
                    </a:ext>
                  </a:extLst>
                </p:cNvPr>
                <p:cNvSpPr/>
                <p:nvPr/>
              </p:nvSpPr>
              <p:spPr bwMode="auto">
                <a:xfrm>
                  <a:off x="4526400" y="332809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93" name="Graphic 192">
                  <a:extLst>
                    <a:ext uri="{FF2B5EF4-FFF2-40B4-BE49-F238E27FC236}">
                      <a16:creationId xmlns:a16="http://schemas.microsoft.com/office/drawing/2014/main" id="{429067A5-BA85-49FD-AD36-8085CD3A36C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50767" y="3552457"/>
                  <a:ext cx="412322" cy="412322"/>
                </a:xfrm>
                <a:prstGeom prst="rect">
                  <a:avLst/>
                </a:prstGeom>
              </p:spPr>
            </p:pic>
          </p:grpSp>
          <p:grpSp>
            <p:nvGrpSpPr>
              <p:cNvPr id="181" name="Group 180">
                <a:extLst>
                  <a:ext uri="{FF2B5EF4-FFF2-40B4-BE49-F238E27FC236}">
                    <a16:creationId xmlns:a16="http://schemas.microsoft.com/office/drawing/2014/main" id="{8B5B3361-15C7-44B2-9BAB-897F2FCE0803}"/>
                  </a:ext>
                </a:extLst>
              </p:cNvPr>
              <p:cNvGrpSpPr/>
              <p:nvPr/>
            </p:nvGrpSpPr>
            <p:grpSpPr>
              <a:xfrm>
                <a:off x="4288386" y="4532060"/>
                <a:ext cx="861056" cy="861056"/>
                <a:chOff x="4288386" y="4532060"/>
                <a:chExt cx="861056" cy="861056"/>
              </a:xfrm>
            </p:grpSpPr>
            <p:sp>
              <p:nvSpPr>
                <p:cNvPr id="190" name="Oval 189">
                  <a:extLst>
                    <a:ext uri="{FF2B5EF4-FFF2-40B4-BE49-F238E27FC236}">
                      <a16:creationId xmlns:a16="http://schemas.microsoft.com/office/drawing/2014/main" id="{6422C521-FB63-407F-8BA3-ED0521733873}"/>
                    </a:ext>
                  </a:extLst>
                </p:cNvPr>
                <p:cNvSpPr/>
                <p:nvPr/>
              </p:nvSpPr>
              <p:spPr bwMode="auto">
                <a:xfrm>
                  <a:off x="4288386" y="453206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91" name="Graphic 190">
                  <a:extLst>
                    <a:ext uri="{FF2B5EF4-FFF2-40B4-BE49-F238E27FC236}">
                      <a16:creationId xmlns:a16="http://schemas.microsoft.com/office/drawing/2014/main" id="{22179DBC-1AFA-462F-917A-F2F0129B491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01534" y="4745208"/>
                  <a:ext cx="434761" cy="434761"/>
                </a:xfrm>
                <a:prstGeom prst="rect">
                  <a:avLst/>
                </a:prstGeom>
              </p:spPr>
            </p:pic>
          </p:grpSp>
          <p:grpSp>
            <p:nvGrpSpPr>
              <p:cNvPr id="182" name="Group 181">
                <a:extLst>
                  <a:ext uri="{FF2B5EF4-FFF2-40B4-BE49-F238E27FC236}">
                    <a16:creationId xmlns:a16="http://schemas.microsoft.com/office/drawing/2014/main" id="{80E72006-90CC-499C-87FC-622E1D7FC4FC}"/>
                  </a:ext>
                </a:extLst>
              </p:cNvPr>
              <p:cNvGrpSpPr/>
              <p:nvPr/>
            </p:nvGrpSpPr>
            <p:grpSpPr>
              <a:xfrm>
                <a:off x="1304037" y="4749783"/>
                <a:ext cx="502313" cy="399558"/>
                <a:chOff x="3873341" y="3044666"/>
                <a:chExt cx="833438" cy="662940"/>
              </a:xfrm>
              <a:solidFill>
                <a:srgbClr val="0078D7"/>
              </a:solidFill>
            </p:grpSpPr>
            <p:sp>
              <p:nvSpPr>
                <p:cNvPr id="184" name="Freeform: Shape 183">
                  <a:extLst>
                    <a:ext uri="{FF2B5EF4-FFF2-40B4-BE49-F238E27FC236}">
                      <a16:creationId xmlns:a16="http://schemas.microsoft.com/office/drawing/2014/main" id="{F65DF1F9-C05C-4F79-8C1B-D0851E09EE23}"/>
                    </a:ext>
                  </a:extLst>
                </p:cNvPr>
                <p:cNvSpPr/>
                <p:nvPr/>
              </p:nvSpPr>
              <p:spPr>
                <a:xfrm>
                  <a:off x="4521041" y="3387566"/>
                  <a:ext cx="104775" cy="152400"/>
                </a:xfrm>
                <a:custGeom>
                  <a:avLst/>
                  <a:gdLst>
                    <a:gd name="connsiteX0" fmla="*/ 7144 w 104775"/>
                    <a:gd name="connsiteY0" fmla="*/ 150019 h 152400"/>
                    <a:gd name="connsiteX1" fmla="*/ 105251 w 104775"/>
                    <a:gd name="connsiteY1" fmla="*/ 78581 h 152400"/>
                    <a:gd name="connsiteX2" fmla="*/ 7144 w 104775"/>
                    <a:gd name="connsiteY2" fmla="*/ 7144 h 152400"/>
                  </a:gdLst>
                  <a:ahLst/>
                  <a:cxnLst>
                    <a:cxn ang="0">
                      <a:pos x="connsiteX0" y="connsiteY0"/>
                    </a:cxn>
                    <a:cxn ang="0">
                      <a:pos x="connsiteX1" y="connsiteY1"/>
                    </a:cxn>
                    <a:cxn ang="0">
                      <a:pos x="connsiteX2" y="connsiteY2"/>
                    </a:cxn>
                  </a:cxnLst>
                  <a:rect l="l" t="t" r="r" b="b"/>
                  <a:pathLst>
                    <a:path w="104775" h="152400">
                      <a:moveTo>
                        <a:pt x="7144" y="150019"/>
                      </a:moveTo>
                      <a:lnTo>
                        <a:pt x="105251" y="78581"/>
                      </a:lnTo>
                      <a:lnTo>
                        <a:pt x="7144" y="7144"/>
                      </a:lnTo>
                      <a:close/>
                    </a:path>
                  </a:pathLst>
                </a:custGeom>
                <a:grpFill/>
                <a:ln w="9525"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C767EF8E-BF02-4C96-9609-22483CA30197}"/>
                    </a:ext>
                  </a:extLst>
                </p:cNvPr>
                <p:cNvSpPr/>
                <p:nvPr/>
              </p:nvSpPr>
              <p:spPr>
                <a:xfrm>
                  <a:off x="3997166" y="3459004"/>
                  <a:ext cx="409575" cy="161925"/>
                </a:xfrm>
                <a:custGeom>
                  <a:avLst/>
                  <a:gdLst>
                    <a:gd name="connsiteX0" fmla="*/ 407194 w 409575"/>
                    <a:gd name="connsiteY0" fmla="*/ 121444 h 161925"/>
                    <a:gd name="connsiteX1" fmla="*/ 269081 w 409575"/>
                    <a:gd name="connsiteY1" fmla="*/ 7144 h 161925"/>
                    <a:gd name="connsiteX2" fmla="*/ 207169 w 409575"/>
                    <a:gd name="connsiteY2" fmla="*/ 7144 h 161925"/>
                    <a:gd name="connsiteX3" fmla="*/ 145256 w 409575"/>
                    <a:gd name="connsiteY3" fmla="*/ 7144 h 161925"/>
                    <a:gd name="connsiteX4" fmla="*/ 7144 w 409575"/>
                    <a:gd name="connsiteY4" fmla="*/ 121444 h 161925"/>
                    <a:gd name="connsiteX5" fmla="*/ 7144 w 409575"/>
                    <a:gd name="connsiteY5" fmla="*/ 159544 h 161925"/>
                    <a:gd name="connsiteX6" fmla="*/ 407194 w 409575"/>
                    <a:gd name="connsiteY6" fmla="*/ 159544 h 161925"/>
                    <a:gd name="connsiteX7" fmla="*/ 407194 w 409575"/>
                    <a:gd name="connsiteY7" fmla="*/ 121444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161925">
                      <a:moveTo>
                        <a:pt x="407194" y="121444"/>
                      </a:moveTo>
                      <a:cubicBezTo>
                        <a:pt x="257651" y="121444"/>
                        <a:pt x="269081" y="97631"/>
                        <a:pt x="269081" y="7144"/>
                      </a:cubicBezTo>
                      <a:lnTo>
                        <a:pt x="207169" y="7144"/>
                      </a:lnTo>
                      <a:lnTo>
                        <a:pt x="145256" y="7144"/>
                      </a:lnTo>
                      <a:cubicBezTo>
                        <a:pt x="145256" y="97631"/>
                        <a:pt x="156686" y="121444"/>
                        <a:pt x="7144" y="121444"/>
                      </a:cubicBezTo>
                      <a:lnTo>
                        <a:pt x="7144" y="159544"/>
                      </a:lnTo>
                      <a:lnTo>
                        <a:pt x="407194" y="159544"/>
                      </a:lnTo>
                      <a:lnTo>
                        <a:pt x="407194" y="121444"/>
                      </a:lnTo>
                      <a:close/>
                    </a:path>
                  </a:pathLst>
                </a:custGeom>
                <a:grpFill/>
                <a:ln w="9525"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B75740D6-27B8-444D-87B5-0D13C3200019}"/>
                    </a:ext>
                  </a:extLst>
                </p:cNvPr>
                <p:cNvSpPr/>
                <p:nvPr/>
              </p:nvSpPr>
              <p:spPr>
                <a:xfrm>
                  <a:off x="4136231" y="3201829"/>
                  <a:ext cx="133350" cy="133350"/>
                </a:xfrm>
                <a:custGeom>
                  <a:avLst/>
                  <a:gdLst>
                    <a:gd name="connsiteX0" fmla="*/ 68104 w 133350"/>
                    <a:gd name="connsiteY0" fmla="*/ 130016 h 133350"/>
                    <a:gd name="connsiteX1" fmla="*/ 7144 w 133350"/>
                    <a:gd name="connsiteY1" fmla="*/ 69056 h 133350"/>
                    <a:gd name="connsiteX2" fmla="*/ 68104 w 133350"/>
                    <a:gd name="connsiteY2" fmla="*/ 7144 h 133350"/>
                    <a:gd name="connsiteX3" fmla="*/ 130016 w 133350"/>
                    <a:gd name="connsiteY3" fmla="*/ 69056 h 133350"/>
                    <a:gd name="connsiteX4" fmla="*/ 68104 w 133350"/>
                    <a:gd name="connsiteY4" fmla="*/ 130016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68104" y="130016"/>
                      </a:moveTo>
                      <a:cubicBezTo>
                        <a:pt x="33814" y="130016"/>
                        <a:pt x="7144" y="102394"/>
                        <a:pt x="7144" y="69056"/>
                      </a:cubicBezTo>
                      <a:cubicBezTo>
                        <a:pt x="7144" y="34766"/>
                        <a:pt x="34766" y="7144"/>
                        <a:pt x="68104" y="7144"/>
                      </a:cubicBezTo>
                      <a:cubicBezTo>
                        <a:pt x="102394" y="7144"/>
                        <a:pt x="130016" y="34766"/>
                        <a:pt x="130016" y="69056"/>
                      </a:cubicBezTo>
                      <a:cubicBezTo>
                        <a:pt x="129064" y="103346"/>
                        <a:pt x="101441" y="130016"/>
                        <a:pt x="68104" y="130016"/>
                      </a:cubicBezTo>
                      <a:close/>
                    </a:path>
                  </a:pathLst>
                </a:custGeom>
                <a:grpFill/>
                <a:ln w="9525"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C11BB5A0-816B-4A78-8763-9A970B7A7ED2}"/>
                    </a:ext>
                  </a:extLst>
                </p:cNvPr>
                <p:cNvSpPr/>
                <p:nvPr/>
              </p:nvSpPr>
              <p:spPr>
                <a:xfrm>
                  <a:off x="4521041" y="3382804"/>
                  <a:ext cx="104775" cy="161925"/>
                </a:xfrm>
                <a:custGeom>
                  <a:avLst/>
                  <a:gdLst>
                    <a:gd name="connsiteX0" fmla="*/ 7144 w 104775"/>
                    <a:gd name="connsiteY0" fmla="*/ 159544 h 161925"/>
                    <a:gd name="connsiteX1" fmla="*/ 105251 w 104775"/>
                    <a:gd name="connsiteY1" fmla="*/ 83344 h 161925"/>
                    <a:gd name="connsiteX2" fmla="*/ 7144 w 104775"/>
                    <a:gd name="connsiteY2" fmla="*/ 7144 h 161925"/>
                  </a:gdLst>
                  <a:ahLst/>
                  <a:cxnLst>
                    <a:cxn ang="0">
                      <a:pos x="connsiteX0" y="connsiteY0"/>
                    </a:cxn>
                    <a:cxn ang="0">
                      <a:pos x="connsiteX1" y="connsiteY1"/>
                    </a:cxn>
                    <a:cxn ang="0">
                      <a:pos x="connsiteX2" y="connsiteY2"/>
                    </a:cxn>
                  </a:cxnLst>
                  <a:rect l="l" t="t" r="r" b="b"/>
                  <a:pathLst>
                    <a:path w="104775" h="161925">
                      <a:moveTo>
                        <a:pt x="7144" y="159544"/>
                      </a:moveTo>
                      <a:lnTo>
                        <a:pt x="105251" y="83344"/>
                      </a:lnTo>
                      <a:lnTo>
                        <a:pt x="7144" y="7144"/>
                      </a:lnTo>
                      <a:close/>
                    </a:path>
                  </a:pathLst>
                </a:custGeom>
                <a:grpFill/>
                <a:ln w="9525"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D85CB462-1640-447F-BFE3-EBC306F63850}"/>
                    </a:ext>
                  </a:extLst>
                </p:cNvPr>
                <p:cNvSpPr/>
                <p:nvPr/>
              </p:nvSpPr>
              <p:spPr>
                <a:xfrm>
                  <a:off x="3873341" y="3044666"/>
                  <a:ext cx="685800" cy="581025"/>
                </a:xfrm>
                <a:custGeom>
                  <a:avLst/>
                  <a:gdLst>
                    <a:gd name="connsiteX0" fmla="*/ 683419 w 685800"/>
                    <a:gd name="connsiteY0" fmla="*/ 445294 h 581025"/>
                    <a:gd name="connsiteX1" fmla="*/ 683419 w 685800"/>
                    <a:gd name="connsiteY1" fmla="*/ 397669 h 581025"/>
                    <a:gd name="connsiteX2" fmla="*/ 54769 w 685800"/>
                    <a:gd name="connsiteY2" fmla="*/ 397669 h 581025"/>
                    <a:gd name="connsiteX3" fmla="*/ 54769 w 685800"/>
                    <a:gd name="connsiteY3" fmla="*/ 54769 h 581025"/>
                    <a:gd name="connsiteX4" fmla="*/ 607219 w 685800"/>
                    <a:gd name="connsiteY4" fmla="*/ 54769 h 581025"/>
                    <a:gd name="connsiteX5" fmla="*/ 607219 w 685800"/>
                    <a:gd name="connsiteY5" fmla="*/ 183356 h 581025"/>
                    <a:gd name="connsiteX6" fmla="*/ 654844 w 685800"/>
                    <a:gd name="connsiteY6" fmla="*/ 183356 h 581025"/>
                    <a:gd name="connsiteX7" fmla="*/ 654844 w 685800"/>
                    <a:gd name="connsiteY7" fmla="*/ 35719 h 581025"/>
                    <a:gd name="connsiteX8" fmla="*/ 626269 w 685800"/>
                    <a:gd name="connsiteY8" fmla="*/ 7144 h 581025"/>
                    <a:gd name="connsiteX9" fmla="*/ 35719 w 685800"/>
                    <a:gd name="connsiteY9" fmla="*/ 7144 h 581025"/>
                    <a:gd name="connsiteX10" fmla="*/ 7144 w 685800"/>
                    <a:gd name="connsiteY10" fmla="*/ 35719 h 581025"/>
                    <a:gd name="connsiteX11" fmla="*/ 7144 w 685800"/>
                    <a:gd name="connsiteY11" fmla="*/ 416719 h 581025"/>
                    <a:gd name="connsiteX12" fmla="*/ 35719 w 685800"/>
                    <a:gd name="connsiteY12" fmla="*/ 445294 h 581025"/>
                    <a:gd name="connsiteX13" fmla="*/ 269081 w 685800"/>
                    <a:gd name="connsiteY13" fmla="*/ 445294 h 581025"/>
                    <a:gd name="connsiteX14" fmla="*/ 130969 w 685800"/>
                    <a:gd name="connsiteY14" fmla="*/ 535781 h 581025"/>
                    <a:gd name="connsiteX15" fmla="*/ 130969 w 685800"/>
                    <a:gd name="connsiteY15" fmla="*/ 573881 h 581025"/>
                    <a:gd name="connsiteX16" fmla="*/ 531019 w 685800"/>
                    <a:gd name="connsiteY16" fmla="*/ 573881 h 581025"/>
                    <a:gd name="connsiteX17" fmla="*/ 531019 w 685800"/>
                    <a:gd name="connsiteY17" fmla="*/ 535781 h 581025"/>
                    <a:gd name="connsiteX18" fmla="*/ 392906 w 685800"/>
                    <a:gd name="connsiteY18" fmla="*/ 445294 h 581025"/>
                    <a:gd name="connsiteX19" fmla="*/ 683419 w 685800"/>
                    <a:gd name="connsiteY19" fmla="*/ 4452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5800" h="581025">
                      <a:moveTo>
                        <a:pt x="683419" y="445294"/>
                      </a:moveTo>
                      <a:lnTo>
                        <a:pt x="683419" y="397669"/>
                      </a:lnTo>
                      <a:lnTo>
                        <a:pt x="54769" y="397669"/>
                      </a:lnTo>
                      <a:lnTo>
                        <a:pt x="54769" y="54769"/>
                      </a:lnTo>
                      <a:lnTo>
                        <a:pt x="607219" y="54769"/>
                      </a:lnTo>
                      <a:lnTo>
                        <a:pt x="607219" y="183356"/>
                      </a:lnTo>
                      <a:lnTo>
                        <a:pt x="654844" y="183356"/>
                      </a:lnTo>
                      <a:lnTo>
                        <a:pt x="654844" y="35719"/>
                      </a:lnTo>
                      <a:cubicBezTo>
                        <a:pt x="654844" y="21431"/>
                        <a:pt x="640556" y="7144"/>
                        <a:pt x="626269" y="7144"/>
                      </a:cubicBezTo>
                      <a:lnTo>
                        <a:pt x="35719" y="7144"/>
                      </a:lnTo>
                      <a:cubicBezTo>
                        <a:pt x="21431" y="7144"/>
                        <a:pt x="7144" y="21431"/>
                        <a:pt x="7144" y="35719"/>
                      </a:cubicBezTo>
                      <a:lnTo>
                        <a:pt x="7144" y="416719"/>
                      </a:lnTo>
                      <a:cubicBezTo>
                        <a:pt x="7144" y="431006"/>
                        <a:pt x="21431" y="445294"/>
                        <a:pt x="35719" y="445294"/>
                      </a:cubicBezTo>
                      <a:lnTo>
                        <a:pt x="269081" y="445294"/>
                      </a:lnTo>
                      <a:cubicBezTo>
                        <a:pt x="270034" y="516731"/>
                        <a:pt x="267176" y="535781"/>
                        <a:pt x="130969" y="535781"/>
                      </a:cubicBezTo>
                      <a:lnTo>
                        <a:pt x="130969" y="573881"/>
                      </a:lnTo>
                      <a:lnTo>
                        <a:pt x="531019" y="573881"/>
                      </a:lnTo>
                      <a:lnTo>
                        <a:pt x="531019" y="535781"/>
                      </a:lnTo>
                      <a:cubicBezTo>
                        <a:pt x="394811" y="535781"/>
                        <a:pt x="391954" y="516731"/>
                        <a:pt x="392906" y="445294"/>
                      </a:cubicBezTo>
                      <a:lnTo>
                        <a:pt x="683419" y="445294"/>
                      </a:lnTo>
                      <a:close/>
                    </a:path>
                  </a:pathLst>
                </a:custGeom>
                <a:grpFill/>
                <a:ln w="9525"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A3CFD424-8BE7-498A-BE95-2949607EA816}"/>
                    </a:ext>
                  </a:extLst>
                </p:cNvPr>
                <p:cNvSpPr/>
                <p:nvPr/>
              </p:nvSpPr>
              <p:spPr>
                <a:xfrm>
                  <a:off x="4135279" y="3202781"/>
                  <a:ext cx="571500" cy="504825"/>
                </a:xfrm>
                <a:custGeom>
                  <a:avLst/>
                  <a:gdLst>
                    <a:gd name="connsiteX0" fmla="*/ 545306 w 571500"/>
                    <a:gd name="connsiteY0" fmla="*/ 44291 h 504825"/>
                    <a:gd name="connsiteX1" fmla="*/ 125254 w 571500"/>
                    <a:gd name="connsiteY1" fmla="*/ 44291 h 504825"/>
                    <a:gd name="connsiteX2" fmla="*/ 69056 w 571500"/>
                    <a:gd name="connsiteY2" fmla="*/ 7144 h 504825"/>
                    <a:gd name="connsiteX3" fmla="*/ 7144 w 571500"/>
                    <a:gd name="connsiteY3" fmla="*/ 68104 h 504825"/>
                    <a:gd name="connsiteX4" fmla="*/ 69056 w 571500"/>
                    <a:gd name="connsiteY4" fmla="*/ 129064 h 504825"/>
                    <a:gd name="connsiteX5" fmla="*/ 125254 w 571500"/>
                    <a:gd name="connsiteY5" fmla="*/ 91916 h 504825"/>
                    <a:gd name="connsiteX6" fmla="*/ 531019 w 571500"/>
                    <a:gd name="connsiteY6" fmla="*/ 91916 h 504825"/>
                    <a:gd name="connsiteX7" fmla="*/ 531019 w 571500"/>
                    <a:gd name="connsiteY7" fmla="*/ 444341 h 504825"/>
                    <a:gd name="connsiteX8" fmla="*/ 340519 w 571500"/>
                    <a:gd name="connsiteY8" fmla="*/ 444341 h 504825"/>
                    <a:gd name="connsiteX9" fmla="*/ 340519 w 571500"/>
                    <a:gd name="connsiteY9" fmla="*/ 306229 h 504825"/>
                    <a:gd name="connsiteX10" fmla="*/ 302419 w 571500"/>
                    <a:gd name="connsiteY10" fmla="*/ 306229 h 504825"/>
                    <a:gd name="connsiteX11" fmla="*/ 302419 w 571500"/>
                    <a:gd name="connsiteY11" fmla="*/ 482441 h 504825"/>
                    <a:gd name="connsiteX12" fmla="*/ 326231 w 571500"/>
                    <a:gd name="connsiteY12" fmla="*/ 506254 h 504825"/>
                    <a:gd name="connsiteX13" fmla="*/ 545306 w 571500"/>
                    <a:gd name="connsiteY13" fmla="*/ 506254 h 504825"/>
                    <a:gd name="connsiteX14" fmla="*/ 569119 w 571500"/>
                    <a:gd name="connsiteY14" fmla="*/ 482441 h 504825"/>
                    <a:gd name="connsiteX15" fmla="*/ 569119 w 571500"/>
                    <a:gd name="connsiteY15" fmla="*/ 68104 h 504825"/>
                    <a:gd name="connsiteX16" fmla="*/ 545306 w 571500"/>
                    <a:gd name="connsiteY16" fmla="*/ 44291 h 504825"/>
                    <a:gd name="connsiteX17" fmla="*/ 459581 w 571500"/>
                    <a:gd name="connsiteY17" fmla="*/ 482441 h 504825"/>
                    <a:gd name="connsiteX18" fmla="*/ 411956 w 571500"/>
                    <a:gd name="connsiteY18" fmla="*/ 482441 h 504825"/>
                    <a:gd name="connsiteX19" fmla="*/ 411956 w 571500"/>
                    <a:gd name="connsiteY19" fmla="*/ 468154 h 504825"/>
                    <a:gd name="connsiteX20" fmla="*/ 459581 w 571500"/>
                    <a:gd name="connsiteY20" fmla="*/ 468154 h 504825"/>
                    <a:gd name="connsiteX21" fmla="*/ 459581 w 571500"/>
                    <a:gd name="connsiteY21" fmla="*/ 482441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1500" h="504825">
                      <a:moveTo>
                        <a:pt x="545306" y="44291"/>
                      </a:moveTo>
                      <a:lnTo>
                        <a:pt x="125254" y="44291"/>
                      </a:lnTo>
                      <a:cubicBezTo>
                        <a:pt x="115729" y="22384"/>
                        <a:pt x="93821" y="7144"/>
                        <a:pt x="69056" y="7144"/>
                      </a:cubicBezTo>
                      <a:cubicBezTo>
                        <a:pt x="34766" y="7144"/>
                        <a:pt x="7144" y="34766"/>
                        <a:pt x="7144" y="68104"/>
                      </a:cubicBezTo>
                      <a:cubicBezTo>
                        <a:pt x="7144" y="101441"/>
                        <a:pt x="34766" y="129064"/>
                        <a:pt x="69056" y="129064"/>
                      </a:cubicBezTo>
                      <a:cubicBezTo>
                        <a:pt x="94774" y="129064"/>
                        <a:pt x="116681" y="113824"/>
                        <a:pt x="125254" y="91916"/>
                      </a:cubicBezTo>
                      <a:lnTo>
                        <a:pt x="531019" y="91916"/>
                      </a:lnTo>
                      <a:lnTo>
                        <a:pt x="531019" y="444341"/>
                      </a:lnTo>
                      <a:lnTo>
                        <a:pt x="340519" y="444341"/>
                      </a:lnTo>
                      <a:lnTo>
                        <a:pt x="340519" y="306229"/>
                      </a:lnTo>
                      <a:lnTo>
                        <a:pt x="302419" y="306229"/>
                      </a:lnTo>
                      <a:lnTo>
                        <a:pt x="302419" y="482441"/>
                      </a:lnTo>
                      <a:cubicBezTo>
                        <a:pt x="302419" y="495776"/>
                        <a:pt x="312896" y="506254"/>
                        <a:pt x="326231" y="506254"/>
                      </a:cubicBezTo>
                      <a:lnTo>
                        <a:pt x="545306" y="506254"/>
                      </a:lnTo>
                      <a:cubicBezTo>
                        <a:pt x="558641" y="506254"/>
                        <a:pt x="569119" y="495776"/>
                        <a:pt x="569119" y="482441"/>
                      </a:cubicBezTo>
                      <a:lnTo>
                        <a:pt x="569119" y="68104"/>
                      </a:lnTo>
                      <a:cubicBezTo>
                        <a:pt x="569119" y="54769"/>
                        <a:pt x="558641" y="44291"/>
                        <a:pt x="545306" y="44291"/>
                      </a:cubicBezTo>
                      <a:close/>
                      <a:moveTo>
                        <a:pt x="459581" y="482441"/>
                      </a:moveTo>
                      <a:lnTo>
                        <a:pt x="411956" y="482441"/>
                      </a:lnTo>
                      <a:lnTo>
                        <a:pt x="411956" y="468154"/>
                      </a:lnTo>
                      <a:lnTo>
                        <a:pt x="459581" y="468154"/>
                      </a:lnTo>
                      <a:lnTo>
                        <a:pt x="459581" y="482441"/>
                      </a:lnTo>
                      <a:close/>
                    </a:path>
                  </a:pathLst>
                </a:custGeom>
                <a:grpFill/>
                <a:ln w="9525" cap="flat">
                  <a:noFill/>
                  <a:prstDash val="solid"/>
                  <a:miter/>
                </a:ln>
              </p:spPr>
              <p:txBody>
                <a:bodyPr rtlCol="0" anchor="ctr"/>
                <a:lstStyle/>
                <a:p>
                  <a:endParaRPr lang="en-US"/>
                </a:p>
              </p:txBody>
            </p:sp>
          </p:grpSp>
          <p:pic>
            <p:nvPicPr>
              <p:cNvPr id="183" name="Graphic 182">
                <a:extLst>
                  <a:ext uri="{FF2B5EF4-FFF2-40B4-BE49-F238E27FC236}">
                    <a16:creationId xmlns:a16="http://schemas.microsoft.com/office/drawing/2014/main" id="{99659CAC-894C-4E34-97E8-92E517FD6CD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51175" y="3377835"/>
                <a:ext cx="1105466" cy="1105466"/>
              </a:xfrm>
              <a:prstGeom prst="rect">
                <a:avLst/>
              </a:prstGeom>
            </p:spPr>
          </p:pic>
        </p:grpSp>
        <p:grpSp>
          <p:nvGrpSpPr>
            <p:cNvPr id="42" name="Group 41">
              <a:extLst>
                <a:ext uri="{FF2B5EF4-FFF2-40B4-BE49-F238E27FC236}">
                  <a16:creationId xmlns:a16="http://schemas.microsoft.com/office/drawing/2014/main" id="{C1659208-CA4E-47DA-927C-517199D34BD9}"/>
                </a:ext>
              </a:extLst>
            </p:cNvPr>
            <p:cNvGrpSpPr/>
            <p:nvPr/>
          </p:nvGrpSpPr>
          <p:grpSpPr>
            <a:xfrm>
              <a:off x="6036193" y="1535917"/>
              <a:ext cx="6032310" cy="4396449"/>
              <a:chOff x="6036193" y="1535917"/>
              <a:chExt cx="6032310" cy="4396449"/>
            </a:xfrm>
          </p:grpSpPr>
          <p:sp>
            <p:nvSpPr>
              <p:cNvPr id="9" name="Oval 8">
                <a:extLst>
                  <a:ext uri="{FF2B5EF4-FFF2-40B4-BE49-F238E27FC236}">
                    <a16:creationId xmlns:a16="http://schemas.microsoft.com/office/drawing/2014/main" id="{62493F65-E461-4088-8CE8-79649F67D565}"/>
                  </a:ext>
                </a:extLst>
              </p:cNvPr>
              <p:cNvSpPr/>
              <p:nvPr/>
            </p:nvSpPr>
            <p:spPr bwMode="auto">
              <a:xfrm>
                <a:off x="7410273" y="2373086"/>
                <a:ext cx="3301783" cy="3301783"/>
              </a:xfrm>
              <a:prstGeom prst="ellipse">
                <a:avLst/>
              </a:prstGeom>
              <a:noFill/>
              <a:ln w="12700">
                <a:solidFill>
                  <a:srgbClr val="0078D7"/>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a:gradFill>
                      <a:gsLst>
                        <a:gs pos="0">
                          <a:srgbClr val="FFFFFF"/>
                        </a:gs>
                        <a:gs pos="100000">
                          <a:srgbClr val="FFFFFF"/>
                        </a:gs>
                      </a:gsLst>
                      <a:lin ang="5400000" scaled="0"/>
                    </a:gradFill>
                    <a:ea typeface="Segoe UI" pitchFamily="34" charset="0"/>
                    <a:cs typeface="Segoe UI" pitchFamily="34" charset="0"/>
                  </a:rPr>
                  <a:t> </a:t>
                </a:r>
              </a:p>
            </p:txBody>
          </p:sp>
          <p:sp>
            <p:nvSpPr>
              <p:cNvPr id="86" name="Rectangle 85">
                <a:extLst>
                  <a:ext uri="{FF2B5EF4-FFF2-40B4-BE49-F238E27FC236}">
                    <a16:creationId xmlns:a16="http://schemas.microsoft.com/office/drawing/2014/main" id="{E4FB1B6C-86FC-4FF7-AE76-449C7B4E749B}"/>
                  </a:ext>
                </a:extLst>
              </p:cNvPr>
              <p:cNvSpPr/>
              <p:nvPr/>
            </p:nvSpPr>
            <p:spPr bwMode="auto">
              <a:xfrm>
                <a:off x="8866711" y="2231762"/>
                <a:ext cx="247122" cy="180677"/>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 Placeholder 21">
                <a:extLst>
                  <a:ext uri="{FF2B5EF4-FFF2-40B4-BE49-F238E27FC236}">
                    <a16:creationId xmlns:a16="http://schemas.microsoft.com/office/drawing/2014/main" id="{574581E1-73BC-4C2C-9763-A60276E6B3DD}"/>
                  </a:ext>
                </a:extLst>
              </p:cNvPr>
              <p:cNvSpPr txBox="1">
                <a:spLocks/>
              </p:cNvSpPr>
              <p:nvPr/>
            </p:nvSpPr>
            <p:spPr>
              <a:xfrm>
                <a:off x="6359167" y="2742046"/>
                <a:ext cx="1077971" cy="251192"/>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Azure Monitor</a:t>
                </a:r>
              </a:p>
            </p:txBody>
          </p:sp>
          <p:sp>
            <p:nvSpPr>
              <p:cNvPr id="22" name="Text Placeholder 21">
                <a:extLst>
                  <a:ext uri="{FF2B5EF4-FFF2-40B4-BE49-F238E27FC236}">
                    <a16:creationId xmlns:a16="http://schemas.microsoft.com/office/drawing/2014/main" id="{8F35AB2E-8552-42AD-A2E4-F8BE187F90DA}"/>
                  </a:ext>
                </a:extLst>
              </p:cNvPr>
              <p:cNvSpPr txBox="1">
                <a:spLocks/>
              </p:cNvSpPr>
              <p:nvPr/>
            </p:nvSpPr>
            <p:spPr>
              <a:xfrm>
                <a:off x="6036193" y="3658721"/>
                <a:ext cx="959460" cy="461665"/>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Core Azure Services</a:t>
                </a:r>
              </a:p>
            </p:txBody>
          </p:sp>
          <p:sp>
            <p:nvSpPr>
              <p:cNvPr id="23" name="Text Placeholder 21">
                <a:extLst>
                  <a:ext uri="{FF2B5EF4-FFF2-40B4-BE49-F238E27FC236}">
                    <a16:creationId xmlns:a16="http://schemas.microsoft.com/office/drawing/2014/main" id="{9D58A68E-20CF-48DD-88F9-93154CA66F86}"/>
                  </a:ext>
                </a:extLst>
              </p:cNvPr>
              <p:cNvSpPr txBox="1">
                <a:spLocks/>
              </p:cNvSpPr>
              <p:nvPr/>
            </p:nvSpPr>
            <p:spPr>
              <a:xfrm>
                <a:off x="6246437" y="4720214"/>
                <a:ext cx="964644" cy="418653"/>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Archive</a:t>
                </a:r>
                <a:br>
                  <a:rPr lang="en-US"/>
                </a:br>
                <a:r>
                  <a:rPr lang="en-US"/>
                  <a:t>Storage</a:t>
                </a:r>
              </a:p>
            </p:txBody>
          </p:sp>
          <p:sp>
            <p:nvSpPr>
              <p:cNvPr id="24" name="Text Placeholder 21">
                <a:extLst>
                  <a:ext uri="{FF2B5EF4-FFF2-40B4-BE49-F238E27FC236}">
                    <a16:creationId xmlns:a16="http://schemas.microsoft.com/office/drawing/2014/main" id="{359F30D8-B6A7-41D8-ACF5-C80E9D35EBD1}"/>
                  </a:ext>
                </a:extLst>
              </p:cNvPr>
              <p:cNvSpPr txBox="1">
                <a:spLocks/>
              </p:cNvSpPr>
              <p:nvPr/>
            </p:nvSpPr>
            <p:spPr>
              <a:xfrm>
                <a:off x="6987387" y="5473937"/>
                <a:ext cx="1077971" cy="418653"/>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Visual Studio Team Services</a:t>
                </a:r>
              </a:p>
            </p:txBody>
          </p:sp>
          <p:sp>
            <p:nvSpPr>
              <p:cNvPr id="25" name="Text Placeholder 21">
                <a:extLst>
                  <a:ext uri="{FF2B5EF4-FFF2-40B4-BE49-F238E27FC236}">
                    <a16:creationId xmlns:a16="http://schemas.microsoft.com/office/drawing/2014/main" id="{633A1025-0E18-4D46-8F15-F2FCDDF9C04B}"/>
                  </a:ext>
                </a:extLst>
              </p:cNvPr>
              <p:cNvSpPr txBox="1">
                <a:spLocks/>
              </p:cNvSpPr>
              <p:nvPr/>
            </p:nvSpPr>
            <p:spPr>
              <a:xfrm>
                <a:off x="10091038" y="5473937"/>
                <a:ext cx="1285083" cy="251192"/>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Stream Analytics</a:t>
                </a:r>
              </a:p>
            </p:txBody>
          </p:sp>
          <p:sp>
            <p:nvSpPr>
              <p:cNvPr id="26" name="Text Placeholder 21">
                <a:extLst>
                  <a:ext uri="{FF2B5EF4-FFF2-40B4-BE49-F238E27FC236}">
                    <a16:creationId xmlns:a16="http://schemas.microsoft.com/office/drawing/2014/main" id="{428F59B4-E2AD-483F-9781-B4D63B40DC43}"/>
                  </a:ext>
                </a:extLst>
              </p:cNvPr>
              <p:cNvSpPr txBox="1">
                <a:spLocks/>
              </p:cNvSpPr>
              <p:nvPr/>
            </p:nvSpPr>
            <p:spPr>
              <a:xfrm>
                <a:off x="10671698" y="2658316"/>
                <a:ext cx="1233194" cy="418653"/>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Azure Database for PostgreSQL</a:t>
                </a:r>
              </a:p>
            </p:txBody>
          </p:sp>
          <p:sp>
            <p:nvSpPr>
              <p:cNvPr id="29" name="Text Placeholder 21">
                <a:extLst>
                  <a:ext uri="{FF2B5EF4-FFF2-40B4-BE49-F238E27FC236}">
                    <a16:creationId xmlns:a16="http://schemas.microsoft.com/office/drawing/2014/main" id="{7CF11978-19AA-4B72-9D6B-08CA7291195F}"/>
                  </a:ext>
                </a:extLst>
              </p:cNvPr>
              <p:cNvSpPr txBox="1">
                <a:spLocks/>
              </p:cNvSpPr>
              <p:nvPr/>
            </p:nvSpPr>
            <p:spPr>
              <a:xfrm>
                <a:off x="8431469" y="1535917"/>
                <a:ext cx="1269957" cy="418653"/>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a:r>
                  <a:rPr lang="en-US"/>
                  <a:t>Azure Database for MySQL</a:t>
                </a:r>
              </a:p>
            </p:txBody>
          </p:sp>
          <p:sp>
            <p:nvSpPr>
              <p:cNvPr id="33" name="Oval 32">
                <a:extLst>
                  <a:ext uri="{FF2B5EF4-FFF2-40B4-BE49-F238E27FC236}">
                    <a16:creationId xmlns:a16="http://schemas.microsoft.com/office/drawing/2014/main" id="{94D1DD5E-8F21-4013-BE26-EF0EB5FF894B}"/>
                  </a:ext>
                </a:extLst>
              </p:cNvPr>
              <p:cNvSpPr/>
              <p:nvPr/>
            </p:nvSpPr>
            <p:spPr bwMode="auto">
              <a:xfrm>
                <a:off x="7034807" y="3477630"/>
                <a:ext cx="780834" cy="780835"/>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7" name="Oval 76">
                <a:extLst>
                  <a:ext uri="{FF2B5EF4-FFF2-40B4-BE49-F238E27FC236}">
                    <a16:creationId xmlns:a16="http://schemas.microsoft.com/office/drawing/2014/main" id="{81F3463E-FD9B-4BE9-A29B-863522ED6FA9}"/>
                  </a:ext>
                </a:extLst>
              </p:cNvPr>
              <p:cNvSpPr/>
              <p:nvPr/>
            </p:nvSpPr>
            <p:spPr bwMode="auto">
              <a:xfrm>
                <a:off x="9847970" y="2477225"/>
                <a:ext cx="780834" cy="780835"/>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67" name="Graphic 166">
                <a:extLst>
                  <a:ext uri="{FF2B5EF4-FFF2-40B4-BE49-F238E27FC236}">
                    <a16:creationId xmlns:a16="http://schemas.microsoft.com/office/drawing/2014/main" id="{7BDB72C7-D66C-445B-9885-86A45CD153A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9928" y="3522740"/>
                <a:ext cx="1002474" cy="1002474"/>
              </a:xfrm>
              <a:prstGeom prst="rect">
                <a:avLst/>
              </a:prstGeom>
            </p:spPr>
          </p:pic>
          <p:grpSp>
            <p:nvGrpSpPr>
              <p:cNvPr id="54" name="Group 53">
                <a:extLst>
                  <a:ext uri="{FF2B5EF4-FFF2-40B4-BE49-F238E27FC236}">
                    <a16:creationId xmlns:a16="http://schemas.microsoft.com/office/drawing/2014/main" id="{6BEDDFF7-574A-41A7-9797-3E0E1203DFB3}"/>
                  </a:ext>
                </a:extLst>
              </p:cNvPr>
              <p:cNvGrpSpPr/>
              <p:nvPr/>
            </p:nvGrpSpPr>
            <p:grpSpPr>
              <a:xfrm>
                <a:off x="10135289" y="4569430"/>
                <a:ext cx="780834" cy="780835"/>
                <a:chOff x="3614504" y="4429405"/>
                <a:chExt cx="861056" cy="861056"/>
              </a:xfrm>
            </p:grpSpPr>
            <p:sp>
              <p:nvSpPr>
                <p:cNvPr id="45" name="Oval 44">
                  <a:extLst>
                    <a:ext uri="{FF2B5EF4-FFF2-40B4-BE49-F238E27FC236}">
                      <a16:creationId xmlns:a16="http://schemas.microsoft.com/office/drawing/2014/main" id="{132FA1FE-CD2B-4C85-9DB6-C3D0F9243E11}"/>
                    </a:ext>
                  </a:extLst>
                </p:cNvPr>
                <p:cNvSpPr/>
                <p:nvPr/>
              </p:nvSpPr>
              <p:spPr bwMode="auto">
                <a:xfrm>
                  <a:off x="3614504" y="442940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2" name="Graphic 111">
                  <a:extLst>
                    <a:ext uri="{FF2B5EF4-FFF2-40B4-BE49-F238E27FC236}">
                      <a16:creationId xmlns:a16="http://schemas.microsoft.com/office/drawing/2014/main" id="{6351ED12-B32E-4CD9-ACBF-F9E75A1BC27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842684" y="4657585"/>
                  <a:ext cx="404697" cy="404697"/>
                </a:xfrm>
                <a:prstGeom prst="rect">
                  <a:avLst/>
                </a:prstGeom>
              </p:spPr>
            </p:pic>
          </p:grpSp>
          <p:grpSp>
            <p:nvGrpSpPr>
              <p:cNvPr id="55" name="Group 54">
                <a:extLst>
                  <a:ext uri="{FF2B5EF4-FFF2-40B4-BE49-F238E27FC236}">
                    <a16:creationId xmlns:a16="http://schemas.microsoft.com/office/drawing/2014/main" id="{EC143D10-4886-4214-BFB3-8901330DA03B}"/>
                  </a:ext>
                </a:extLst>
              </p:cNvPr>
              <p:cNvGrpSpPr/>
              <p:nvPr/>
            </p:nvGrpSpPr>
            <p:grpSpPr>
              <a:xfrm>
                <a:off x="10351128" y="3477630"/>
                <a:ext cx="780834" cy="780835"/>
                <a:chOff x="3852518" y="3225435"/>
                <a:chExt cx="861056" cy="861056"/>
              </a:xfrm>
            </p:grpSpPr>
            <p:sp>
              <p:nvSpPr>
                <p:cNvPr id="58" name="Oval 57">
                  <a:extLst>
                    <a:ext uri="{FF2B5EF4-FFF2-40B4-BE49-F238E27FC236}">
                      <a16:creationId xmlns:a16="http://schemas.microsoft.com/office/drawing/2014/main" id="{519ABBC9-BB78-4E6A-B834-28DA7B1E0A24}"/>
                    </a:ext>
                  </a:extLst>
                </p:cNvPr>
                <p:cNvSpPr/>
                <p:nvPr/>
              </p:nvSpPr>
              <p:spPr bwMode="auto">
                <a:xfrm>
                  <a:off x="3852518" y="322543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4" name="Graphic 113">
                  <a:extLst>
                    <a:ext uri="{FF2B5EF4-FFF2-40B4-BE49-F238E27FC236}">
                      <a16:creationId xmlns:a16="http://schemas.microsoft.com/office/drawing/2014/main" id="{9617D43C-17CB-42F7-B853-EBD64D986DD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018124" y="3391041"/>
                  <a:ext cx="529845" cy="529845"/>
                </a:xfrm>
                <a:prstGeom prst="rect">
                  <a:avLst/>
                </a:prstGeom>
              </p:spPr>
            </p:pic>
          </p:grpSp>
          <p:grpSp>
            <p:nvGrpSpPr>
              <p:cNvPr id="57" name="Group 56">
                <a:extLst>
                  <a:ext uri="{FF2B5EF4-FFF2-40B4-BE49-F238E27FC236}">
                    <a16:creationId xmlns:a16="http://schemas.microsoft.com/office/drawing/2014/main" id="{7385F50A-F8D8-4663-B9A6-D2C24EAB51E1}"/>
                  </a:ext>
                </a:extLst>
              </p:cNvPr>
              <p:cNvGrpSpPr/>
              <p:nvPr/>
            </p:nvGrpSpPr>
            <p:grpSpPr>
              <a:xfrm>
                <a:off x="7481610" y="2477225"/>
                <a:ext cx="780834" cy="780835"/>
                <a:chOff x="688191" y="2122250"/>
                <a:chExt cx="861056" cy="861056"/>
              </a:xfrm>
            </p:grpSpPr>
            <p:sp>
              <p:nvSpPr>
                <p:cNvPr id="11" name="Oval 10">
                  <a:extLst>
                    <a:ext uri="{FF2B5EF4-FFF2-40B4-BE49-F238E27FC236}">
                      <a16:creationId xmlns:a16="http://schemas.microsoft.com/office/drawing/2014/main" id="{87023AD5-395D-40A4-ACDF-49737E7C7D87}"/>
                    </a:ext>
                  </a:extLst>
                </p:cNvPr>
                <p:cNvSpPr/>
                <p:nvPr/>
              </p:nvSpPr>
              <p:spPr bwMode="auto">
                <a:xfrm>
                  <a:off x="688191" y="212225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6" name="Graphic 115">
                  <a:extLst>
                    <a:ext uri="{FF2B5EF4-FFF2-40B4-BE49-F238E27FC236}">
                      <a16:creationId xmlns:a16="http://schemas.microsoft.com/office/drawing/2014/main" id="{4D4923B0-D59C-4C80-BC6A-FDBBC4D9925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87737" y="2321796"/>
                  <a:ext cx="461965" cy="461965"/>
                </a:xfrm>
                <a:prstGeom prst="rect">
                  <a:avLst/>
                </a:prstGeom>
              </p:spPr>
            </p:pic>
          </p:grpSp>
          <p:grpSp>
            <p:nvGrpSpPr>
              <p:cNvPr id="51" name="Group 50">
                <a:extLst>
                  <a:ext uri="{FF2B5EF4-FFF2-40B4-BE49-F238E27FC236}">
                    <a16:creationId xmlns:a16="http://schemas.microsoft.com/office/drawing/2014/main" id="{AFD4974A-8A7E-4614-87BC-F8418E227691}"/>
                  </a:ext>
                </a:extLst>
              </p:cNvPr>
              <p:cNvGrpSpPr/>
              <p:nvPr/>
            </p:nvGrpSpPr>
            <p:grpSpPr>
              <a:xfrm>
                <a:off x="7252466" y="4539123"/>
                <a:ext cx="780834" cy="780835"/>
                <a:chOff x="435505" y="4395984"/>
                <a:chExt cx="861056" cy="861056"/>
              </a:xfrm>
            </p:grpSpPr>
            <p:sp>
              <p:nvSpPr>
                <p:cNvPr id="35" name="Oval 34">
                  <a:extLst>
                    <a:ext uri="{FF2B5EF4-FFF2-40B4-BE49-F238E27FC236}">
                      <a16:creationId xmlns:a16="http://schemas.microsoft.com/office/drawing/2014/main" id="{999F3AF2-9234-4AA4-BB52-A20E31346354}"/>
                    </a:ext>
                  </a:extLst>
                </p:cNvPr>
                <p:cNvSpPr/>
                <p:nvPr/>
              </p:nvSpPr>
              <p:spPr bwMode="auto">
                <a:xfrm>
                  <a:off x="435505" y="4395984"/>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7" name="Picture 116">
                  <a:extLst>
                    <a:ext uri="{FF2B5EF4-FFF2-40B4-BE49-F238E27FC236}">
                      <a16:creationId xmlns:a16="http://schemas.microsoft.com/office/drawing/2014/main" id="{6B096C32-F80A-49C0-969B-2984E37C40C0}"/>
                    </a:ext>
                  </a:extLst>
                </p:cNvPr>
                <p:cNvPicPr>
                  <a:picLocks noChangeAspect="1"/>
                </p:cNvPicPr>
                <p:nvPr/>
              </p:nvPicPr>
              <p:blipFill>
                <a:blip r:embed="rId17"/>
                <a:stretch>
                  <a:fillRect/>
                </a:stretch>
              </p:blipFill>
              <p:spPr>
                <a:xfrm>
                  <a:off x="637433" y="4597912"/>
                  <a:ext cx="457200" cy="457200"/>
                </a:xfrm>
                <a:prstGeom prst="rect">
                  <a:avLst/>
                </a:prstGeom>
              </p:spPr>
            </p:pic>
          </p:grpSp>
          <p:sp>
            <p:nvSpPr>
              <p:cNvPr id="27" name="Text Placeholder 21">
                <a:extLst>
                  <a:ext uri="{FF2B5EF4-FFF2-40B4-BE49-F238E27FC236}">
                    <a16:creationId xmlns:a16="http://schemas.microsoft.com/office/drawing/2014/main" id="{18BB786C-2AD6-477A-8C65-2E5D2E840EC0}"/>
                  </a:ext>
                </a:extLst>
              </p:cNvPr>
              <p:cNvSpPr txBox="1">
                <a:spLocks/>
              </p:cNvSpPr>
              <p:nvPr/>
            </p:nvSpPr>
            <p:spPr>
              <a:xfrm>
                <a:off x="11170985" y="3574990"/>
                <a:ext cx="870221" cy="646331"/>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Azure </a:t>
                </a:r>
                <a:br>
                  <a:rPr lang="en-US"/>
                </a:br>
                <a:r>
                  <a:rPr lang="en-US"/>
                  <a:t>Container </a:t>
                </a:r>
                <a:br>
                  <a:rPr lang="en-US"/>
                </a:br>
                <a:r>
                  <a:rPr lang="en-US"/>
                  <a:t>Registry</a:t>
                </a:r>
              </a:p>
            </p:txBody>
          </p:sp>
          <p:sp>
            <p:nvSpPr>
              <p:cNvPr id="28" name="Text Placeholder 21">
                <a:extLst>
                  <a:ext uri="{FF2B5EF4-FFF2-40B4-BE49-F238E27FC236}">
                    <a16:creationId xmlns:a16="http://schemas.microsoft.com/office/drawing/2014/main" id="{8E13689C-E95E-48EA-9813-FE06535E4C6F}"/>
                  </a:ext>
                </a:extLst>
              </p:cNvPr>
              <p:cNvSpPr txBox="1">
                <a:spLocks/>
              </p:cNvSpPr>
              <p:nvPr/>
            </p:nvSpPr>
            <p:spPr>
              <a:xfrm>
                <a:off x="10959250" y="4834252"/>
                <a:ext cx="1109253" cy="251192"/>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Event Grid</a:t>
                </a:r>
              </a:p>
            </p:txBody>
          </p:sp>
          <p:grpSp>
            <p:nvGrpSpPr>
              <p:cNvPr id="56" name="Group 55">
                <a:extLst>
                  <a:ext uri="{FF2B5EF4-FFF2-40B4-BE49-F238E27FC236}">
                    <a16:creationId xmlns:a16="http://schemas.microsoft.com/office/drawing/2014/main" id="{30744F29-CF01-4490-AD55-123B43B445F4}"/>
                  </a:ext>
                </a:extLst>
              </p:cNvPr>
              <p:cNvGrpSpPr/>
              <p:nvPr/>
            </p:nvGrpSpPr>
            <p:grpSpPr>
              <a:xfrm>
                <a:off x="8672813" y="2001282"/>
                <a:ext cx="780834" cy="780835"/>
                <a:chOff x="2001776" y="1597410"/>
                <a:chExt cx="861056" cy="861056"/>
              </a:xfrm>
            </p:grpSpPr>
            <p:sp>
              <p:nvSpPr>
                <p:cNvPr id="10" name="Oval 9">
                  <a:extLst>
                    <a:ext uri="{FF2B5EF4-FFF2-40B4-BE49-F238E27FC236}">
                      <a16:creationId xmlns:a16="http://schemas.microsoft.com/office/drawing/2014/main" id="{2B844746-B72E-425D-BECD-F6A83205953E}"/>
                    </a:ext>
                  </a:extLst>
                </p:cNvPr>
                <p:cNvSpPr/>
                <p:nvPr/>
              </p:nvSpPr>
              <p:spPr bwMode="auto">
                <a:xfrm>
                  <a:off x="2001776" y="159741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718C9F09-5B4A-4E76-A7D0-282CF17B802C}"/>
                    </a:ext>
                  </a:extLst>
                </p:cNvPr>
                <p:cNvSpPr/>
                <p:nvPr/>
              </p:nvSpPr>
              <p:spPr>
                <a:xfrm>
                  <a:off x="2246519" y="1773344"/>
                  <a:ext cx="371570" cy="509189"/>
                </a:xfrm>
                <a:custGeom>
                  <a:avLst/>
                  <a:gdLst>
                    <a:gd name="connsiteX0" fmla="*/ 236696 w 257175"/>
                    <a:gd name="connsiteY0" fmla="*/ 225266 h 352425"/>
                    <a:gd name="connsiteX1" fmla="*/ 208121 w 257175"/>
                    <a:gd name="connsiteY1" fmla="*/ 247173 h 352425"/>
                    <a:gd name="connsiteX2" fmla="*/ 157639 w 257175"/>
                    <a:gd name="connsiteY2" fmla="*/ 247173 h 352425"/>
                    <a:gd name="connsiteX3" fmla="*/ 157639 w 257175"/>
                    <a:gd name="connsiteY3" fmla="*/ 229076 h 352425"/>
                    <a:gd name="connsiteX4" fmla="*/ 208121 w 257175"/>
                    <a:gd name="connsiteY4" fmla="*/ 229076 h 352425"/>
                    <a:gd name="connsiteX5" fmla="*/ 211931 w 257175"/>
                    <a:gd name="connsiteY5" fmla="*/ 222409 h 352425"/>
                    <a:gd name="connsiteX6" fmla="*/ 203359 w 257175"/>
                    <a:gd name="connsiteY6" fmla="*/ 225266 h 352425"/>
                    <a:gd name="connsiteX7" fmla="*/ 184309 w 257175"/>
                    <a:gd name="connsiteY7" fmla="*/ 225266 h 352425"/>
                    <a:gd name="connsiteX8" fmla="*/ 155734 w 257175"/>
                    <a:gd name="connsiteY8" fmla="*/ 206216 h 352425"/>
                    <a:gd name="connsiteX9" fmla="*/ 155734 w 257175"/>
                    <a:gd name="connsiteY9" fmla="*/ 204311 h 352425"/>
                    <a:gd name="connsiteX10" fmla="*/ 155734 w 257175"/>
                    <a:gd name="connsiteY10" fmla="*/ 174784 h 352425"/>
                    <a:gd name="connsiteX11" fmla="*/ 146209 w 257175"/>
                    <a:gd name="connsiteY11" fmla="*/ 169069 h 352425"/>
                    <a:gd name="connsiteX12" fmla="*/ 146209 w 257175"/>
                    <a:gd name="connsiteY12" fmla="*/ 226219 h 352425"/>
                    <a:gd name="connsiteX13" fmla="*/ 120491 w 257175"/>
                    <a:gd name="connsiteY13" fmla="*/ 226219 h 352425"/>
                    <a:gd name="connsiteX14" fmla="*/ 120491 w 257175"/>
                    <a:gd name="connsiteY14" fmla="*/ 184309 h 352425"/>
                    <a:gd name="connsiteX15" fmla="*/ 106204 w 257175"/>
                    <a:gd name="connsiteY15" fmla="*/ 214788 h 352425"/>
                    <a:gd name="connsiteX16" fmla="*/ 88106 w 257175"/>
                    <a:gd name="connsiteY16" fmla="*/ 226219 h 352425"/>
                    <a:gd name="connsiteX17" fmla="*/ 69056 w 257175"/>
                    <a:gd name="connsiteY17" fmla="*/ 214788 h 352425"/>
                    <a:gd name="connsiteX18" fmla="*/ 54769 w 257175"/>
                    <a:gd name="connsiteY18" fmla="*/ 183356 h 352425"/>
                    <a:gd name="connsiteX19" fmla="*/ 54769 w 257175"/>
                    <a:gd name="connsiteY19" fmla="*/ 225266 h 352425"/>
                    <a:gd name="connsiteX20" fmla="*/ 31909 w 257175"/>
                    <a:gd name="connsiteY20" fmla="*/ 225266 h 352425"/>
                    <a:gd name="connsiteX21" fmla="*/ 31909 w 257175"/>
                    <a:gd name="connsiteY21" fmla="*/ 160496 h 352425"/>
                    <a:gd name="connsiteX22" fmla="*/ 40481 w 257175"/>
                    <a:gd name="connsiteY22" fmla="*/ 145256 h 352425"/>
                    <a:gd name="connsiteX23" fmla="*/ 50959 w 257175"/>
                    <a:gd name="connsiteY23" fmla="*/ 143351 h 352425"/>
                    <a:gd name="connsiteX24" fmla="*/ 70009 w 257175"/>
                    <a:gd name="connsiteY24" fmla="*/ 155734 h 352425"/>
                    <a:gd name="connsiteX25" fmla="*/ 88106 w 257175"/>
                    <a:gd name="connsiteY25" fmla="*/ 196691 h 352425"/>
                    <a:gd name="connsiteX26" fmla="*/ 107156 w 257175"/>
                    <a:gd name="connsiteY26" fmla="*/ 155734 h 352425"/>
                    <a:gd name="connsiteX27" fmla="*/ 126206 w 257175"/>
                    <a:gd name="connsiteY27" fmla="*/ 143351 h 352425"/>
                    <a:gd name="connsiteX28" fmla="*/ 136684 w 257175"/>
                    <a:gd name="connsiteY28" fmla="*/ 145256 h 352425"/>
                    <a:gd name="connsiteX29" fmla="*/ 147161 w 257175"/>
                    <a:gd name="connsiteY29" fmla="*/ 160496 h 352425"/>
                    <a:gd name="connsiteX30" fmla="*/ 147161 w 257175"/>
                    <a:gd name="connsiteY30" fmla="*/ 170021 h 352425"/>
                    <a:gd name="connsiteX31" fmla="*/ 184309 w 257175"/>
                    <a:gd name="connsiteY31" fmla="*/ 170021 h 352425"/>
                    <a:gd name="connsiteX32" fmla="*/ 184309 w 257175"/>
                    <a:gd name="connsiteY32" fmla="*/ 204311 h 352425"/>
                    <a:gd name="connsiteX33" fmla="*/ 188119 w 257175"/>
                    <a:gd name="connsiteY33" fmla="*/ 205263 h 352425"/>
                    <a:gd name="connsiteX34" fmla="*/ 194786 w 257175"/>
                    <a:gd name="connsiteY34" fmla="*/ 205263 h 352425"/>
                    <a:gd name="connsiteX35" fmla="*/ 212884 w 257175"/>
                    <a:gd name="connsiteY35" fmla="*/ 205263 h 352425"/>
                    <a:gd name="connsiteX36" fmla="*/ 212884 w 257175"/>
                    <a:gd name="connsiteY36" fmla="*/ 170021 h 352425"/>
                    <a:gd name="connsiteX37" fmla="*/ 238601 w 257175"/>
                    <a:gd name="connsiteY37" fmla="*/ 170021 h 352425"/>
                    <a:gd name="connsiteX38" fmla="*/ 236696 w 257175"/>
                    <a:gd name="connsiteY38" fmla="*/ 225266 h 352425"/>
                    <a:gd name="connsiteX39" fmla="*/ 132874 w 257175"/>
                    <a:gd name="connsiteY39" fmla="*/ 25241 h 352425"/>
                    <a:gd name="connsiteX40" fmla="*/ 222409 w 257175"/>
                    <a:gd name="connsiteY40" fmla="*/ 52863 h 352425"/>
                    <a:gd name="connsiteX41" fmla="*/ 132874 w 257175"/>
                    <a:gd name="connsiteY41" fmla="*/ 80486 h 352425"/>
                    <a:gd name="connsiteX42" fmla="*/ 43339 w 257175"/>
                    <a:gd name="connsiteY42" fmla="*/ 52863 h 352425"/>
                    <a:gd name="connsiteX43" fmla="*/ 132874 w 257175"/>
                    <a:gd name="connsiteY43" fmla="*/ 25241 h 352425"/>
                    <a:gd name="connsiteX44" fmla="*/ 132874 w 257175"/>
                    <a:gd name="connsiteY44" fmla="*/ 7144 h 352425"/>
                    <a:gd name="connsiteX45" fmla="*/ 7144 w 257175"/>
                    <a:gd name="connsiteY45" fmla="*/ 56673 h 352425"/>
                    <a:gd name="connsiteX46" fmla="*/ 7144 w 257175"/>
                    <a:gd name="connsiteY46" fmla="*/ 290988 h 352425"/>
                    <a:gd name="connsiteX47" fmla="*/ 132874 w 257175"/>
                    <a:gd name="connsiteY47" fmla="*/ 346234 h 352425"/>
                    <a:gd name="connsiteX48" fmla="*/ 257651 w 257175"/>
                    <a:gd name="connsiteY48" fmla="*/ 291941 h 352425"/>
                    <a:gd name="connsiteX49" fmla="*/ 257651 w 257175"/>
                    <a:gd name="connsiteY49" fmla="*/ 57626 h 352425"/>
                    <a:gd name="connsiteX50" fmla="*/ 132874 w 257175"/>
                    <a:gd name="connsiteY50" fmla="*/ 714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57175" h="352425">
                      <a:moveTo>
                        <a:pt x="236696" y="225266"/>
                      </a:moveTo>
                      <a:cubicBezTo>
                        <a:pt x="236696" y="239554"/>
                        <a:pt x="222409" y="246221"/>
                        <a:pt x="208121" y="247173"/>
                      </a:cubicBezTo>
                      <a:lnTo>
                        <a:pt x="157639" y="247173"/>
                      </a:lnTo>
                      <a:lnTo>
                        <a:pt x="157639" y="229076"/>
                      </a:lnTo>
                      <a:lnTo>
                        <a:pt x="208121" y="229076"/>
                      </a:lnTo>
                      <a:cubicBezTo>
                        <a:pt x="210979" y="229076"/>
                        <a:pt x="211931" y="222409"/>
                        <a:pt x="211931" y="222409"/>
                      </a:cubicBezTo>
                      <a:lnTo>
                        <a:pt x="203359" y="225266"/>
                      </a:lnTo>
                      <a:lnTo>
                        <a:pt x="184309" y="225266"/>
                      </a:lnTo>
                      <a:cubicBezTo>
                        <a:pt x="167164" y="225266"/>
                        <a:pt x="156686" y="216694"/>
                        <a:pt x="155734" y="206216"/>
                      </a:cubicBezTo>
                      <a:lnTo>
                        <a:pt x="155734" y="204311"/>
                      </a:lnTo>
                      <a:cubicBezTo>
                        <a:pt x="155734" y="185261"/>
                        <a:pt x="155734" y="177641"/>
                        <a:pt x="155734" y="174784"/>
                      </a:cubicBezTo>
                      <a:lnTo>
                        <a:pt x="146209" y="169069"/>
                      </a:lnTo>
                      <a:lnTo>
                        <a:pt x="146209" y="226219"/>
                      </a:lnTo>
                      <a:lnTo>
                        <a:pt x="120491" y="226219"/>
                      </a:lnTo>
                      <a:lnTo>
                        <a:pt x="120491" y="184309"/>
                      </a:lnTo>
                      <a:lnTo>
                        <a:pt x="106204" y="214788"/>
                      </a:lnTo>
                      <a:cubicBezTo>
                        <a:pt x="102394" y="223361"/>
                        <a:pt x="96679" y="226219"/>
                        <a:pt x="88106" y="226219"/>
                      </a:cubicBezTo>
                      <a:cubicBezTo>
                        <a:pt x="78581" y="226219"/>
                        <a:pt x="72866" y="222409"/>
                        <a:pt x="69056" y="214788"/>
                      </a:cubicBezTo>
                      <a:lnTo>
                        <a:pt x="54769" y="183356"/>
                      </a:lnTo>
                      <a:lnTo>
                        <a:pt x="54769" y="225266"/>
                      </a:lnTo>
                      <a:lnTo>
                        <a:pt x="31909" y="225266"/>
                      </a:lnTo>
                      <a:lnTo>
                        <a:pt x="31909" y="160496"/>
                      </a:lnTo>
                      <a:cubicBezTo>
                        <a:pt x="31909" y="152876"/>
                        <a:pt x="33814" y="148113"/>
                        <a:pt x="40481" y="145256"/>
                      </a:cubicBezTo>
                      <a:cubicBezTo>
                        <a:pt x="44291" y="144304"/>
                        <a:pt x="48101" y="143351"/>
                        <a:pt x="50959" y="143351"/>
                      </a:cubicBezTo>
                      <a:cubicBezTo>
                        <a:pt x="59531" y="143351"/>
                        <a:pt x="66199" y="148113"/>
                        <a:pt x="70009" y="155734"/>
                      </a:cubicBezTo>
                      <a:lnTo>
                        <a:pt x="88106" y="196691"/>
                      </a:lnTo>
                      <a:lnTo>
                        <a:pt x="107156" y="155734"/>
                      </a:lnTo>
                      <a:cubicBezTo>
                        <a:pt x="110966" y="148113"/>
                        <a:pt x="117634" y="143351"/>
                        <a:pt x="126206" y="143351"/>
                      </a:cubicBezTo>
                      <a:cubicBezTo>
                        <a:pt x="129064" y="143351"/>
                        <a:pt x="132874" y="144304"/>
                        <a:pt x="136684" y="145256"/>
                      </a:cubicBezTo>
                      <a:cubicBezTo>
                        <a:pt x="143351" y="147161"/>
                        <a:pt x="147161" y="152876"/>
                        <a:pt x="147161" y="160496"/>
                      </a:cubicBezTo>
                      <a:lnTo>
                        <a:pt x="147161" y="170021"/>
                      </a:lnTo>
                      <a:lnTo>
                        <a:pt x="184309" y="170021"/>
                      </a:lnTo>
                      <a:lnTo>
                        <a:pt x="184309" y="204311"/>
                      </a:lnTo>
                      <a:cubicBezTo>
                        <a:pt x="184309" y="205263"/>
                        <a:pt x="185261" y="205263"/>
                        <a:pt x="188119" y="205263"/>
                      </a:cubicBezTo>
                      <a:lnTo>
                        <a:pt x="194786" y="205263"/>
                      </a:lnTo>
                      <a:lnTo>
                        <a:pt x="212884" y="205263"/>
                      </a:lnTo>
                      <a:lnTo>
                        <a:pt x="212884" y="170021"/>
                      </a:lnTo>
                      <a:lnTo>
                        <a:pt x="238601" y="170021"/>
                      </a:lnTo>
                      <a:lnTo>
                        <a:pt x="236696" y="225266"/>
                      </a:lnTo>
                      <a:close/>
                      <a:moveTo>
                        <a:pt x="132874" y="25241"/>
                      </a:moveTo>
                      <a:cubicBezTo>
                        <a:pt x="182404" y="25241"/>
                        <a:pt x="222409" y="37623"/>
                        <a:pt x="222409" y="52863"/>
                      </a:cubicBezTo>
                      <a:cubicBezTo>
                        <a:pt x="222409" y="68104"/>
                        <a:pt x="182404" y="80486"/>
                        <a:pt x="132874" y="80486"/>
                      </a:cubicBezTo>
                      <a:cubicBezTo>
                        <a:pt x="83344" y="80486"/>
                        <a:pt x="43339" y="68104"/>
                        <a:pt x="43339" y="52863"/>
                      </a:cubicBezTo>
                      <a:cubicBezTo>
                        <a:pt x="43339" y="37623"/>
                        <a:pt x="83344" y="25241"/>
                        <a:pt x="132874" y="25241"/>
                      </a:cubicBezTo>
                      <a:close/>
                      <a:moveTo>
                        <a:pt x="132874" y="7144"/>
                      </a:moveTo>
                      <a:cubicBezTo>
                        <a:pt x="63341" y="7144"/>
                        <a:pt x="7144" y="30956"/>
                        <a:pt x="7144" y="56673"/>
                      </a:cubicBezTo>
                      <a:lnTo>
                        <a:pt x="7144" y="290988"/>
                      </a:lnTo>
                      <a:cubicBezTo>
                        <a:pt x="7144" y="316706"/>
                        <a:pt x="63341" y="346234"/>
                        <a:pt x="132874" y="346234"/>
                      </a:cubicBezTo>
                      <a:cubicBezTo>
                        <a:pt x="202406" y="346234"/>
                        <a:pt x="257651" y="317659"/>
                        <a:pt x="257651" y="291941"/>
                      </a:cubicBezTo>
                      <a:lnTo>
                        <a:pt x="257651" y="57626"/>
                      </a:lnTo>
                      <a:cubicBezTo>
                        <a:pt x="258604" y="31909"/>
                        <a:pt x="202406" y="7144"/>
                        <a:pt x="132874" y="7144"/>
                      </a:cubicBezTo>
                      <a:close/>
                    </a:path>
                  </a:pathLst>
                </a:custGeom>
                <a:solidFill>
                  <a:srgbClr val="0078D7"/>
                </a:solidFill>
                <a:ln w="9525" cap="flat">
                  <a:noFill/>
                  <a:prstDash val="solid"/>
                  <a:miter/>
                </a:ln>
              </p:spPr>
              <p:txBody>
                <a:bodyPr rtlCol="0" anchor="ctr"/>
                <a:lstStyle/>
                <a:p>
                  <a:endParaRPr lang="en-US"/>
                </a:p>
              </p:txBody>
            </p:sp>
          </p:grpSp>
          <p:grpSp>
            <p:nvGrpSpPr>
              <p:cNvPr id="53" name="Group 52">
                <a:extLst>
                  <a:ext uri="{FF2B5EF4-FFF2-40B4-BE49-F238E27FC236}">
                    <a16:creationId xmlns:a16="http://schemas.microsoft.com/office/drawing/2014/main" id="{3E28B247-3F6B-4ED7-869D-9D4D19A2CDA6}"/>
                  </a:ext>
                </a:extLst>
              </p:cNvPr>
              <p:cNvGrpSpPr/>
              <p:nvPr/>
            </p:nvGrpSpPr>
            <p:grpSpPr>
              <a:xfrm>
                <a:off x="9275551" y="5151531"/>
                <a:ext cx="780834" cy="780835"/>
                <a:chOff x="2666438" y="5071310"/>
                <a:chExt cx="861056" cy="861056"/>
              </a:xfrm>
            </p:grpSpPr>
            <p:sp>
              <p:nvSpPr>
                <p:cNvPr id="41" name="Oval 40">
                  <a:extLst>
                    <a:ext uri="{FF2B5EF4-FFF2-40B4-BE49-F238E27FC236}">
                      <a16:creationId xmlns:a16="http://schemas.microsoft.com/office/drawing/2014/main" id="{916F6E9F-48FB-42B2-A762-1DFD5BF634F9}"/>
                    </a:ext>
                  </a:extLst>
                </p:cNvPr>
                <p:cNvSpPr/>
                <p:nvPr/>
              </p:nvSpPr>
              <p:spPr bwMode="auto">
                <a:xfrm>
                  <a:off x="2666438" y="507131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37" name="Group 36">
                  <a:extLst>
                    <a:ext uri="{FF2B5EF4-FFF2-40B4-BE49-F238E27FC236}">
                      <a16:creationId xmlns:a16="http://schemas.microsoft.com/office/drawing/2014/main" id="{A0ABCD15-C9BD-4953-88A5-6217B7D4ECF3}"/>
                    </a:ext>
                  </a:extLst>
                </p:cNvPr>
                <p:cNvGrpSpPr/>
                <p:nvPr/>
              </p:nvGrpSpPr>
              <p:grpSpPr>
                <a:xfrm>
                  <a:off x="2840744" y="5301813"/>
                  <a:ext cx="512445" cy="400050"/>
                  <a:chOff x="5794534" y="3153251"/>
                  <a:chExt cx="512445" cy="400050"/>
                </a:xfrm>
                <a:solidFill>
                  <a:srgbClr val="0078D7"/>
                </a:solidFill>
              </p:grpSpPr>
              <p:sp>
                <p:nvSpPr>
                  <p:cNvPr id="19" name="Freeform: Shape 18">
                    <a:extLst>
                      <a:ext uri="{FF2B5EF4-FFF2-40B4-BE49-F238E27FC236}">
                        <a16:creationId xmlns:a16="http://schemas.microsoft.com/office/drawing/2014/main" id="{DABBE7FF-2A8D-4918-BAB5-51827DD6B02A}"/>
                      </a:ext>
                    </a:extLst>
                  </p:cNvPr>
                  <p:cNvSpPr/>
                  <p:nvPr/>
                </p:nvSpPr>
                <p:spPr>
                  <a:xfrm>
                    <a:off x="5945029" y="3153251"/>
                    <a:ext cx="361950" cy="400050"/>
                  </a:xfrm>
                  <a:custGeom>
                    <a:avLst/>
                    <a:gdLst>
                      <a:gd name="connsiteX0" fmla="*/ 290036 w 361950"/>
                      <a:gd name="connsiteY0" fmla="*/ 270034 h 400050"/>
                      <a:gd name="connsiteX1" fmla="*/ 303371 w 361950"/>
                      <a:gd name="connsiteY1" fmla="*/ 239554 h 400050"/>
                      <a:gd name="connsiteX2" fmla="*/ 357664 w 361950"/>
                      <a:gd name="connsiteY2" fmla="*/ 220504 h 400050"/>
                      <a:gd name="connsiteX3" fmla="*/ 357664 w 361950"/>
                      <a:gd name="connsiteY3" fmla="*/ 176689 h 400050"/>
                      <a:gd name="connsiteX4" fmla="*/ 351949 w 361950"/>
                      <a:gd name="connsiteY4" fmla="*/ 174784 h 400050"/>
                      <a:gd name="connsiteX5" fmla="*/ 304324 w 361950"/>
                      <a:gd name="connsiteY5" fmla="*/ 158591 h 400050"/>
                      <a:gd name="connsiteX6" fmla="*/ 290989 w 361950"/>
                      <a:gd name="connsiteY6" fmla="*/ 128111 h 400050"/>
                      <a:gd name="connsiteX7" fmla="*/ 315754 w 361950"/>
                      <a:gd name="connsiteY7" fmla="*/ 76676 h 400050"/>
                      <a:gd name="connsiteX8" fmla="*/ 315754 w 361950"/>
                      <a:gd name="connsiteY8" fmla="*/ 76676 h 400050"/>
                      <a:gd name="connsiteX9" fmla="*/ 285274 w 361950"/>
                      <a:gd name="connsiteY9" fmla="*/ 46196 h 400050"/>
                      <a:gd name="connsiteX10" fmla="*/ 278606 w 361950"/>
                      <a:gd name="connsiteY10" fmla="*/ 50006 h 400050"/>
                      <a:gd name="connsiteX11" fmla="*/ 233839 w 361950"/>
                      <a:gd name="connsiteY11" fmla="*/ 72866 h 400050"/>
                      <a:gd name="connsiteX12" fmla="*/ 203359 w 361950"/>
                      <a:gd name="connsiteY12" fmla="*/ 59531 h 400050"/>
                      <a:gd name="connsiteX13" fmla="*/ 183356 w 361950"/>
                      <a:gd name="connsiteY13" fmla="*/ 7144 h 400050"/>
                      <a:gd name="connsiteX14" fmla="*/ 138589 w 361950"/>
                      <a:gd name="connsiteY14" fmla="*/ 7144 h 400050"/>
                      <a:gd name="connsiteX15" fmla="*/ 136684 w 361950"/>
                      <a:gd name="connsiteY15" fmla="*/ 12859 h 400050"/>
                      <a:gd name="connsiteX16" fmla="*/ 120491 w 361950"/>
                      <a:gd name="connsiteY16" fmla="*/ 59531 h 400050"/>
                      <a:gd name="connsiteX17" fmla="*/ 90011 w 361950"/>
                      <a:gd name="connsiteY17" fmla="*/ 72866 h 400050"/>
                      <a:gd name="connsiteX18" fmla="*/ 37624 w 361950"/>
                      <a:gd name="connsiteY18" fmla="*/ 50006 h 400050"/>
                      <a:gd name="connsiteX19" fmla="*/ 7144 w 361950"/>
                      <a:gd name="connsiteY19" fmla="*/ 80486 h 400050"/>
                      <a:gd name="connsiteX20" fmla="*/ 10001 w 361950"/>
                      <a:gd name="connsiteY20" fmla="*/ 86201 h 400050"/>
                      <a:gd name="connsiteX21" fmla="*/ 24289 w 361950"/>
                      <a:gd name="connsiteY21" fmla="*/ 112871 h 400050"/>
                      <a:gd name="connsiteX22" fmla="*/ 104299 w 361950"/>
                      <a:gd name="connsiteY22" fmla="*/ 92869 h 400050"/>
                      <a:gd name="connsiteX23" fmla="*/ 207169 w 361950"/>
                      <a:gd name="connsiteY23" fmla="*/ 134779 h 400050"/>
                      <a:gd name="connsiteX24" fmla="*/ 226219 w 361950"/>
                      <a:gd name="connsiteY24" fmla="*/ 150971 h 400050"/>
                      <a:gd name="connsiteX25" fmla="*/ 233839 w 361950"/>
                      <a:gd name="connsiteY25" fmla="*/ 162401 h 400050"/>
                      <a:gd name="connsiteX26" fmla="*/ 213836 w 361950"/>
                      <a:gd name="connsiteY26" fmla="*/ 262414 h 400050"/>
                      <a:gd name="connsiteX27" fmla="*/ 133826 w 361950"/>
                      <a:gd name="connsiteY27" fmla="*/ 273844 h 400050"/>
                      <a:gd name="connsiteX28" fmla="*/ 128111 w 361950"/>
                      <a:gd name="connsiteY28" fmla="*/ 270986 h 400050"/>
                      <a:gd name="connsiteX29" fmla="*/ 128111 w 361950"/>
                      <a:gd name="connsiteY29" fmla="*/ 270986 h 400050"/>
                      <a:gd name="connsiteX30" fmla="*/ 128111 w 361950"/>
                      <a:gd name="connsiteY30" fmla="*/ 270986 h 400050"/>
                      <a:gd name="connsiteX31" fmla="*/ 110966 w 361950"/>
                      <a:gd name="connsiteY31" fmla="*/ 258604 h 400050"/>
                      <a:gd name="connsiteX32" fmla="*/ 105251 w 361950"/>
                      <a:gd name="connsiteY32" fmla="*/ 256699 h 400050"/>
                      <a:gd name="connsiteX33" fmla="*/ 88106 w 361950"/>
                      <a:gd name="connsiteY33" fmla="*/ 264319 h 400050"/>
                      <a:gd name="connsiteX34" fmla="*/ 86201 w 361950"/>
                      <a:gd name="connsiteY34" fmla="*/ 266224 h 400050"/>
                      <a:gd name="connsiteX35" fmla="*/ 86201 w 361950"/>
                      <a:gd name="connsiteY35" fmla="*/ 266224 h 400050"/>
                      <a:gd name="connsiteX36" fmla="*/ 22384 w 361950"/>
                      <a:gd name="connsiteY36" fmla="*/ 307181 h 400050"/>
                      <a:gd name="connsiteX37" fmla="*/ 7144 w 361950"/>
                      <a:gd name="connsiteY37" fmla="*/ 323374 h 400050"/>
                      <a:gd name="connsiteX38" fmla="*/ 36671 w 361950"/>
                      <a:gd name="connsiteY38" fmla="*/ 352901 h 400050"/>
                      <a:gd name="connsiteX39" fmla="*/ 38576 w 361950"/>
                      <a:gd name="connsiteY39" fmla="*/ 354806 h 400050"/>
                      <a:gd name="connsiteX40" fmla="*/ 44291 w 361950"/>
                      <a:gd name="connsiteY40" fmla="*/ 351949 h 400050"/>
                      <a:gd name="connsiteX41" fmla="*/ 89059 w 361950"/>
                      <a:gd name="connsiteY41" fmla="*/ 329089 h 400050"/>
                      <a:gd name="connsiteX42" fmla="*/ 119539 w 361950"/>
                      <a:gd name="connsiteY42" fmla="*/ 341471 h 400050"/>
                      <a:gd name="connsiteX43" fmla="*/ 136684 w 361950"/>
                      <a:gd name="connsiteY43" fmla="*/ 393859 h 400050"/>
                      <a:gd name="connsiteX44" fmla="*/ 181451 w 361950"/>
                      <a:gd name="connsiteY44" fmla="*/ 393859 h 400050"/>
                      <a:gd name="connsiteX45" fmla="*/ 183356 w 361950"/>
                      <a:gd name="connsiteY45" fmla="*/ 388144 h 400050"/>
                      <a:gd name="connsiteX46" fmla="*/ 199549 w 361950"/>
                      <a:gd name="connsiteY46" fmla="*/ 341471 h 400050"/>
                      <a:gd name="connsiteX47" fmla="*/ 230029 w 361950"/>
                      <a:gd name="connsiteY47" fmla="*/ 328136 h 400050"/>
                      <a:gd name="connsiteX48" fmla="*/ 282416 w 361950"/>
                      <a:gd name="connsiteY48" fmla="*/ 350996 h 400050"/>
                      <a:gd name="connsiteX49" fmla="*/ 312896 w 361950"/>
                      <a:gd name="connsiteY49" fmla="*/ 320516 h 400050"/>
                      <a:gd name="connsiteX50" fmla="*/ 312896 w 361950"/>
                      <a:gd name="connsiteY50" fmla="*/ 313849 h 400050"/>
                      <a:gd name="connsiteX51" fmla="*/ 290036 w 361950"/>
                      <a:gd name="connsiteY51" fmla="*/ 270034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61950" h="400050">
                        <a:moveTo>
                          <a:pt x="290036" y="270034"/>
                        </a:moveTo>
                        <a:lnTo>
                          <a:pt x="303371" y="239554"/>
                        </a:lnTo>
                        <a:lnTo>
                          <a:pt x="357664" y="220504"/>
                        </a:lnTo>
                        <a:lnTo>
                          <a:pt x="357664" y="176689"/>
                        </a:lnTo>
                        <a:lnTo>
                          <a:pt x="351949" y="174784"/>
                        </a:lnTo>
                        <a:lnTo>
                          <a:pt x="304324" y="158591"/>
                        </a:lnTo>
                        <a:lnTo>
                          <a:pt x="290989" y="128111"/>
                        </a:lnTo>
                        <a:lnTo>
                          <a:pt x="315754" y="76676"/>
                        </a:lnTo>
                        <a:lnTo>
                          <a:pt x="315754" y="76676"/>
                        </a:lnTo>
                        <a:lnTo>
                          <a:pt x="285274" y="46196"/>
                        </a:lnTo>
                        <a:lnTo>
                          <a:pt x="278606" y="50006"/>
                        </a:lnTo>
                        <a:lnTo>
                          <a:pt x="233839" y="72866"/>
                        </a:lnTo>
                        <a:lnTo>
                          <a:pt x="203359" y="59531"/>
                        </a:lnTo>
                        <a:lnTo>
                          <a:pt x="183356" y="7144"/>
                        </a:lnTo>
                        <a:lnTo>
                          <a:pt x="138589" y="7144"/>
                        </a:lnTo>
                        <a:lnTo>
                          <a:pt x="136684" y="12859"/>
                        </a:lnTo>
                        <a:lnTo>
                          <a:pt x="120491" y="59531"/>
                        </a:lnTo>
                        <a:lnTo>
                          <a:pt x="90011" y="72866"/>
                        </a:lnTo>
                        <a:lnTo>
                          <a:pt x="37624" y="50006"/>
                        </a:lnTo>
                        <a:lnTo>
                          <a:pt x="7144" y="80486"/>
                        </a:lnTo>
                        <a:lnTo>
                          <a:pt x="10001" y="86201"/>
                        </a:lnTo>
                        <a:lnTo>
                          <a:pt x="24289" y="112871"/>
                        </a:lnTo>
                        <a:cubicBezTo>
                          <a:pt x="49054" y="98584"/>
                          <a:pt x="75724" y="92869"/>
                          <a:pt x="104299" y="92869"/>
                        </a:cubicBezTo>
                        <a:cubicBezTo>
                          <a:pt x="143351" y="94774"/>
                          <a:pt x="179546" y="109061"/>
                          <a:pt x="207169" y="134779"/>
                        </a:cubicBezTo>
                        <a:cubicBezTo>
                          <a:pt x="212884" y="139541"/>
                          <a:pt x="220504" y="143351"/>
                          <a:pt x="226219" y="150971"/>
                        </a:cubicBezTo>
                        <a:cubicBezTo>
                          <a:pt x="229076" y="153829"/>
                          <a:pt x="231934" y="158591"/>
                          <a:pt x="233839" y="162401"/>
                        </a:cubicBezTo>
                        <a:cubicBezTo>
                          <a:pt x="252889" y="195739"/>
                          <a:pt x="245269" y="237649"/>
                          <a:pt x="213836" y="262414"/>
                        </a:cubicBezTo>
                        <a:cubicBezTo>
                          <a:pt x="190976" y="281464"/>
                          <a:pt x="158591" y="284321"/>
                          <a:pt x="133826" y="273844"/>
                        </a:cubicBezTo>
                        <a:cubicBezTo>
                          <a:pt x="130969" y="271939"/>
                          <a:pt x="129064" y="271939"/>
                          <a:pt x="128111" y="270986"/>
                        </a:cubicBezTo>
                        <a:lnTo>
                          <a:pt x="128111" y="270986"/>
                        </a:lnTo>
                        <a:lnTo>
                          <a:pt x="128111" y="270986"/>
                        </a:lnTo>
                        <a:cubicBezTo>
                          <a:pt x="122396" y="268129"/>
                          <a:pt x="115729" y="263366"/>
                          <a:pt x="110966" y="258604"/>
                        </a:cubicBezTo>
                        <a:cubicBezTo>
                          <a:pt x="109061" y="258604"/>
                          <a:pt x="108109" y="256699"/>
                          <a:pt x="105251" y="256699"/>
                        </a:cubicBezTo>
                        <a:cubicBezTo>
                          <a:pt x="99536" y="256699"/>
                          <a:pt x="91916" y="259556"/>
                          <a:pt x="88106" y="264319"/>
                        </a:cubicBezTo>
                        <a:lnTo>
                          <a:pt x="86201" y="266224"/>
                        </a:lnTo>
                        <a:lnTo>
                          <a:pt x="86201" y="266224"/>
                        </a:lnTo>
                        <a:cubicBezTo>
                          <a:pt x="67151" y="285274"/>
                          <a:pt x="45244" y="299561"/>
                          <a:pt x="22384" y="307181"/>
                        </a:cubicBezTo>
                        <a:lnTo>
                          <a:pt x="7144" y="323374"/>
                        </a:lnTo>
                        <a:lnTo>
                          <a:pt x="36671" y="352901"/>
                        </a:lnTo>
                        <a:lnTo>
                          <a:pt x="38576" y="354806"/>
                        </a:lnTo>
                        <a:lnTo>
                          <a:pt x="44291" y="351949"/>
                        </a:lnTo>
                        <a:lnTo>
                          <a:pt x="89059" y="329089"/>
                        </a:lnTo>
                        <a:lnTo>
                          <a:pt x="119539" y="341471"/>
                        </a:lnTo>
                        <a:lnTo>
                          <a:pt x="136684" y="393859"/>
                        </a:lnTo>
                        <a:lnTo>
                          <a:pt x="181451" y="393859"/>
                        </a:lnTo>
                        <a:lnTo>
                          <a:pt x="183356" y="388144"/>
                        </a:lnTo>
                        <a:lnTo>
                          <a:pt x="199549" y="341471"/>
                        </a:lnTo>
                        <a:lnTo>
                          <a:pt x="230029" y="328136"/>
                        </a:lnTo>
                        <a:lnTo>
                          <a:pt x="282416" y="350996"/>
                        </a:lnTo>
                        <a:lnTo>
                          <a:pt x="312896" y="320516"/>
                        </a:lnTo>
                        <a:lnTo>
                          <a:pt x="312896" y="313849"/>
                        </a:lnTo>
                        <a:lnTo>
                          <a:pt x="290036" y="270034"/>
                        </a:lnTo>
                        <a:close/>
                      </a:path>
                    </a:pathLst>
                  </a:custGeom>
                  <a:grp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B9F8B23-BF7A-4783-BA5B-7B5D0FB600DB}"/>
                      </a:ext>
                    </a:extLst>
                  </p:cNvPr>
                  <p:cNvSpPr/>
                  <p:nvPr/>
                </p:nvSpPr>
                <p:spPr>
                  <a:xfrm>
                    <a:off x="5820251" y="3306714"/>
                    <a:ext cx="295275" cy="85725"/>
                  </a:xfrm>
                  <a:custGeom>
                    <a:avLst/>
                    <a:gdLst>
                      <a:gd name="connsiteX0" fmla="*/ 146209 w 295275"/>
                      <a:gd name="connsiteY0" fmla="*/ 39418 h 85725"/>
                      <a:gd name="connsiteX1" fmla="*/ 146209 w 295275"/>
                      <a:gd name="connsiteY1" fmla="*/ 39418 h 85725"/>
                      <a:gd name="connsiteX2" fmla="*/ 146209 w 295275"/>
                      <a:gd name="connsiteY2" fmla="*/ 39418 h 85725"/>
                      <a:gd name="connsiteX3" fmla="*/ 24289 w 295275"/>
                      <a:gd name="connsiteY3" fmla="*/ 37513 h 85725"/>
                      <a:gd name="connsiteX4" fmla="*/ 10001 w 295275"/>
                      <a:gd name="connsiteY4" fmla="*/ 37513 h 85725"/>
                      <a:gd name="connsiteX5" fmla="*/ 7144 w 295275"/>
                      <a:gd name="connsiteY5" fmla="*/ 45133 h 85725"/>
                      <a:gd name="connsiteX6" fmla="*/ 10001 w 295275"/>
                      <a:gd name="connsiteY6" fmla="*/ 52753 h 85725"/>
                      <a:gd name="connsiteX7" fmla="*/ 159544 w 295275"/>
                      <a:gd name="connsiteY7" fmla="*/ 55611 h 85725"/>
                      <a:gd name="connsiteX8" fmla="*/ 159544 w 295275"/>
                      <a:gd name="connsiteY8" fmla="*/ 53706 h 85725"/>
                      <a:gd name="connsiteX9" fmla="*/ 159544 w 295275"/>
                      <a:gd name="connsiteY9" fmla="*/ 53706 h 85725"/>
                      <a:gd name="connsiteX10" fmla="*/ 279559 w 295275"/>
                      <a:gd name="connsiteY10" fmla="*/ 56563 h 85725"/>
                      <a:gd name="connsiteX11" fmla="*/ 293846 w 295275"/>
                      <a:gd name="connsiteY11" fmla="*/ 56563 h 85725"/>
                      <a:gd name="connsiteX12" fmla="*/ 296704 w 295275"/>
                      <a:gd name="connsiteY12" fmla="*/ 48943 h 85725"/>
                      <a:gd name="connsiteX13" fmla="*/ 293846 w 295275"/>
                      <a:gd name="connsiteY13" fmla="*/ 41323 h 85725"/>
                      <a:gd name="connsiteX14" fmla="*/ 146209 w 295275"/>
                      <a:gd name="connsiteY14" fmla="*/ 39418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5275" h="85725">
                        <a:moveTo>
                          <a:pt x="146209" y="39418"/>
                        </a:moveTo>
                        <a:lnTo>
                          <a:pt x="146209" y="39418"/>
                        </a:lnTo>
                        <a:lnTo>
                          <a:pt x="146209" y="39418"/>
                        </a:lnTo>
                        <a:cubicBezTo>
                          <a:pt x="111919" y="75613"/>
                          <a:pt x="57626" y="75613"/>
                          <a:pt x="24289" y="37513"/>
                        </a:cubicBezTo>
                        <a:cubicBezTo>
                          <a:pt x="21431" y="32751"/>
                          <a:pt x="12859" y="32751"/>
                          <a:pt x="10001" y="37513"/>
                        </a:cubicBezTo>
                        <a:cubicBezTo>
                          <a:pt x="8096" y="39418"/>
                          <a:pt x="7144" y="42276"/>
                          <a:pt x="7144" y="45133"/>
                        </a:cubicBezTo>
                        <a:cubicBezTo>
                          <a:pt x="7144" y="47991"/>
                          <a:pt x="9049" y="50848"/>
                          <a:pt x="10001" y="52753"/>
                        </a:cubicBezTo>
                        <a:cubicBezTo>
                          <a:pt x="50959" y="97521"/>
                          <a:pt x="117634" y="99426"/>
                          <a:pt x="159544" y="55611"/>
                        </a:cubicBezTo>
                        <a:lnTo>
                          <a:pt x="159544" y="53706"/>
                        </a:lnTo>
                        <a:lnTo>
                          <a:pt x="159544" y="53706"/>
                        </a:lnTo>
                        <a:cubicBezTo>
                          <a:pt x="193834" y="19416"/>
                          <a:pt x="247174" y="19416"/>
                          <a:pt x="279559" y="56563"/>
                        </a:cubicBezTo>
                        <a:cubicBezTo>
                          <a:pt x="284321" y="61326"/>
                          <a:pt x="290989" y="61326"/>
                          <a:pt x="293846" y="56563"/>
                        </a:cubicBezTo>
                        <a:cubicBezTo>
                          <a:pt x="295751" y="54658"/>
                          <a:pt x="296704" y="51801"/>
                          <a:pt x="296704" y="48943"/>
                        </a:cubicBezTo>
                        <a:cubicBezTo>
                          <a:pt x="296704" y="46086"/>
                          <a:pt x="294799" y="43228"/>
                          <a:pt x="293846" y="41323"/>
                        </a:cubicBezTo>
                        <a:cubicBezTo>
                          <a:pt x="254794" y="-3444"/>
                          <a:pt x="188119" y="-4397"/>
                          <a:pt x="146209" y="39418"/>
                        </a:cubicBezTo>
                        <a:close/>
                      </a:path>
                    </a:pathLst>
                  </a:custGeom>
                  <a:grp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6BA37729-4987-4A0A-B9EB-C8752434CA27}"/>
                      </a:ext>
                    </a:extLst>
                  </p:cNvPr>
                  <p:cNvSpPr/>
                  <p:nvPr/>
                </p:nvSpPr>
                <p:spPr>
                  <a:xfrm>
                    <a:off x="5794534" y="3357086"/>
                    <a:ext cx="304800" cy="95250"/>
                  </a:xfrm>
                  <a:custGeom>
                    <a:avLst/>
                    <a:gdLst>
                      <a:gd name="connsiteX0" fmla="*/ 246221 w 304800"/>
                      <a:gd name="connsiteY0" fmla="*/ 7144 h 95250"/>
                      <a:gd name="connsiteX1" fmla="*/ 198596 w 304800"/>
                      <a:gd name="connsiteY1" fmla="*/ 27146 h 95250"/>
                      <a:gd name="connsiteX2" fmla="*/ 196691 w 304800"/>
                      <a:gd name="connsiteY2" fmla="*/ 29051 h 95250"/>
                      <a:gd name="connsiteX3" fmla="*/ 194786 w 304800"/>
                      <a:gd name="connsiteY3" fmla="*/ 30956 h 95250"/>
                      <a:gd name="connsiteX4" fmla="*/ 107156 w 304800"/>
                      <a:gd name="connsiteY4" fmla="*/ 67151 h 95250"/>
                      <a:gd name="connsiteX5" fmla="*/ 21431 w 304800"/>
                      <a:gd name="connsiteY5" fmla="*/ 26194 h 95250"/>
                      <a:gd name="connsiteX6" fmla="*/ 7144 w 304800"/>
                      <a:gd name="connsiteY6" fmla="*/ 26194 h 95250"/>
                      <a:gd name="connsiteX7" fmla="*/ 7144 w 304800"/>
                      <a:gd name="connsiteY7" fmla="*/ 33814 h 95250"/>
                      <a:gd name="connsiteX8" fmla="*/ 10001 w 304800"/>
                      <a:gd name="connsiteY8" fmla="*/ 41434 h 95250"/>
                      <a:gd name="connsiteX9" fmla="*/ 110014 w 304800"/>
                      <a:gd name="connsiteY9" fmla="*/ 88106 h 95250"/>
                      <a:gd name="connsiteX10" fmla="*/ 211931 w 304800"/>
                      <a:gd name="connsiteY10" fmla="*/ 44291 h 95250"/>
                      <a:gd name="connsiteX11" fmla="*/ 213836 w 304800"/>
                      <a:gd name="connsiteY11" fmla="*/ 42386 h 95250"/>
                      <a:gd name="connsiteX12" fmla="*/ 215741 w 304800"/>
                      <a:gd name="connsiteY12" fmla="*/ 40481 h 95250"/>
                      <a:gd name="connsiteX13" fmla="*/ 249079 w 304800"/>
                      <a:gd name="connsiteY13" fmla="*/ 26194 h 95250"/>
                      <a:gd name="connsiteX14" fmla="*/ 282416 w 304800"/>
                      <a:gd name="connsiteY14" fmla="*/ 42386 h 95250"/>
                      <a:gd name="connsiteX15" fmla="*/ 296704 w 304800"/>
                      <a:gd name="connsiteY15" fmla="*/ 42386 h 95250"/>
                      <a:gd name="connsiteX16" fmla="*/ 299561 w 304800"/>
                      <a:gd name="connsiteY16" fmla="*/ 34766 h 95250"/>
                      <a:gd name="connsiteX17" fmla="*/ 296704 w 304800"/>
                      <a:gd name="connsiteY17" fmla="*/ 27146 h 95250"/>
                      <a:gd name="connsiteX18" fmla="*/ 246221 w 304800"/>
                      <a:gd name="connsiteY18" fmla="*/ 71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4800" h="95250">
                        <a:moveTo>
                          <a:pt x="246221" y="7144"/>
                        </a:moveTo>
                        <a:cubicBezTo>
                          <a:pt x="227171" y="7144"/>
                          <a:pt x="211931" y="12859"/>
                          <a:pt x="198596" y="27146"/>
                        </a:cubicBezTo>
                        <a:lnTo>
                          <a:pt x="196691" y="29051"/>
                        </a:lnTo>
                        <a:lnTo>
                          <a:pt x="194786" y="30956"/>
                        </a:lnTo>
                        <a:cubicBezTo>
                          <a:pt x="171926" y="55721"/>
                          <a:pt x="139541" y="69056"/>
                          <a:pt x="107156" y="67151"/>
                        </a:cubicBezTo>
                        <a:cubicBezTo>
                          <a:pt x="73819" y="67151"/>
                          <a:pt x="44291" y="50959"/>
                          <a:pt x="21431" y="26194"/>
                        </a:cubicBezTo>
                        <a:cubicBezTo>
                          <a:pt x="16669" y="21431"/>
                          <a:pt x="10001" y="21431"/>
                          <a:pt x="7144" y="26194"/>
                        </a:cubicBezTo>
                        <a:cubicBezTo>
                          <a:pt x="7144" y="28099"/>
                          <a:pt x="7144" y="30956"/>
                          <a:pt x="7144" y="33814"/>
                        </a:cubicBezTo>
                        <a:cubicBezTo>
                          <a:pt x="7144" y="36671"/>
                          <a:pt x="9049" y="39529"/>
                          <a:pt x="10001" y="41434"/>
                        </a:cubicBezTo>
                        <a:cubicBezTo>
                          <a:pt x="36671" y="70961"/>
                          <a:pt x="71914" y="88106"/>
                          <a:pt x="110014" y="88106"/>
                        </a:cubicBezTo>
                        <a:cubicBezTo>
                          <a:pt x="148114" y="90011"/>
                          <a:pt x="182404" y="73819"/>
                          <a:pt x="211931" y="44291"/>
                        </a:cubicBezTo>
                        <a:lnTo>
                          <a:pt x="213836" y="42386"/>
                        </a:lnTo>
                        <a:lnTo>
                          <a:pt x="215741" y="40481"/>
                        </a:lnTo>
                        <a:cubicBezTo>
                          <a:pt x="224314" y="31909"/>
                          <a:pt x="235744" y="26194"/>
                          <a:pt x="249079" y="26194"/>
                        </a:cubicBezTo>
                        <a:cubicBezTo>
                          <a:pt x="262414" y="26194"/>
                          <a:pt x="271939" y="31909"/>
                          <a:pt x="282416" y="42386"/>
                        </a:cubicBezTo>
                        <a:cubicBezTo>
                          <a:pt x="287179" y="47149"/>
                          <a:pt x="293846" y="47149"/>
                          <a:pt x="296704" y="42386"/>
                        </a:cubicBezTo>
                        <a:cubicBezTo>
                          <a:pt x="298609" y="40481"/>
                          <a:pt x="299561" y="37624"/>
                          <a:pt x="299561" y="34766"/>
                        </a:cubicBezTo>
                        <a:cubicBezTo>
                          <a:pt x="299561" y="31909"/>
                          <a:pt x="297656" y="29051"/>
                          <a:pt x="296704" y="27146"/>
                        </a:cubicBezTo>
                        <a:cubicBezTo>
                          <a:pt x="282416" y="14764"/>
                          <a:pt x="265271" y="7144"/>
                          <a:pt x="246221" y="7144"/>
                        </a:cubicBezTo>
                        <a:close/>
                      </a:path>
                    </a:pathLst>
                  </a:custGeom>
                  <a:grp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D1B99031-2498-4E05-A97F-65D79F2EF9BE}"/>
                      </a:ext>
                    </a:extLst>
                  </p:cNvPr>
                  <p:cNvSpPr/>
                  <p:nvPr/>
                </p:nvSpPr>
                <p:spPr>
                  <a:xfrm>
                    <a:off x="5846921" y="3257074"/>
                    <a:ext cx="295275" cy="95250"/>
                  </a:xfrm>
                  <a:custGeom>
                    <a:avLst/>
                    <a:gdLst>
                      <a:gd name="connsiteX0" fmla="*/ 295751 w 295275"/>
                      <a:gd name="connsiteY0" fmla="*/ 53816 h 95250"/>
                      <a:gd name="connsiteX1" fmla="*/ 195739 w 295275"/>
                      <a:gd name="connsiteY1" fmla="*/ 7144 h 95250"/>
                      <a:gd name="connsiteX2" fmla="*/ 93821 w 295275"/>
                      <a:gd name="connsiteY2" fmla="*/ 50959 h 95250"/>
                      <a:gd name="connsiteX3" fmla="*/ 91916 w 295275"/>
                      <a:gd name="connsiteY3" fmla="*/ 52864 h 95250"/>
                      <a:gd name="connsiteX4" fmla="*/ 90011 w 295275"/>
                      <a:gd name="connsiteY4" fmla="*/ 54769 h 95250"/>
                      <a:gd name="connsiteX5" fmla="*/ 56674 w 295275"/>
                      <a:gd name="connsiteY5" fmla="*/ 69056 h 95250"/>
                      <a:gd name="connsiteX6" fmla="*/ 24289 w 295275"/>
                      <a:gd name="connsiteY6" fmla="*/ 52864 h 95250"/>
                      <a:gd name="connsiteX7" fmla="*/ 10001 w 295275"/>
                      <a:gd name="connsiteY7" fmla="*/ 52864 h 95250"/>
                      <a:gd name="connsiteX8" fmla="*/ 7144 w 295275"/>
                      <a:gd name="connsiteY8" fmla="*/ 60484 h 95250"/>
                      <a:gd name="connsiteX9" fmla="*/ 10001 w 295275"/>
                      <a:gd name="connsiteY9" fmla="*/ 68104 h 95250"/>
                      <a:gd name="connsiteX10" fmla="*/ 56674 w 295275"/>
                      <a:gd name="connsiteY10" fmla="*/ 90011 h 95250"/>
                      <a:gd name="connsiteX11" fmla="*/ 104299 w 295275"/>
                      <a:gd name="connsiteY11" fmla="*/ 70009 h 95250"/>
                      <a:gd name="connsiteX12" fmla="*/ 106204 w 295275"/>
                      <a:gd name="connsiteY12" fmla="*/ 68104 h 95250"/>
                      <a:gd name="connsiteX13" fmla="*/ 108109 w 295275"/>
                      <a:gd name="connsiteY13" fmla="*/ 66199 h 95250"/>
                      <a:gd name="connsiteX14" fmla="*/ 195739 w 295275"/>
                      <a:gd name="connsiteY14" fmla="*/ 28099 h 95250"/>
                      <a:gd name="connsiteX15" fmla="*/ 279559 w 295275"/>
                      <a:gd name="connsiteY15" fmla="*/ 69056 h 95250"/>
                      <a:gd name="connsiteX16" fmla="*/ 293846 w 295275"/>
                      <a:gd name="connsiteY16" fmla="*/ 69056 h 95250"/>
                      <a:gd name="connsiteX17" fmla="*/ 296704 w 295275"/>
                      <a:gd name="connsiteY17" fmla="*/ 61436 h 95250"/>
                      <a:gd name="connsiteX18" fmla="*/ 295751 w 295275"/>
                      <a:gd name="connsiteY18" fmla="*/ 5381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5275" h="95250">
                        <a:moveTo>
                          <a:pt x="295751" y="53816"/>
                        </a:moveTo>
                        <a:cubicBezTo>
                          <a:pt x="269081" y="24289"/>
                          <a:pt x="232886" y="7144"/>
                          <a:pt x="195739" y="7144"/>
                        </a:cubicBezTo>
                        <a:cubicBezTo>
                          <a:pt x="158591" y="7144"/>
                          <a:pt x="123349" y="21431"/>
                          <a:pt x="93821" y="50959"/>
                        </a:cubicBezTo>
                        <a:lnTo>
                          <a:pt x="91916" y="52864"/>
                        </a:lnTo>
                        <a:lnTo>
                          <a:pt x="90011" y="54769"/>
                        </a:lnTo>
                        <a:cubicBezTo>
                          <a:pt x="81439" y="63341"/>
                          <a:pt x="70009" y="69056"/>
                          <a:pt x="56674" y="69056"/>
                        </a:cubicBezTo>
                        <a:cubicBezTo>
                          <a:pt x="43339" y="69056"/>
                          <a:pt x="34766" y="62389"/>
                          <a:pt x="24289" y="52864"/>
                        </a:cubicBezTo>
                        <a:cubicBezTo>
                          <a:pt x="19526" y="48101"/>
                          <a:pt x="12859" y="48101"/>
                          <a:pt x="10001" y="52864"/>
                        </a:cubicBezTo>
                        <a:cubicBezTo>
                          <a:pt x="8096" y="54769"/>
                          <a:pt x="7144" y="57626"/>
                          <a:pt x="7144" y="60484"/>
                        </a:cubicBezTo>
                        <a:cubicBezTo>
                          <a:pt x="7144" y="63341"/>
                          <a:pt x="9049" y="66199"/>
                          <a:pt x="10001" y="68104"/>
                        </a:cubicBezTo>
                        <a:cubicBezTo>
                          <a:pt x="23336" y="82391"/>
                          <a:pt x="39529" y="90011"/>
                          <a:pt x="56674" y="90011"/>
                        </a:cubicBezTo>
                        <a:cubicBezTo>
                          <a:pt x="75724" y="90011"/>
                          <a:pt x="90964" y="84296"/>
                          <a:pt x="104299" y="70009"/>
                        </a:cubicBezTo>
                        <a:lnTo>
                          <a:pt x="106204" y="68104"/>
                        </a:lnTo>
                        <a:cubicBezTo>
                          <a:pt x="106204" y="68104"/>
                          <a:pt x="108109" y="68104"/>
                          <a:pt x="108109" y="66199"/>
                        </a:cubicBezTo>
                        <a:cubicBezTo>
                          <a:pt x="130969" y="41434"/>
                          <a:pt x="163354" y="28099"/>
                          <a:pt x="195739" y="28099"/>
                        </a:cubicBezTo>
                        <a:cubicBezTo>
                          <a:pt x="229076" y="28099"/>
                          <a:pt x="258604" y="44291"/>
                          <a:pt x="279559" y="69056"/>
                        </a:cubicBezTo>
                        <a:cubicBezTo>
                          <a:pt x="284321" y="73819"/>
                          <a:pt x="290989" y="73819"/>
                          <a:pt x="293846" y="69056"/>
                        </a:cubicBezTo>
                        <a:cubicBezTo>
                          <a:pt x="295751" y="67151"/>
                          <a:pt x="296704" y="64294"/>
                          <a:pt x="296704" y="61436"/>
                        </a:cubicBezTo>
                        <a:cubicBezTo>
                          <a:pt x="298609" y="58579"/>
                          <a:pt x="296704" y="55721"/>
                          <a:pt x="295751" y="53816"/>
                        </a:cubicBezTo>
                        <a:close/>
                      </a:path>
                    </a:pathLst>
                  </a:custGeom>
                  <a:grpFill/>
                  <a:ln w="9525" cap="flat">
                    <a:noFill/>
                    <a:prstDash val="solid"/>
                    <a:miter/>
                  </a:ln>
                </p:spPr>
                <p:txBody>
                  <a:bodyPr rtlCol="0" anchor="ctr"/>
                  <a:lstStyle/>
                  <a:p>
                    <a:endParaRPr lang="en-US"/>
                  </a:p>
                </p:txBody>
              </p:sp>
            </p:grpSp>
          </p:grpSp>
          <p:grpSp>
            <p:nvGrpSpPr>
              <p:cNvPr id="52" name="Group 51">
                <a:extLst>
                  <a:ext uri="{FF2B5EF4-FFF2-40B4-BE49-F238E27FC236}">
                    <a16:creationId xmlns:a16="http://schemas.microsoft.com/office/drawing/2014/main" id="{E1822714-E960-4282-80B3-E2292721EBE2}"/>
                  </a:ext>
                </a:extLst>
              </p:cNvPr>
              <p:cNvGrpSpPr/>
              <p:nvPr/>
            </p:nvGrpSpPr>
            <p:grpSpPr>
              <a:xfrm>
                <a:off x="8106567" y="5151531"/>
                <a:ext cx="780834" cy="780835"/>
                <a:chOff x="1377355" y="5071310"/>
                <a:chExt cx="861056" cy="861056"/>
              </a:xfrm>
            </p:grpSpPr>
            <p:sp>
              <p:nvSpPr>
                <p:cNvPr id="17" name="Oval 16">
                  <a:extLst>
                    <a:ext uri="{FF2B5EF4-FFF2-40B4-BE49-F238E27FC236}">
                      <a16:creationId xmlns:a16="http://schemas.microsoft.com/office/drawing/2014/main" id="{68BFFF04-9F4C-4853-BDE5-E188F370A1F2}"/>
                    </a:ext>
                  </a:extLst>
                </p:cNvPr>
                <p:cNvSpPr/>
                <p:nvPr/>
              </p:nvSpPr>
              <p:spPr bwMode="auto">
                <a:xfrm>
                  <a:off x="1377355" y="507131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2" name="Picture 121">
                  <a:extLst>
                    <a:ext uri="{FF2B5EF4-FFF2-40B4-BE49-F238E27FC236}">
                      <a16:creationId xmlns:a16="http://schemas.microsoft.com/office/drawing/2014/main" id="{3592ED80-38FB-40B9-A6DC-81D26CCA9085}"/>
                    </a:ext>
                  </a:extLst>
                </p:cNvPr>
                <p:cNvPicPr>
                  <a:picLocks noChangeAspect="1"/>
                </p:cNvPicPr>
                <p:nvPr/>
              </p:nvPicPr>
              <p:blipFill>
                <a:blip r:embed="rId18"/>
                <a:stretch>
                  <a:fillRect/>
                </a:stretch>
              </p:blipFill>
              <p:spPr>
                <a:xfrm>
                  <a:off x="1588848" y="5280848"/>
                  <a:ext cx="438070" cy="441981"/>
                </a:xfrm>
                <a:prstGeom prst="rect">
                  <a:avLst/>
                </a:prstGeom>
              </p:spPr>
            </p:pic>
          </p:grpSp>
          <p:pic>
            <p:nvPicPr>
              <p:cNvPr id="131" name="Graphic 130">
                <a:extLst>
                  <a:ext uri="{FF2B5EF4-FFF2-40B4-BE49-F238E27FC236}">
                    <a16:creationId xmlns:a16="http://schemas.microsoft.com/office/drawing/2014/main" id="{F4C20093-D0B8-481B-AAE2-5131D513D55C}"/>
                  </a:ext>
                </a:extLst>
              </p:cNvPr>
              <p:cNvPicPr>
                <a:picLocks noChangeAspect="1"/>
              </p:cNvPicPr>
              <p:nvPr/>
            </p:nvPicPr>
            <p:blipFill rotWithShape="1">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rcRect r="11052"/>
              <a:stretch/>
            </p:blipFill>
            <p:spPr>
              <a:xfrm>
                <a:off x="7199295" y="3671653"/>
                <a:ext cx="451859" cy="392788"/>
              </a:xfrm>
              <a:prstGeom prst="rect">
                <a:avLst/>
              </a:prstGeom>
            </p:spPr>
          </p:pic>
          <p:grpSp>
            <p:nvGrpSpPr>
              <p:cNvPr id="2" name="Graphic 105">
                <a:extLst>
                  <a:ext uri="{FF2B5EF4-FFF2-40B4-BE49-F238E27FC236}">
                    <a16:creationId xmlns:a16="http://schemas.microsoft.com/office/drawing/2014/main" id="{CB334A01-27ED-4226-983B-961BDA334E05}"/>
                  </a:ext>
                </a:extLst>
              </p:cNvPr>
              <p:cNvGrpSpPr>
                <a:grpSpLocks noChangeAspect="1"/>
              </p:cNvGrpSpPr>
              <p:nvPr/>
            </p:nvGrpSpPr>
            <p:grpSpPr>
              <a:xfrm>
                <a:off x="10061640" y="2634470"/>
                <a:ext cx="353508" cy="466344"/>
                <a:chOff x="7198695" y="458478"/>
                <a:chExt cx="1168420" cy="1541373"/>
              </a:xfrm>
            </p:grpSpPr>
            <p:sp>
              <p:nvSpPr>
                <p:cNvPr id="3" name="Freeform: Shape 2">
                  <a:extLst>
                    <a:ext uri="{FF2B5EF4-FFF2-40B4-BE49-F238E27FC236}">
                      <a16:creationId xmlns:a16="http://schemas.microsoft.com/office/drawing/2014/main" id="{F2B848FA-5FDE-4146-B5CF-B62F45D979B2}"/>
                    </a:ext>
                  </a:extLst>
                </p:cNvPr>
                <p:cNvSpPr/>
                <p:nvPr/>
              </p:nvSpPr>
              <p:spPr>
                <a:xfrm>
                  <a:off x="7198695" y="668073"/>
                  <a:ext cx="584210" cy="1329009"/>
                </a:xfrm>
                <a:custGeom>
                  <a:avLst/>
                  <a:gdLst>
                    <a:gd name="connsiteX0" fmla="*/ 600 w 584210"/>
                    <a:gd name="connsiteY0" fmla="*/ 600 h 1329008"/>
                    <a:gd name="connsiteX1" fmla="*/ 600 w 584210"/>
                    <a:gd name="connsiteY1" fmla="*/ 1119460 h 1329008"/>
                    <a:gd name="connsiteX2" fmla="*/ 584810 w 584210"/>
                    <a:gd name="connsiteY2" fmla="*/ 1329055 h 1329008"/>
                    <a:gd name="connsiteX3" fmla="*/ 584810 w 584210"/>
                    <a:gd name="connsiteY3" fmla="*/ 600 h 1329008"/>
                    <a:gd name="connsiteX4" fmla="*/ 600 w 584210"/>
                    <a:gd name="connsiteY4" fmla="*/ 600 h 1329008"/>
                    <a:gd name="connsiteX5" fmla="*/ 600 w 584210"/>
                    <a:gd name="connsiteY5" fmla="*/ 600 h 1329008"/>
                    <a:gd name="connsiteX6" fmla="*/ 600 w 584210"/>
                    <a:gd name="connsiteY6" fmla="*/ 600 h 1329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210" h="1329008">
                      <a:moveTo>
                        <a:pt x="600" y="600"/>
                      </a:moveTo>
                      <a:lnTo>
                        <a:pt x="600" y="1119460"/>
                      </a:lnTo>
                      <a:cubicBezTo>
                        <a:pt x="600" y="1236579"/>
                        <a:pt x="260311" y="1329055"/>
                        <a:pt x="584810" y="1329055"/>
                      </a:cubicBezTo>
                      <a:lnTo>
                        <a:pt x="584810" y="600"/>
                      </a:lnTo>
                      <a:lnTo>
                        <a:pt x="600" y="600"/>
                      </a:lnTo>
                      <a:lnTo>
                        <a:pt x="600" y="600"/>
                      </a:lnTo>
                      <a:lnTo>
                        <a:pt x="600" y="600"/>
                      </a:lnTo>
                      <a:close/>
                    </a:path>
                  </a:pathLst>
                </a:custGeom>
                <a:solidFill>
                  <a:srgbClr val="0078D7"/>
                </a:solidFill>
                <a:ln w="2754" cap="flat">
                  <a:noFill/>
                  <a:prstDash val="solid"/>
                  <a:miter/>
                </a:ln>
              </p:spPr>
              <p:txBody>
                <a:bodyPr rtlCol="0" anchor="ctr"/>
                <a:lstStyle/>
                <a:p>
                  <a:endParaRPr lang="en-US"/>
                </a:p>
              </p:txBody>
            </p:sp>
            <p:sp>
              <p:nvSpPr>
                <p:cNvPr id="4" name="Freeform: Shape 3">
                  <a:extLst>
                    <a:ext uri="{FF2B5EF4-FFF2-40B4-BE49-F238E27FC236}">
                      <a16:creationId xmlns:a16="http://schemas.microsoft.com/office/drawing/2014/main" id="{56CF6565-1E82-4A6C-BE2E-FF92F44DFF2F}"/>
                    </a:ext>
                  </a:extLst>
                </p:cNvPr>
                <p:cNvSpPr/>
                <p:nvPr/>
              </p:nvSpPr>
              <p:spPr>
                <a:xfrm>
                  <a:off x="7773768" y="668073"/>
                  <a:ext cx="592516" cy="1331778"/>
                </a:xfrm>
                <a:custGeom>
                  <a:avLst/>
                  <a:gdLst>
                    <a:gd name="connsiteX0" fmla="*/ 600 w 592516"/>
                    <a:gd name="connsiteY0" fmla="*/ 1332101 h 1331777"/>
                    <a:gd name="connsiteX1" fmla="*/ 9737 w 592516"/>
                    <a:gd name="connsiteY1" fmla="*/ 1332101 h 1331777"/>
                    <a:gd name="connsiteX2" fmla="*/ 593947 w 592516"/>
                    <a:gd name="connsiteY2" fmla="*/ 1122505 h 1331777"/>
                    <a:gd name="connsiteX3" fmla="*/ 593947 w 592516"/>
                    <a:gd name="connsiteY3" fmla="*/ 600 h 1331777"/>
                    <a:gd name="connsiteX4" fmla="*/ 600 w 592516"/>
                    <a:gd name="connsiteY4" fmla="*/ 600 h 1331777"/>
                    <a:gd name="connsiteX5" fmla="*/ 600 w 592516"/>
                    <a:gd name="connsiteY5" fmla="*/ 1332101 h 1331777"/>
                    <a:gd name="connsiteX6" fmla="*/ 600 w 592516"/>
                    <a:gd name="connsiteY6" fmla="*/ 1332101 h 1331777"/>
                    <a:gd name="connsiteX7" fmla="*/ 600 w 592516"/>
                    <a:gd name="connsiteY7" fmla="*/ 1332101 h 133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2516" h="1331777">
                      <a:moveTo>
                        <a:pt x="600" y="1332101"/>
                      </a:moveTo>
                      <a:lnTo>
                        <a:pt x="9737" y="1332101"/>
                      </a:lnTo>
                      <a:cubicBezTo>
                        <a:pt x="331191" y="1332101"/>
                        <a:pt x="593947" y="1236579"/>
                        <a:pt x="593947" y="1122505"/>
                      </a:cubicBezTo>
                      <a:lnTo>
                        <a:pt x="593947" y="600"/>
                      </a:lnTo>
                      <a:lnTo>
                        <a:pt x="600" y="600"/>
                      </a:lnTo>
                      <a:lnTo>
                        <a:pt x="600" y="1332101"/>
                      </a:lnTo>
                      <a:lnTo>
                        <a:pt x="600" y="1332101"/>
                      </a:lnTo>
                      <a:lnTo>
                        <a:pt x="600" y="1332101"/>
                      </a:lnTo>
                      <a:close/>
                    </a:path>
                  </a:pathLst>
                </a:custGeom>
                <a:solidFill>
                  <a:srgbClr val="0078D7"/>
                </a:solidFill>
                <a:ln w="2754"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FA68C9B1-3374-47A7-AA99-4855752DD5EB}"/>
                    </a:ext>
                  </a:extLst>
                </p:cNvPr>
                <p:cNvSpPr/>
                <p:nvPr/>
              </p:nvSpPr>
              <p:spPr>
                <a:xfrm>
                  <a:off x="7198695" y="458478"/>
                  <a:ext cx="1168420" cy="418084"/>
                </a:xfrm>
                <a:custGeom>
                  <a:avLst/>
                  <a:gdLst>
                    <a:gd name="connsiteX0" fmla="*/ 1169020 w 1168420"/>
                    <a:gd name="connsiteY0" fmla="*/ 210196 h 418084"/>
                    <a:gd name="connsiteX1" fmla="*/ 584810 w 1168420"/>
                    <a:gd name="connsiteY1" fmla="*/ 419792 h 418084"/>
                    <a:gd name="connsiteX2" fmla="*/ 600 w 1168420"/>
                    <a:gd name="connsiteY2" fmla="*/ 210196 h 418084"/>
                    <a:gd name="connsiteX3" fmla="*/ 584810 w 1168420"/>
                    <a:gd name="connsiteY3" fmla="*/ 600 h 418084"/>
                    <a:gd name="connsiteX4" fmla="*/ 1169020 w 1168420"/>
                    <a:gd name="connsiteY4" fmla="*/ 210196 h 41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20" h="418084">
                      <a:moveTo>
                        <a:pt x="1169020" y="210196"/>
                      </a:moveTo>
                      <a:cubicBezTo>
                        <a:pt x="1169020" y="327315"/>
                        <a:pt x="909310" y="419792"/>
                        <a:pt x="584810" y="419792"/>
                      </a:cubicBezTo>
                      <a:cubicBezTo>
                        <a:pt x="260311" y="419792"/>
                        <a:pt x="600" y="327315"/>
                        <a:pt x="600" y="210196"/>
                      </a:cubicBezTo>
                      <a:cubicBezTo>
                        <a:pt x="600" y="96123"/>
                        <a:pt x="263356" y="600"/>
                        <a:pt x="584810" y="600"/>
                      </a:cubicBezTo>
                      <a:cubicBezTo>
                        <a:pt x="906264" y="600"/>
                        <a:pt x="1169020" y="96123"/>
                        <a:pt x="1169020" y="210196"/>
                      </a:cubicBezTo>
                    </a:path>
                  </a:pathLst>
                </a:custGeom>
                <a:solidFill>
                  <a:srgbClr val="0078D7"/>
                </a:solidFill>
                <a:ln w="275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0C23DA23-44B3-4FF8-B1E8-6EA0A82DB948}"/>
                    </a:ext>
                  </a:extLst>
                </p:cNvPr>
                <p:cNvSpPr/>
                <p:nvPr/>
              </p:nvSpPr>
              <p:spPr>
                <a:xfrm>
                  <a:off x="7319136" y="517176"/>
                  <a:ext cx="927537" cy="276877"/>
                </a:xfrm>
                <a:custGeom>
                  <a:avLst/>
                  <a:gdLst>
                    <a:gd name="connsiteX0" fmla="*/ 928138 w 927537"/>
                    <a:gd name="connsiteY0" fmla="*/ 139039 h 276876"/>
                    <a:gd name="connsiteX1" fmla="*/ 464369 w 927537"/>
                    <a:gd name="connsiteY1" fmla="*/ 277754 h 276876"/>
                    <a:gd name="connsiteX2" fmla="*/ 600 w 927537"/>
                    <a:gd name="connsiteY2" fmla="*/ 139039 h 276876"/>
                    <a:gd name="connsiteX3" fmla="*/ 464369 w 927537"/>
                    <a:gd name="connsiteY3" fmla="*/ 600 h 276876"/>
                    <a:gd name="connsiteX4" fmla="*/ 928138 w 927537"/>
                    <a:gd name="connsiteY4" fmla="*/ 139039 h 276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537" h="276876">
                      <a:moveTo>
                        <a:pt x="928138" y="139039"/>
                      </a:moveTo>
                      <a:cubicBezTo>
                        <a:pt x="928138" y="216011"/>
                        <a:pt x="721034" y="277754"/>
                        <a:pt x="464369" y="277754"/>
                      </a:cubicBezTo>
                      <a:cubicBezTo>
                        <a:pt x="207704" y="277754"/>
                        <a:pt x="600" y="216287"/>
                        <a:pt x="600" y="139039"/>
                      </a:cubicBezTo>
                      <a:cubicBezTo>
                        <a:pt x="600" y="61790"/>
                        <a:pt x="207704" y="600"/>
                        <a:pt x="464369" y="600"/>
                      </a:cubicBezTo>
                      <a:cubicBezTo>
                        <a:pt x="721034" y="600"/>
                        <a:pt x="928138" y="62067"/>
                        <a:pt x="928138" y="139039"/>
                      </a:cubicBezTo>
                    </a:path>
                  </a:pathLst>
                </a:custGeom>
                <a:solidFill>
                  <a:srgbClr val="E9E9E9"/>
                </a:solidFill>
                <a:ln w="275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B78DDFA7-56FD-41E6-B3E9-3CCCEECAA28B}"/>
                    </a:ext>
                  </a:extLst>
                </p:cNvPr>
                <p:cNvSpPr/>
                <p:nvPr/>
              </p:nvSpPr>
              <p:spPr>
                <a:xfrm>
                  <a:off x="7319136" y="516899"/>
                  <a:ext cx="927537" cy="224270"/>
                </a:xfrm>
                <a:custGeom>
                  <a:avLst/>
                  <a:gdLst>
                    <a:gd name="connsiteX0" fmla="*/ 832338 w 927537"/>
                    <a:gd name="connsiteY0" fmla="*/ 225701 h 224270"/>
                    <a:gd name="connsiteX1" fmla="*/ 928138 w 927537"/>
                    <a:gd name="connsiteY1" fmla="*/ 139316 h 224270"/>
                    <a:gd name="connsiteX2" fmla="*/ 464369 w 927537"/>
                    <a:gd name="connsiteY2" fmla="*/ 600 h 224270"/>
                    <a:gd name="connsiteX3" fmla="*/ 600 w 927537"/>
                    <a:gd name="connsiteY3" fmla="*/ 139316 h 224270"/>
                    <a:gd name="connsiteX4" fmla="*/ 96400 w 927537"/>
                    <a:gd name="connsiteY4" fmla="*/ 225701 h 224270"/>
                    <a:gd name="connsiteX5" fmla="*/ 464369 w 927537"/>
                    <a:gd name="connsiteY5" fmla="*/ 170326 h 224270"/>
                    <a:gd name="connsiteX6" fmla="*/ 832338 w 927537"/>
                    <a:gd name="connsiteY6" fmla="*/ 225701 h 22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7537" h="224270">
                      <a:moveTo>
                        <a:pt x="832338" y="225701"/>
                      </a:moveTo>
                      <a:cubicBezTo>
                        <a:pt x="894082" y="201059"/>
                        <a:pt x="928138" y="173371"/>
                        <a:pt x="928138" y="139316"/>
                      </a:cubicBezTo>
                      <a:cubicBezTo>
                        <a:pt x="928138" y="62344"/>
                        <a:pt x="721034" y="600"/>
                        <a:pt x="464369" y="600"/>
                      </a:cubicBezTo>
                      <a:cubicBezTo>
                        <a:pt x="207704" y="600"/>
                        <a:pt x="600" y="62344"/>
                        <a:pt x="600" y="139316"/>
                      </a:cubicBezTo>
                      <a:cubicBezTo>
                        <a:pt x="600" y="170049"/>
                        <a:pt x="37702" y="201059"/>
                        <a:pt x="96400" y="225701"/>
                      </a:cubicBezTo>
                      <a:cubicBezTo>
                        <a:pt x="179740" y="191922"/>
                        <a:pt x="312640" y="170326"/>
                        <a:pt x="464369" y="170326"/>
                      </a:cubicBezTo>
                      <a:cubicBezTo>
                        <a:pt x="612775" y="170326"/>
                        <a:pt x="745676" y="191922"/>
                        <a:pt x="832338" y="225701"/>
                      </a:cubicBezTo>
                    </a:path>
                  </a:pathLst>
                </a:custGeom>
                <a:solidFill>
                  <a:srgbClr val="E9E9E9"/>
                </a:solidFill>
                <a:ln w="275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21939C03-C2F9-410D-87FC-01B45F7D69D9}"/>
                    </a:ext>
                  </a:extLst>
                </p:cNvPr>
                <p:cNvSpPr/>
                <p:nvPr/>
              </p:nvSpPr>
              <p:spPr>
                <a:xfrm>
                  <a:off x="7376634" y="1006875"/>
                  <a:ext cx="819555" cy="850012"/>
                </a:xfrm>
                <a:custGeom>
                  <a:avLst/>
                  <a:gdLst>
                    <a:gd name="connsiteX0" fmla="*/ 761550 w 819555"/>
                    <a:gd name="connsiteY0" fmla="*/ 579646 h 850011"/>
                    <a:gd name="connsiteX1" fmla="*/ 681256 w 819555"/>
                    <a:gd name="connsiteY1" fmla="*/ 594874 h 850011"/>
                    <a:gd name="connsiteX2" fmla="*/ 645815 w 819555"/>
                    <a:gd name="connsiteY2" fmla="*/ 590444 h 850011"/>
                    <a:gd name="connsiteX3" fmla="*/ 625880 w 819555"/>
                    <a:gd name="connsiteY3" fmla="*/ 743280 h 850011"/>
                    <a:gd name="connsiteX4" fmla="*/ 525097 w 819555"/>
                    <a:gd name="connsiteY4" fmla="*/ 845724 h 850011"/>
                    <a:gd name="connsiteX5" fmla="*/ 495748 w 819555"/>
                    <a:gd name="connsiteY5" fmla="*/ 849047 h 850011"/>
                    <a:gd name="connsiteX6" fmla="*/ 408532 w 819555"/>
                    <a:gd name="connsiteY6" fmla="*/ 781766 h 850011"/>
                    <a:gd name="connsiteX7" fmla="*/ 396349 w 819555"/>
                    <a:gd name="connsiteY7" fmla="*/ 600411 h 850011"/>
                    <a:gd name="connsiteX8" fmla="*/ 316609 w 819555"/>
                    <a:gd name="connsiteY8" fmla="*/ 630314 h 850011"/>
                    <a:gd name="connsiteX9" fmla="*/ 276739 w 819555"/>
                    <a:gd name="connsiteY9" fmla="*/ 625054 h 850011"/>
                    <a:gd name="connsiteX10" fmla="*/ 238530 w 819555"/>
                    <a:gd name="connsiteY10" fmla="*/ 592382 h 850011"/>
                    <a:gd name="connsiteX11" fmla="*/ 278954 w 819555"/>
                    <a:gd name="connsiteY11" fmla="*/ 563864 h 850011"/>
                    <a:gd name="connsiteX12" fmla="*/ 331837 w 819555"/>
                    <a:gd name="connsiteY12" fmla="*/ 537560 h 850011"/>
                    <a:gd name="connsiteX13" fmla="*/ 340697 w 819555"/>
                    <a:gd name="connsiteY13" fmla="*/ 526762 h 850011"/>
                    <a:gd name="connsiteX14" fmla="*/ 340697 w 819555"/>
                    <a:gd name="connsiteY14" fmla="*/ 525378 h 850011"/>
                    <a:gd name="connsiteX15" fmla="*/ 291136 w 819555"/>
                    <a:gd name="connsiteY15" fmla="*/ 512088 h 850011"/>
                    <a:gd name="connsiteX16" fmla="*/ 222471 w 819555"/>
                    <a:gd name="connsiteY16" fmla="*/ 589890 h 850011"/>
                    <a:gd name="connsiteX17" fmla="*/ 172633 w 819555"/>
                    <a:gd name="connsiteY17" fmla="*/ 618132 h 850011"/>
                    <a:gd name="connsiteX18" fmla="*/ 156851 w 819555"/>
                    <a:gd name="connsiteY18" fmla="*/ 615640 h 850011"/>
                    <a:gd name="connsiteX19" fmla="*/ 46377 w 819555"/>
                    <a:gd name="connsiteY19" fmla="*/ 427363 h 850011"/>
                    <a:gd name="connsiteX20" fmla="*/ 2631 w 819555"/>
                    <a:gd name="connsiteY20" fmla="*/ 224690 h 850011"/>
                    <a:gd name="connsiteX21" fmla="*/ 68527 w 819555"/>
                    <a:gd name="connsiteY21" fmla="*/ 44166 h 850011"/>
                    <a:gd name="connsiteX22" fmla="*/ 235761 w 819555"/>
                    <a:gd name="connsiteY22" fmla="*/ 18416 h 850011"/>
                    <a:gd name="connsiteX23" fmla="*/ 323254 w 819555"/>
                    <a:gd name="connsiteY23" fmla="*/ 41397 h 850011"/>
                    <a:gd name="connsiteX24" fmla="*/ 430959 w 819555"/>
                    <a:gd name="connsiteY24" fmla="*/ 11771 h 850011"/>
                    <a:gd name="connsiteX25" fmla="*/ 493810 w 819555"/>
                    <a:gd name="connsiteY25" fmla="*/ 19801 h 850011"/>
                    <a:gd name="connsiteX26" fmla="*/ 605391 w 819555"/>
                    <a:gd name="connsiteY26" fmla="*/ 2081 h 850011"/>
                    <a:gd name="connsiteX27" fmla="*/ 798375 w 819555"/>
                    <a:gd name="connsiteY27" fmla="*/ 92342 h 850011"/>
                    <a:gd name="connsiteX28" fmla="*/ 814710 w 819555"/>
                    <a:gd name="connsiteY28" fmla="*/ 162392 h 850011"/>
                    <a:gd name="connsiteX29" fmla="*/ 798651 w 819555"/>
                    <a:gd name="connsiteY29" fmla="*/ 266221 h 850011"/>
                    <a:gd name="connsiteX30" fmla="*/ 690946 w 819555"/>
                    <a:gd name="connsiteY30" fmla="*/ 507658 h 850011"/>
                    <a:gd name="connsiteX31" fmla="*/ 781208 w 819555"/>
                    <a:gd name="connsiteY31" fmla="*/ 509042 h 850011"/>
                    <a:gd name="connsiteX32" fmla="*/ 818033 w 819555"/>
                    <a:gd name="connsiteY32" fmla="*/ 520117 h 850011"/>
                    <a:gd name="connsiteX33" fmla="*/ 761550 w 819555"/>
                    <a:gd name="connsiteY33" fmla="*/ 579646 h 850011"/>
                    <a:gd name="connsiteX34" fmla="*/ 761550 w 819555"/>
                    <a:gd name="connsiteY34" fmla="*/ 579646 h 85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19555" h="850011">
                      <a:moveTo>
                        <a:pt x="761550" y="579646"/>
                      </a:moveTo>
                      <a:cubicBezTo>
                        <a:pt x="741338" y="589060"/>
                        <a:pt x="709220" y="594874"/>
                        <a:pt x="681256" y="594874"/>
                      </a:cubicBezTo>
                      <a:cubicBezTo>
                        <a:pt x="667966" y="594874"/>
                        <a:pt x="655506" y="593490"/>
                        <a:pt x="645815" y="590444"/>
                      </a:cubicBezTo>
                      <a:cubicBezTo>
                        <a:pt x="641385" y="632252"/>
                        <a:pt x="631418" y="710608"/>
                        <a:pt x="625880" y="743280"/>
                      </a:cubicBezTo>
                      <a:cubicBezTo>
                        <a:pt x="615359" y="804470"/>
                        <a:pt x="587948" y="832434"/>
                        <a:pt x="525097" y="845724"/>
                      </a:cubicBezTo>
                      <a:cubicBezTo>
                        <a:pt x="514299" y="847939"/>
                        <a:pt x="504608" y="849047"/>
                        <a:pt x="495748" y="849047"/>
                      </a:cubicBezTo>
                      <a:cubicBezTo>
                        <a:pt x="435389" y="849047"/>
                        <a:pt x="416561" y="801424"/>
                        <a:pt x="408532" y="781766"/>
                      </a:cubicBezTo>
                      <a:cubicBezTo>
                        <a:pt x="399118" y="757954"/>
                        <a:pt x="395796" y="679598"/>
                        <a:pt x="396349" y="600411"/>
                      </a:cubicBezTo>
                      <a:cubicBezTo>
                        <a:pt x="374753" y="620070"/>
                        <a:pt x="347619" y="630314"/>
                        <a:pt x="316609" y="630314"/>
                      </a:cubicBezTo>
                      <a:cubicBezTo>
                        <a:pt x="303873" y="630314"/>
                        <a:pt x="290306" y="628653"/>
                        <a:pt x="276739" y="625054"/>
                      </a:cubicBezTo>
                      <a:cubicBezTo>
                        <a:pt x="272862" y="623946"/>
                        <a:pt x="237976" y="614809"/>
                        <a:pt x="238530" y="592382"/>
                      </a:cubicBezTo>
                      <a:cubicBezTo>
                        <a:pt x="239083" y="571893"/>
                        <a:pt x="268155" y="566079"/>
                        <a:pt x="278954" y="563864"/>
                      </a:cubicBezTo>
                      <a:cubicBezTo>
                        <a:pt x="317440" y="555834"/>
                        <a:pt x="319931" y="552789"/>
                        <a:pt x="331837" y="537560"/>
                      </a:cubicBezTo>
                      <a:cubicBezTo>
                        <a:pt x="334329" y="534515"/>
                        <a:pt x="337098" y="530915"/>
                        <a:pt x="340697" y="526762"/>
                      </a:cubicBezTo>
                      <a:cubicBezTo>
                        <a:pt x="340697" y="526208"/>
                        <a:pt x="340697" y="525932"/>
                        <a:pt x="340697" y="525378"/>
                      </a:cubicBezTo>
                      <a:cubicBezTo>
                        <a:pt x="323531" y="524824"/>
                        <a:pt x="306641" y="520394"/>
                        <a:pt x="291136" y="512088"/>
                      </a:cubicBezTo>
                      <a:cubicBezTo>
                        <a:pt x="280615" y="523163"/>
                        <a:pt x="252650" y="553619"/>
                        <a:pt x="222471" y="589890"/>
                      </a:cubicBezTo>
                      <a:cubicBezTo>
                        <a:pt x="204197" y="611763"/>
                        <a:pt x="186754" y="618132"/>
                        <a:pt x="172633" y="618132"/>
                      </a:cubicBezTo>
                      <a:cubicBezTo>
                        <a:pt x="166819" y="618132"/>
                        <a:pt x="161558" y="617024"/>
                        <a:pt x="156851" y="615640"/>
                      </a:cubicBezTo>
                      <a:cubicBezTo>
                        <a:pt x="117811" y="602626"/>
                        <a:pt x="80710" y="539222"/>
                        <a:pt x="46377" y="427363"/>
                      </a:cubicBezTo>
                      <a:cubicBezTo>
                        <a:pt x="20351" y="342362"/>
                        <a:pt x="4015" y="253485"/>
                        <a:pt x="2631" y="224690"/>
                      </a:cubicBezTo>
                      <a:cubicBezTo>
                        <a:pt x="-1799" y="138858"/>
                        <a:pt x="20351" y="78222"/>
                        <a:pt x="68527" y="44166"/>
                      </a:cubicBezTo>
                      <a:cubicBezTo>
                        <a:pt x="108674" y="15648"/>
                        <a:pt x="164880" y="7064"/>
                        <a:pt x="235761" y="18416"/>
                      </a:cubicBezTo>
                      <a:cubicBezTo>
                        <a:pt x="276739" y="25061"/>
                        <a:pt x="310241" y="36413"/>
                        <a:pt x="323254" y="41397"/>
                      </a:cubicBezTo>
                      <a:cubicBezTo>
                        <a:pt x="353157" y="20908"/>
                        <a:pt x="389151" y="11217"/>
                        <a:pt x="430959" y="11771"/>
                      </a:cubicBezTo>
                      <a:cubicBezTo>
                        <a:pt x="453663" y="12048"/>
                        <a:pt x="474706" y="15094"/>
                        <a:pt x="493810" y="19801"/>
                      </a:cubicBezTo>
                      <a:cubicBezTo>
                        <a:pt x="502947" y="15924"/>
                        <a:pt x="549739" y="1804"/>
                        <a:pt x="605391" y="2081"/>
                      </a:cubicBezTo>
                      <a:cubicBezTo>
                        <a:pt x="686239" y="2911"/>
                        <a:pt x="752967" y="34198"/>
                        <a:pt x="798375" y="92342"/>
                      </a:cubicBezTo>
                      <a:cubicBezTo>
                        <a:pt x="809726" y="106740"/>
                        <a:pt x="815264" y="130275"/>
                        <a:pt x="814710" y="162392"/>
                      </a:cubicBezTo>
                      <a:cubicBezTo>
                        <a:pt x="814157" y="191741"/>
                        <a:pt x="808896" y="227458"/>
                        <a:pt x="798651" y="266221"/>
                      </a:cubicBezTo>
                      <a:cubicBezTo>
                        <a:pt x="777609" y="347900"/>
                        <a:pt x="738569" y="435393"/>
                        <a:pt x="690946" y="507658"/>
                      </a:cubicBezTo>
                      <a:cubicBezTo>
                        <a:pt x="698145" y="512918"/>
                        <a:pt x="720018" y="521778"/>
                        <a:pt x="781208" y="509042"/>
                      </a:cubicBezTo>
                      <a:cubicBezTo>
                        <a:pt x="801697" y="504889"/>
                        <a:pt x="814157" y="508488"/>
                        <a:pt x="818033" y="520117"/>
                      </a:cubicBezTo>
                      <a:cubicBezTo>
                        <a:pt x="825232" y="543098"/>
                        <a:pt x="784254" y="569124"/>
                        <a:pt x="761550" y="579646"/>
                      </a:cubicBezTo>
                      <a:lnTo>
                        <a:pt x="761550" y="579646"/>
                      </a:lnTo>
                      <a:close/>
                    </a:path>
                  </a:pathLst>
                </a:custGeom>
                <a:solidFill>
                  <a:srgbClr val="FFFFFF"/>
                </a:solidFill>
                <a:ln w="952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8EBECF11-6530-49E5-AA29-F9F02633B7A0}"/>
                    </a:ext>
                  </a:extLst>
                </p:cNvPr>
                <p:cNvSpPr/>
                <p:nvPr/>
              </p:nvSpPr>
              <p:spPr>
                <a:xfrm>
                  <a:off x="7625254" y="1244861"/>
                  <a:ext cx="138438" cy="263033"/>
                </a:xfrm>
                <a:custGeom>
                  <a:avLst/>
                  <a:gdLst>
                    <a:gd name="connsiteX0" fmla="*/ 94569 w 138438"/>
                    <a:gd name="connsiteY0" fmla="*/ 262750 h 263032"/>
                    <a:gd name="connsiteX1" fmla="*/ 106475 w 138438"/>
                    <a:gd name="connsiteY1" fmla="*/ 227310 h 263032"/>
                    <a:gd name="connsiteX2" fmla="*/ 108413 w 138438"/>
                    <a:gd name="connsiteY2" fmla="*/ 222326 h 263032"/>
                    <a:gd name="connsiteX3" fmla="*/ 116443 w 138438"/>
                    <a:gd name="connsiteY3" fmla="*/ 203222 h 263032"/>
                    <a:gd name="connsiteX4" fmla="*/ 128072 w 138438"/>
                    <a:gd name="connsiteY4" fmla="*/ 36265 h 263032"/>
                    <a:gd name="connsiteX5" fmla="*/ 98723 w 138438"/>
                    <a:gd name="connsiteY5" fmla="*/ 3593 h 263032"/>
                    <a:gd name="connsiteX6" fmla="*/ 5415 w 138438"/>
                    <a:gd name="connsiteY6" fmla="*/ 30727 h 263032"/>
                    <a:gd name="connsiteX7" fmla="*/ 5969 w 138438"/>
                    <a:gd name="connsiteY7" fmla="*/ 38480 h 263032"/>
                    <a:gd name="connsiteX8" fmla="*/ 3200 w 138438"/>
                    <a:gd name="connsiteY8" fmla="*/ 146462 h 263032"/>
                    <a:gd name="connsiteX9" fmla="*/ 30888 w 138438"/>
                    <a:gd name="connsiteY9" fmla="*/ 234786 h 263032"/>
                    <a:gd name="connsiteX10" fmla="*/ 94569 w 138438"/>
                    <a:gd name="connsiteY10" fmla="*/ 262750 h 263032"/>
                    <a:gd name="connsiteX11" fmla="*/ 94569 w 138438"/>
                    <a:gd name="connsiteY11" fmla="*/ 262750 h 26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438" h="263032">
                      <a:moveTo>
                        <a:pt x="94569" y="262750"/>
                      </a:moveTo>
                      <a:cubicBezTo>
                        <a:pt x="97338" y="251675"/>
                        <a:pt x="101768" y="240046"/>
                        <a:pt x="106475" y="227310"/>
                      </a:cubicBezTo>
                      <a:lnTo>
                        <a:pt x="108413" y="222326"/>
                      </a:lnTo>
                      <a:cubicBezTo>
                        <a:pt x="110905" y="215958"/>
                        <a:pt x="113674" y="209590"/>
                        <a:pt x="116443" y="203222"/>
                      </a:cubicBezTo>
                      <a:cubicBezTo>
                        <a:pt x="130840" y="171381"/>
                        <a:pt x="148837" y="131510"/>
                        <a:pt x="128072" y="36265"/>
                      </a:cubicBezTo>
                      <a:cubicBezTo>
                        <a:pt x="124195" y="17714"/>
                        <a:pt x="114505" y="7193"/>
                        <a:pt x="98723" y="3593"/>
                      </a:cubicBezTo>
                      <a:cubicBezTo>
                        <a:pt x="64390" y="-4436"/>
                        <a:pt x="15936" y="21590"/>
                        <a:pt x="5415" y="30727"/>
                      </a:cubicBezTo>
                      <a:cubicBezTo>
                        <a:pt x="5415" y="32942"/>
                        <a:pt x="5692" y="35434"/>
                        <a:pt x="5969" y="38480"/>
                      </a:cubicBezTo>
                      <a:cubicBezTo>
                        <a:pt x="7353" y="60076"/>
                        <a:pt x="9568" y="100223"/>
                        <a:pt x="3200" y="146462"/>
                      </a:cubicBezTo>
                      <a:cubicBezTo>
                        <a:pt x="-1507" y="179410"/>
                        <a:pt x="8738" y="211528"/>
                        <a:pt x="30888" y="234786"/>
                      </a:cubicBezTo>
                      <a:cubicBezTo>
                        <a:pt x="48331" y="252506"/>
                        <a:pt x="71312" y="262473"/>
                        <a:pt x="94569" y="262750"/>
                      </a:cubicBezTo>
                      <a:lnTo>
                        <a:pt x="94569" y="262750"/>
                      </a:lnTo>
                      <a:close/>
                    </a:path>
                  </a:pathLst>
                </a:custGeom>
                <a:solidFill>
                  <a:srgbClr val="0078D7"/>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CEA740E-F536-4C53-9BAA-87EE7BCDA566}"/>
                    </a:ext>
                  </a:extLst>
                </p:cNvPr>
                <p:cNvSpPr/>
                <p:nvPr/>
              </p:nvSpPr>
              <p:spPr>
                <a:xfrm>
                  <a:off x="7693309" y="1258560"/>
                  <a:ext cx="49838" cy="33225"/>
                </a:xfrm>
                <a:custGeom>
                  <a:avLst/>
                  <a:gdLst>
                    <a:gd name="connsiteX0" fmla="*/ 2149 w 49837"/>
                    <a:gd name="connsiteY0" fmla="*/ 10937 h 33225"/>
                    <a:gd name="connsiteX1" fmla="*/ 19869 w 49837"/>
                    <a:gd name="connsiteY1" fmla="*/ 2077 h 33225"/>
                    <a:gd name="connsiteX2" fmla="*/ 26791 w 49837"/>
                    <a:gd name="connsiteY2" fmla="*/ 2630 h 33225"/>
                    <a:gd name="connsiteX3" fmla="*/ 48387 w 49837"/>
                    <a:gd name="connsiteY3" fmla="*/ 17305 h 33225"/>
                    <a:gd name="connsiteX4" fmla="*/ 26514 w 49837"/>
                    <a:gd name="connsiteY4" fmla="*/ 32256 h 33225"/>
                    <a:gd name="connsiteX5" fmla="*/ 23468 w 49837"/>
                    <a:gd name="connsiteY5" fmla="*/ 31979 h 33225"/>
                    <a:gd name="connsiteX6" fmla="*/ 5748 w 49837"/>
                    <a:gd name="connsiteY6" fmla="*/ 20904 h 33225"/>
                    <a:gd name="connsiteX7" fmla="*/ 2149 w 49837"/>
                    <a:gd name="connsiteY7" fmla="*/ 10937 h 33225"/>
                    <a:gd name="connsiteX8" fmla="*/ 2149 w 49837"/>
                    <a:gd name="connsiteY8" fmla="*/ 10937 h 3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37" h="33225">
                      <a:moveTo>
                        <a:pt x="2149" y="10937"/>
                      </a:moveTo>
                      <a:cubicBezTo>
                        <a:pt x="2979" y="5399"/>
                        <a:pt x="9624" y="2077"/>
                        <a:pt x="19869" y="2077"/>
                      </a:cubicBezTo>
                      <a:cubicBezTo>
                        <a:pt x="22084" y="2077"/>
                        <a:pt x="24576" y="2353"/>
                        <a:pt x="26791" y="2630"/>
                      </a:cubicBezTo>
                      <a:cubicBezTo>
                        <a:pt x="37866" y="4292"/>
                        <a:pt x="49495" y="9552"/>
                        <a:pt x="48387" y="17305"/>
                      </a:cubicBezTo>
                      <a:cubicBezTo>
                        <a:pt x="47557" y="23396"/>
                        <a:pt x="38143" y="32256"/>
                        <a:pt x="26514" y="32256"/>
                      </a:cubicBezTo>
                      <a:cubicBezTo>
                        <a:pt x="25406" y="32256"/>
                        <a:pt x="24576" y="32256"/>
                        <a:pt x="23468" y="31979"/>
                      </a:cubicBezTo>
                      <a:cubicBezTo>
                        <a:pt x="16823" y="31149"/>
                        <a:pt x="10178" y="26995"/>
                        <a:pt x="5748" y="20904"/>
                      </a:cubicBezTo>
                      <a:cubicBezTo>
                        <a:pt x="4364" y="18689"/>
                        <a:pt x="1595" y="14536"/>
                        <a:pt x="2149" y="10937"/>
                      </a:cubicBezTo>
                      <a:lnTo>
                        <a:pt x="2149" y="10937"/>
                      </a:lnTo>
                      <a:close/>
                    </a:path>
                  </a:pathLst>
                </a:custGeom>
                <a:solidFill>
                  <a:srgbClr val="FFFFFF"/>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E5A5CF4F-F110-4217-9DB7-3021EF30DAA2}"/>
                    </a:ext>
                  </a:extLst>
                </p:cNvPr>
                <p:cNvSpPr/>
                <p:nvPr/>
              </p:nvSpPr>
              <p:spPr>
                <a:xfrm>
                  <a:off x="7401881" y="1043987"/>
                  <a:ext cx="276877" cy="556522"/>
                </a:xfrm>
                <a:custGeom>
                  <a:avLst/>
                  <a:gdLst>
                    <a:gd name="connsiteX0" fmla="*/ 275303 w 276876"/>
                    <a:gd name="connsiteY0" fmla="*/ 23389 h 556522"/>
                    <a:gd name="connsiteX1" fmla="*/ 57678 w 276876"/>
                    <a:gd name="connsiteY1" fmla="*/ 27819 h 556522"/>
                    <a:gd name="connsiteX2" fmla="*/ 2579 w 276876"/>
                    <a:gd name="connsiteY2" fmla="*/ 186470 h 556522"/>
                    <a:gd name="connsiteX3" fmla="*/ 45218 w 276876"/>
                    <a:gd name="connsiteY3" fmla="*/ 383052 h 556522"/>
                    <a:gd name="connsiteX4" fmla="*/ 139633 w 276876"/>
                    <a:gd name="connsiteY4" fmla="*/ 554993 h 556522"/>
                    <a:gd name="connsiteX5" fmla="*/ 178119 w 276876"/>
                    <a:gd name="connsiteY5" fmla="*/ 536996 h 556522"/>
                    <a:gd name="connsiteX6" fmla="*/ 245123 w 276876"/>
                    <a:gd name="connsiteY6" fmla="*/ 460855 h 556522"/>
                    <a:gd name="connsiteX7" fmla="*/ 236263 w 276876"/>
                    <a:gd name="connsiteY7" fmla="*/ 452548 h 556522"/>
                    <a:gd name="connsiteX8" fmla="*/ 201931 w 276876"/>
                    <a:gd name="connsiteY8" fmla="*/ 343459 h 556522"/>
                    <a:gd name="connsiteX9" fmla="*/ 204423 w 276876"/>
                    <a:gd name="connsiteY9" fmla="*/ 240461 h 556522"/>
                    <a:gd name="connsiteX10" fmla="*/ 203869 w 276876"/>
                    <a:gd name="connsiteY10" fmla="*/ 227724 h 556522"/>
                    <a:gd name="connsiteX11" fmla="*/ 273365 w 276876"/>
                    <a:gd name="connsiteY11" fmla="*/ 25050 h 556522"/>
                    <a:gd name="connsiteX12" fmla="*/ 275303 w 276876"/>
                    <a:gd name="connsiteY12" fmla="*/ 23389 h 556522"/>
                    <a:gd name="connsiteX13" fmla="*/ 275303 w 276876"/>
                    <a:gd name="connsiteY13" fmla="*/ 23389 h 55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6876" h="556522">
                      <a:moveTo>
                        <a:pt x="275303" y="23389"/>
                      </a:moveTo>
                      <a:cubicBezTo>
                        <a:pt x="231833" y="9268"/>
                        <a:pt x="123575" y="-18696"/>
                        <a:pt x="57678" y="27819"/>
                      </a:cubicBezTo>
                      <a:cubicBezTo>
                        <a:pt x="17254" y="56614"/>
                        <a:pt x="-1297" y="110052"/>
                        <a:pt x="2579" y="186470"/>
                      </a:cubicBezTo>
                      <a:cubicBezTo>
                        <a:pt x="3687" y="210558"/>
                        <a:pt x="19192" y="297220"/>
                        <a:pt x="45218" y="383052"/>
                      </a:cubicBezTo>
                      <a:cubicBezTo>
                        <a:pt x="75398" y="482451"/>
                        <a:pt x="110008" y="545025"/>
                        <a:pt x="139633" y="554993"/>
                      </a:cubicBezTo>
                      <a:cubicBezTo>
                        <a:pt x="144063" y="556377"/>
                        <a:pt x="157907" y="561084"/>
                        <a:pt x="178119" y="536996"/>
                      </a:cubicBezTo>
                      <a:cubicBezTo>
                        <a:pt x="206361" y="502940"/>
                        <a:pt x="232941" y="473868"/>
                        <a:pt x="245123" y="460855"/>
                      </a:cubicBezTo>
                      <a:cubicBezTo>
                        <a:pt x="242078" y="458086"/>
                        <a:pt x="239032" y="455317"/>
                        <a:pt x="236263" y="452548"/>
                      </a:cubicBezTo>
                      <a:cubicBezTo>
                        <a:pt x="208853" y="424030"/>
                        <a:pt x="196393" y="384160"/>
                        <a:pt x="201931" y="343459"/>
                      </a:cubicBezTo>
                      <a:cubicBezTo>
                        <a:pt x="208022" y="299712"/>
                        <a:pt x="205807" y="261226"/>
                        <a:pt x="204423" y="240461"/>
                      </a:cubicBezTo>
                      <a:cubicBezTo>
                        <a:pt x="204146" y="234923"/>
                        <a:pt x="203869" y="230770"/>
                        <a:pt x="203869" y="227724"/>
                      </a:cubicBezTo>
                      <a:cubicBezTo>
                        <a:pt x="203592" y="220249"/>
                        <a:pt x="201931" y="97038"/>
                        <a:pt x="273365" y="25050"/>
                      </a:cubicBezTo>
                      <a:cubicBezTo>
                        <a:pt x="273919" y="24497"/>
                        <a:pt x="274749" y="23943"/>
                        <a:pt x="275303" y="23389"/>
                      </a:cubicBezTo>
                      <a:lnTo>
                        <a:pt x="275303" y="23389"/>
                      </a:lnTo>
                      <a:close/>
                    </a:path>
                  </a:pathLst>
                </a:custGeom>
                <a:solidFill>
                  <a:srgbClr val="0078D7"/>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F91ED919-F1C8-4207-B735-FF07BCE509A4}"/>
                    </a:ext>
                  </a:extLst>
                </p:cNvPr>
                <p:cNvSpPr/>
                <p:nvPr/>
              </p:nvSpPr>
              <p:spPr>
                <a:xfrm>
                  <a:off x="7630254" y="1042008"/>
                  <a:ext cx="412546" cy="789099"/>
                </a:xfrm>
                <a:custGeom>
                  <a:avLst/>
                  <a:gdLst>
                    <a:gd name="connsiteX0" fmla="*/ 406870 w 412546"/>
                    <a:gd name="connsiteY0" fmla="*/ 470032 h 789098"/>
                    <a:gd name="connsiteX1" fmla="*/ 400225 w 412546"/>
                    <a:gd name="connsiteY1" fmla="*/ 461449 h 789098"/>
                    <a:gd name="connsiteX2" fmla="*/ 372815 w 412546"/>
                    <a:gd name="connsiteY2" fmla="*/ 417149 h 789098"/>
                    <a:gd name="connsiteX3" fmla="*/ 362570 w 412546"/>
                    <a:gd name="connsiteY3" fmla="*/ 398044 h 789098"/>
                    <a:gd name="connsiteX4" fmla="*/ 317439 w 412546"/>
                    <a:gd name="connsiteY4" fmla="*/ 204231 h 789098"/>
                    <a:gd name="connsiteX5" fmla="*/ 411854 w 412546"/>
                    <a:gd name="connsiteY5" fmla="*/ 176820 h 789098"/>
                    <a:gd name="connsiteX6" fmla="*/ 361463 w 412546"/>
                    <a:gd name="connsiteY6" fmla="*/ 90157 h 789098"/>
                    <a:gd name="connsiteX7" fmla="*/ 177063 w 412546"/>
                    <a:gd name="connsiteY7" fmla="*/ 2111 h 789098"/>
                    <a:gd name="connsiteX8" fmla="*/ 63266 w 412546"/>
                    <a:gd name="connsiteY8" fmla="*/ 44750 h 789098"/>
                    <a:gd name="connsiteX9" fmla="*/ 2077 w 412546"/>
                    <a:gd name="connsiteY9" fmla="*/ 202846 h 789098"/>
                    <a:gd name="connsiteX10" fmla="*/ 8998 w 412546"/>
                    <a:gd name="connsiteY10" fmla="*/ 199247 h 789098"/>
                    <a:gd name="connsiteX11" fmla="*/ 69358 w 412546"/>
                    <a:gd name="connsiteY11" fmla="*/ 180419 h 789098"/>
                    <a:gd name="connsiteX12" fmla="*/ 147991 w 412546"/>
                    <a:gd name="connsiteY12" fmla="*/ 233580 h 789098"/>
                    <a:gd name="connsiteX13" fmla="*/ 134701 w 412546"/>
                    <a:gd name="connsiteY13" fmla="*/ 416318 h 789098"/>
                    <a:gd name="connsiteX14" fmla="*/ 127225 w 412546"/>
                    <a:gd name="connsiteY14" fmla="*/ 434038 h 789098"/>
                    <a:gd name="connsiteX15" fmla="*/ 125287 w 412546"/>
                    <a:gd name="connsiteY15" fmla="*/ 439022 h 789098"/>
                    <a:gd name="connsiteX16" fmla="*/ 114489 w 412546"/>
                    <a:gd name="connsiteY16" fmla="*/ 471694 h 789098"/>
                    <a:gd name="connsiteX17" fmla="*/ 122518 w 412546"/>
                    <a:gd name="connsiteY17" fmla="*/ 470586 h 789098"/>
                    <a:gd name="connsiteX18" fmla="*/ 139684 w 412546"/>
                    <a:gd name="connsiteY18" fmla="*/ 474739 h 789098"/>
                    <a:gd name="connsiteX19" fmla="*/ 167095 w 412546"/>
                    <a:gd name="connsiteY19" fmla="*/ 507688 h 789098"/>
                    <a:gd name="connsiteX20" fmla="*/ 168756 w 412546"/>
                    <a:gd name="connsiteY20" fmla="*/ 514886 h 789098"/>
                    <a:gd name="connsiteX21" fmla="*/ 169310 w 412546"/>
                    <a:gd name="connsiteY21" fmla="*/ 518763 h 789098"/>
                    <a:gd name="connsiteX22" fmla="*/ 178724 w 412546"/>
                    <a:gd name="connsiteY22" fmla="*/ 737495 h 789098"/>
                    <a:gd name="connsiteX23" fmla="*/ 266771 w 412546"/>
                    <a:gd name="connsiteY23" fmla="*/ 786226 h 789098"/>
                    <a:gd name="connsiteX24" fmla="*/ 348173 w 412546"/>
                    <a:gd name="connsiteY24" fmla="*/ 703993 h 789098"/>
                    <a:gd name="connsiteX25" fmla="*/ 370046 w 412546"/>
                    <a:gd name="connsiteY25" fmla="*/ 530669 h 789098"/>
                    <a:gd name="connsiteX26" fmla="*/ 406870 w 412546"/>
                    <a:gd name="connsiteY26" fmla="*/ 470032 h 789098"/>
                    <a:gd name="connsiteX27" fmla="*/ 406870 w 412546"/>
                    <a:gd name="connsiteY27" fmla="*/ 470032 h 789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2546" h="789098">
                      <a:moveTo>
                        <a:pt x="406870" y="470032"/>
                      </a:moveTo>
                      <a:cubicBezTo>
                        <a:pt x="404932" y="467541"/>
                        <a:pt x="402717" y="464495"/>
                        <a:pt x="400225" y="461449"/>
                      </a:cubicBezTo>
                      <a:cubicBezTo>
                        <a:pt x="392196" y="451482"/>
                        <a:pt x="381121" y="437638"/>
                        <a:pt x="372815" y="417149"/>
                      </a:cubicBezTo>
                      <a:cubicBezTo>
                        <a:pt x="371430" y="414103"/>
                        <a:pt x="367277" y="406628"/>
                        <a:pt x="362570" y="398044"/>
                      </a:cubicBezTo>
                      <a:cubicBezTo>
                        <a:pt x="336544" y="351252"/>
                        <a:pt x="282276" y="254345"/>
                        <a:pt x="317439" y="204231"/>
                      </a:cubicBezTo>
                      <a:cubicBezTo>
                        <a:pt x="333498" y="181250"/>
                        <a:pt x="365339" y="172113"/>
                        <a:pt x="411854" y="176820"/>
                      </a:cubicBezTo>
                      <a:cubicBezTo>
                        <a:pt x="405763" y="158269"/>
                        <a:pt x="389981" y="124213"/>
                        <a:pt x="361463" y="90157"/>
                      </a:cubicBezTo>
                      <a:cubicBezTo>
                        <a:pt x="328237" y="50841"/>
                        <a:pt x="268986" y="3495"/>
                        <a:pt x="177063" y="2111"/>
                      </a:cubicBezTo>
                      <a:cubicBezTo>
                        <a:pt x="130271" y="1280"/>
                        <a:pt x="92062" y="15678"/>
                        <a:pt x="63266" y="44750"/>
                      </a:cubicBezTo>
                      <a:cubicBezTo>
                        <a:pt x="17582" y="90988"/>
                        <a:pt x="5399" y="163807"/>
                        <a:pt x="2077" y="202846"/>
                      </a:cubicBezTo>
                      <a:cubicBezTo>
                        <a:pt x="4292" y="201462"/>
                        <a:pt x="6784" y="200354"/>
                        <a:pt x="8998" y="199247"/>
                      </a:cubicBezTo>
                      <a:cubicBezTo>
                        <a:pt x="20627" y="193432"/>
                        <a:pt x="43885" y="183188"/>
                        <a:pt x="69358" y="180419"/>
                      </a:cubicBezTo>
                      <a:cubicBezTo>
                        <a:pt x="111720" y="175989"/>
                        <a:pt x="139684" y="194817"/>
                        <a:pt x="147991" y="233580"/>
                      </a:cubicBezTo>
                      <a:cubicBezTo>
                        <a:pt x="170418" y="337132"/>
                        <a:pt x="149652" y="382816"/>
                        <a:pt x="134701" y="416318"/>
                      </a:cubicBezTo>
                      <a:cubicBezTo>
                        <a:pt x="131932" y="422410"/>
                        <a:pt x="129163" y="428224"/>
                        <a:pt x="127225" y="434038"/>
                      </a:cubicBezTo>
                      <a:lnTo>
                        <a:pt x="125287" y="439022"/>
                      </a:lnTo>
                      <a:cubicBezTo>
                        <a:pt x="120857" y="450928"/>
                        <a:pt x="116704" y="462003"/>
                        <a:pt x="114489" y="471694"/>
                      </a:cubicBezTo>
                      <a:cubicBezTo>
                        <a:pt x="116980" y="471140"/>
                        <a:pt x="119749" y="470586"/>
                        <a:pt x="122518" y="470586"/>
                      </a:cubicBezTo>
                      <a:cubicBezTo>
                        <a:pt x="129994" y="470586"/>
                        <a:pt x="135808" y="473078"/>
                        <a:pt x="139684" y="474739"/>
                      </a:cubicBezTo>
                      <a:cubicBezTo>
                        <a:pt x="152421" y="480000"/>
                        <a:pt x="162942" y="492736"/>
                        <a:pt x="167095" y="507688"/>
                      </a:cubicBezTo>
                      <a:cubicBezTo>
                        <a:pt x="167926" y="510180"/>
                        <a:pt x="168203" y="512672"/>
                        <a:pt x="168756" y="514886"/>
                      </a:cubicBezTo>
                      <a:cubicBezTo>
                        <a:pt x="169033" y="516271"/>
                        <a:pt x="169310" y="517378"/>
                        <a:pt x="169310" y="518763"/>
                      </a:cubicBezTo>
                      <a:cubicBezTo>
                        <a:pt x="166541" y="622592"/>
                        <a:pt x="170418" y="716730"/>
                        <a:pt x="178724" y="737495"/>
                      </a:cubicBezTo>
                      <a:cubicBezTo>
                        <a:pt x="191737" y="769890"/>
                        <a:pt x="211119" y="798131"/>
                        <a:pt x="266771" y="786226"/>
                      </a:cubicBezTo>
                      <a:cubicBezTo>
                        <a:pt x="320208" y="774874"/>
                        <a:pt x="339036" y="755492"/>
                        <a:pt x="348173" y="703993"/>
                      </a:cubicBezTo>
                      <a:cubicBezTo>
                        <a:pt x="354818" y="664954"/>
                        <a:pt x="368108" y="554203"/>
                        <a:pt x="370046" y="530669"/>
                      </a:cubicBezTo>
                      <a:cubicBezTo>
                        <a:pt x="367277" y="483599"/>
                        <a:pt x="392750" y="474186"/>
                        <a:pt x="406870" y="470032"/>
                      </a:cubicBezTo>
                      <a:lnTo>
                        <a:pt x="406870" y="470032"/>
                      </a:lnTo>
                      <a:close/>
                    </a:path>
                  </a:pathLst>
                </a:custGeom>
                <a:solidFill>
                  <a:srgbClr val="0078D7"/>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12363F33-998D-4D51-B42C-93FDE0D03037}"/>
                    </a:ext>
                  </a:extLst>
                </p:cNvPr>
                <p:cNvSpPr/>
                <p:nvPr/>
              </p:nvSpPr>
              <p:spPr>
                <a:xfrm>
                  <a:off x="8022745" y="1531837"/>
                  <a:ext cx="141207" cy="44300"/>
                </a:xfrm>
                <a:custGeom>
                  <a:avLst/>
                  <a:gdLst>
                    <a:gd name="connsiteX0" fmla="*/ 43451 w 141207"/>
                    <a:gd name="connsiteY0" fmla="*/ 44716 h 44300"/>
                    <a:gd name="connsiteX1" fmla="*/ 105195 w 141207"/>
                    <a:gd name="connsiteY1" fmla="*/ 31979 h 44300"/>
                    <a:gd name="connsiteX2" fmla="*/ 140912 w 141207"/>
                    <a:gd name="connsiteY2" fmla="*/ 8998 h 44300"/>
                    <a:gd name="connsiteX3" fmla="*/ 140358 w 141207"/>
                    <a:gd name="connsiteY3" fmla="*/ 8998 h 44300"/>
                    <a:gd name="connsiteX4" fmla="*/ 32099 w 141207"/>
                    <a:gd name="connsiteY4" fmla="*/ 4568 h 44300"/>
                    <a:gd name="connsiteX5" fmla="*/ 28500 w 141207"/>
                    <a:gd name="connsiteY5" fmla="*/ 2077 h 44300"/>
                    <a:gd name="connsiteX6" fmla="*/ 23239 w 141207"/>
                    <a:gd name="connsiteY6" fmla="*/ 3738 h 44300"/>
                    <a:gd name="connsiteX7" fmla="*/ 2197 w 141207"/>
                    <a:gd name="connsiteY7" fmla="*/ 39455 h 44300"/>
                    <a:gd name="connsiteX8" fmla="*/ 43451 w 141207"/>
                    <a:gd name="connsiteY8" fmla="*/ 44716 h 44300"/>
                    <a:gd name="connsiteX9" fmla="*/ 43451 w 141207"/>
                    <a:gd name="connsiteY9" fmla="*/ 44716 h 4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207" h="44300">
                      <a:moveTo>
                        <a:pt x="43451" y="44716"/>
                      </a:moveTo>
                      <a:cubicBezTo>
                        <a:pt x="66432" y="43608"/>
                        <a:pt x="90520" y="38624"/>
                        <a:pt x="105195" y="31979"/>
                      </a:cubicBezTo>
                      <a:cubicBezTo>
                        <a:pt x="122084" y="24227"/>
                        <a:pt x="133990" y="15367"/>
                        <a:pt x="140912" y="8998"/>
                      </a:cubicBezTo>
                      <a:cubicBezTo>
                        <a:pt x="140635" y="8998"/>
                        <a:pt x="140635" y="8998"/>
                        <a:pt x="140358" y="8998"/>
                      </a:cubicBezTo>
                      <a:cubicBezTo>
                        <a:pt x="88859" y="19520"/>
                        <a:pt x="52588" y="18135"/>
                        <a:pt x="32099" y="4568"/>
                      </a:cubicBezTo>
                      <a:cubicBezTo>
                        <a:pt x="30992" y="3738"/>
                        <a:pt x="29608" y="2907"/>
                        <a:pt x="28500" y="2077"/>
                      </a:cubicBezTo>
                      <a:cubicBezTo>
                        <a:pt x="26839" y="2630"/>
                        <a:pt x="24901" y="3184"/>
                        <a:pt x="23239" y="3738"/>
                      </a:cubicBezTo>
                      <a:cubicBezTo>
                        <a:pt x="11611" y="7060"/>
                        <a:pt x="812" y="10106"/>
                        <a:pt x="2197" y="39455"/>
                      </a:cubicBezTo>
                      <a:cubicBezTo>
                        <a:pt x="4966" y="41947"/>
                        <a:pt x="17979" y="45823"/>
                        <a:pt x="43451" y="44716"/>
                      </a:cubicBezTo>
                      <a:lnTo>
                        <a:pt x="43451" y="44716"/>
                      </a:lnTo>
                      <a:close/>
                    </a:path>
                  </a:pathLst>
                </a:custGeom>
                <a:solidFill>
                  <a:srgbClr val="0078D7"/>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549CB703-D0BE-4100-874E-9A60ECD1357B}"/>
                    </a:ext>
                  </a:extLst>
                </p:cNvPr>
                <p:cNvSpPr/>
                <p:nvPr/>
              </p:nvSpPr>
              <p:spPr>
                <a:xfrm>
                  <a:off x="7910176" y="1032295"/>
                  <a:ext cx="257495" cy="459616"/>
                </a:xfrm>
                <a:custGeom>
                  <a:avLst/>
                  <a:gdLst>
                    <a:gd name="connsiteX0" fmla="*/ 74895 w 257495"/>
                    <a:gd name="connsiteY0" fmla="*/ 2133 h 459615"/>
                    <a:gd name="connsiteX1" fmla="*/ 2077 w 257495"/>
                    <a:gd name="connsiteY1" fmla="*/ 9055 h 459615"/>
                    <a:gd name="connsiteX2" fmla="*/ 98983 w 257495"/>
                    <a:gd name="connsiteY2" fmla="*/ 81874 h 459615"/>
                    <a:gd name="connsiteX3" fmla="*/ 159896 w 257495"/>
                    <a:gd name="connsiteY3" fmla="*/ 196501 h 459615"/>
                    <a:gd name="connsiteX4" fmla="*/ 159343 w 257495"/>
                    <a:gd name="connsiteY4" fmla="*/ 203146 h 459615"/>
                    <a:gd name="connsiteX5" fmla="*/ 155466 w 257495"/>
                    <a:gd name="connsiteY5" fmla="*/ 250769 h 459615"/>
                    <a:gd name="connsiteX6" fmla="*/ 151313 w 257495"/>
                    <a:gd name="connsiteY6" fmla="*/ 289254 h 459615"/>
                    <a:gd name="connsiteX7" fmla="*/ 154359 w 257495"/>
                    <a:gd name="connsiteY7" fmla="*/ 332447 h 459615"/>
                    <a:gd name="connsiteX8" fmla="*/ 138300 w 257495"/>
                    <a:gd name="connsiteY8" fmla="*/ 453719 h 459615"/>
                    <a:gd name="connsiteX9" fmla="*/ 139684 w 257495"/>
                    <a:gd name="connsiteY9" fmla="*/ 455381 h 459615"/>
                    <a:gd name="connsiteX10" fmla="*/ 142730 w 257495"/>
                    <a:gd name="connsiteY10" fmla="*/ 459257 h 459615"/>
                    <a:gd name="connsiteX11" fmla="*/ 244898 w 257495"/>
                    <a:gd name="connsiteY11" fmla="*/ 82704 h 459615"/>
                    <a:gd name="connsiteX12" fmla="*/ 74895 w 257495"/>
                    <a:gd name="connsiteY12" fmla="*/ 2133 h 459615"/>
                    <a:gd name="connsiteX13" fmla="*/ 74895 w 257495"/>
                    <a:gd name="connsiteY13" fmla="*/ 2133 h 459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495" h="459615">
                      <a:moveTo>
                        <a:pt x="74895" y="2133"/>
                      </a:moveTo>
                      <a:cubicBezTo>
                        <a:pt x="46377" y="1579"/>
                        <a:pt x="20904" y="5179"/>
                        <a:pt x="2077" y="9055"/>
                      </a:cubicBezTo>
                      <a:cubicBezTo>
                        <a:pt x="45546" y="28160"/>
                        <a:pt x="77387" y="56678"/>
                        <a:pt x="98983" y="81874"/>
                      </a:cubicBezTo>
                      <a:cubicBezTo>
                        <a:pt x="138854" y="128112"/>
                        <a:pt x="158235" y="179611"/>
                        <a:pt x="159896" y="196501"/>
                      </a:cubicBezTo>
                      <a:cubicBezTo>
                        <a:pt x="160173" y="199269"/>
                        <a:pt x="159896" y="201484"/>
                        <a:pt x="159343" y="203146"/>
                      </a:cubicBezTo>
                      <a:cubicBezTo>
                        <a:pt x="159896" y="220866"/>
                        <a:pt x="157681" y="236094"/>
                        <a:pt x="155466" y="250769"/>
                      </a:cubicBezTo>
                      <a:cubicBezTo>
                        <a:pt x="153528" y="262674"/>
                        <a:pt x="151867" y="274857"/>
                        <a:pt x="151313" y="289254"/>
                      </a:cubicBezTo>
                      <a:cubicBezTo>
                        <a:pt x="150759" y="302821"/>
                        <a:pt x="152698" y="317219"/>
                        <a:pt x="154359" y="332447"/>
                      </a:cubicBezTo>
                      <a:cubicBezTo>
                        <a:pt x="158789" y="369549"/>
                        <a:pt x="163773" y="411357"/>
                        <a:pt x="138300" y="453719"/>
                      </a:cubicBezTo>
                      <a:cubicBezTo>
                        <a:pt x="138854" y="454273"/>
                        <a:pt x="139131" y="454827"/>
                        <a:pt x="139684" y="455381"/>
                      </a:cubicBezTo>
                      <a:cubicBezTo>
                        <a:pt x="140792" y="456765"/>
                        <a:pt x="141622" y="457872"/>
                        <a:pt x="142730" y="459257"/>
                      </a:cubicBezTo>
                      <a:cubicBezTo>
                        <a:pt x="241852" y="303098"/>
                        <a:pt x="276185" y="122298"/>
                        <a:pt x="244898" y="82704"/>
                      </a:cubicBezTo>
                      <a:cubicBezTo>
                        <a:pt x="204474" y="30928"/>
                        <a:pt x="147160" y="3794"/>
                        <a:pt x="74895" y="2133"/>
                      </a:cubicBezTo>
                      <a:lnTo>
                        <a:pt x="74895" y="2133"/>
                      </a:lnTo>
                      <a:close/>
                    </a:path>
                  </a:pathLst>
                </a:custGeom>
                <a:solidFill>
                  <a:srgbClr val="0078D7"/>
                </a:solidFill>
                <a:ln w="95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38A7438D-EBD7-4D9C-9511-6395EB890AC8}"/>
                    </a:ext>
                  </a:extLst>
                </p:cNvPr>
                <p:cNvSpPr/>
                <p:nvPr/>
              </p:nvSpPr>
              <p:spPr>
                <a:xfrm>
                  <a:off x="7640775" y="1535160"/>
                  <a:ext cx="132901" cy="77526"/>
                </a:xfrm>
                <a:custGeom>
                  <a:avLst/>
                  <a:gdLst>
                    <a:gd name="connsiteX0" fmla="*/ 52745 w 132900"/>
                    <a:gd name="connsiteY0" fmla="*/ 77110 h 77525"/>
                    <a:gd name="connsiteX1" fmla="*/ 130547 w 132900"/>
                    <a:gd name="connsiteY1" fmla="*/ 36963 h 77525"/>
                    <a:gd name="connsiteX2" fmla="*/ 132209 w 132900"/>
                    <a:gd name="connsiteY2" fmla="*/ 21181 h 77525"/>
                    <a:gd name="connsiteX3" fmla="*/ 119195 w 132900"/>
                    <a:gd name="connsiteY3" fmla="*/ 4292 h 77525"/>
                    <a:gd name="connsiteX4" fmla="*/ 111443 w 132900"/>
                    <a:gd name="connsiteY4" fmla="*/ 2077 h 77525"/>
                    <a:gd name="connsiteX5" fmla="*/ 100368 w 132900"/>
                    <a:gd name="connsiteY5" fmla="*/ 8998 h 77525"/>
                    <a:gd name="connsiteX6" fmla="*/ 87355 w 132900"/>
                    <a:gd name="connsiteY6" fmla="*/ 24504 h 77525"/>
                    <a:gd name="connsiteX7" fmla="*/ 19797 w 132900"/>
                    <a:gd name="connsiteY7" fmla="*/ 59667 h 77525"/>
                    <a:gd name="connsiteX8" fmla="*/ 2077 w 132900"/>
                    <a:gd name="connsiteY8" fmla="*/ 64928 h 77525"/>
                    <a:gd name="connsiteX9" fmla="*/ 18689 w 132900"/>
                    <a:gd name="connsiteY9" fmla="*/ 72126 h 77525"/>
                    <a:gd name="connsiteX10" fmla="*/ 52745 w 132900"/>
                    <a:gd name="connsiteY10" fmla="*/ 77110 h 7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2900" h="77525">
                      <a:moveTo>
                        <a:pt x="52745" y="77110"/>
                      </a:moveTo>
                      <a:cubicBezTo>
                        <a:pt x="85417" y="77110"/>
                        <a:pt x="111443" y="63543"/>
                        <a:pt x="130547" y="36963"/>
                      </a:cubicBezTo>
                      <a:cubicBezTo>
                        <a:pt x="134424" y="31702"/>
                        <a:pt x="133039" y="24781"/>
                        <a:pt x="132209" y="21181"/>
                      </a:cubicBezTo>
                      <a:cubicBezTo>
                        <a:pt x="129994" y="13705"/>
                        <a:pt x="124733" y="6784"/>
                        <a:pt x="119195" y="4292"/>
                      </a:cubicBezTo>
                      <a:cubicBezTo>
                        <a:pt x="116150" y="2907"/>
                        <a:pt x="113658" y="2077"/>
                        <a:pt x="111443" y="2077"/>
                      </a:cubicBezTo>
                      <a:cubicBezTo>
                        <a:pt x="108397" y="2077"/>
                        <a:pt x="104521" y="4568"/>
                        <a:pt x="100368" y="8998"/>
                      </a:cubicBezTo>
                      <a:cubicBezTo>
                        <a:pt x="94830" y="15090"/>
                        <a:pt x="90954" y="20074"/>
                        <a:pt x="87355" y="24504"/>
                      </a:cubicBezTo>
                      <a:cubicBezTo>
                        <a:pt x="72126" y="43885"/>
                        <a:pt x="65204" y="50530"/>
                        <a:pt x="19797" y="59667"/>
                      </a:cubicBezTo>
                      <a:cubicBezTo>
                        <a:pt x="10383" y="61605"/>
                        <a:pt x="5122" y="63543"/>
                        <a:pt x="2077" y="64928"/>
                      </a:cubicBezTo>
                      <a:cubicBezTo>
                        <a:pt x="5676" y="67420"/>
                        <a:pt x="11767" y="70465"/>
                        <a:pt x="18689" y="72126"/>
                      </a:cubicBezTo>
                      <a:cubicBezTo>
                        <a:pt x="30595" y="75726"/>
                        <a:pt x="41947" y="77110"/>
                        <a:pt x="52745" y="77110"/>
                      </a:cubicBezTo>
                      <a:close/>
                    </a:path>
                  </a:pathLst>
                </a:custGeom>
                <a:solidFill>
                  <a:srgbClr val="0078D7"/>
                </a:solidFill>
                <a:ln w="952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5DBCAF0E-784B-474E-B12C-C9DECE2BCECD}"/>
                    </a:ext>
                  </a:extLst>
                </p:cNvPr>
                <p:cNvSpPr/>
                <p:nvPr/>
              </p:nvSpPr>
              <p:spPr>
                <a:xfrm>
                  <a:off x="7958595" y="1240242"/>
                  <a:ext cx="85832" cy="224270"/>
                </a:xfrm>
                <a:custGeom>
                  <a:avLst/>
                  <a:gdLst>
                    <a:gd name="connsiteX0" fmla="*/ 82405 w 85831"/>
                    <a:gd name="connsiteY0" fmla="*/ 39222 h 224270"/>
                    <a:gd name="connsiteX1" fmla="*/ 86005 w 85831"/>
                    <a:gd name="connsiteY1" fmla="*/ 3782 h 224270"/>
                    <a:gd name="connsiteX2" fmla="*/ 9310 w 85831"/>
                    <a:gd name="connsiteY2" fmla="*/ 20117 h 224270"/>
                    <a:gd name="connsiteX3" fmla="*/ 55825 w 85831"/>
                    <a:gd name="connsiteY3" fmla="*/ 187628 h 224270"/>
                    <a:gd name="connsiteX4" fmla="*/ 67177 w 85831"/>
                    <a:gd name="connsiteY4" fmla="*/ 209501 h 224270"/>
                    <a:gd name="connsiteX5" fmla="*/ 73822 w 85831"/>
                    <a:gd name="connsiteY5" fmla="*/ 223068 h 224270"/>
                    <a:gd name="connsiteX6" fmla="*/ 81021 w 85831"/>
                    <a:gd name="connsiteY6" fmla="*/ 127822 h 224270"/>
                    <a:gd name="connsiteX7" fmla="*/ 77698 w 85831"/>
                    <a:gd name="connsiteY7" fmla="*/ 81030 h 224270"/>
                    <a:gd name="connsiteX8" fmla="*/ 82405 w 85831"/>
                    <a:gd name="connsiteY8" fmla="*/ 39222 h 224270"/>
                    <a:gd name="connsiteX9" fmla="*/ 82405 w 85831"/>
                    <a:gd name="connsiteY9" fmla="*/ 39222 h 22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831" h="224270">
                      <a:moveTo>
                        <a:pt x="82405" y="39222"/>
                      </a:moveTo>
                      <a:cubicBezTo>
                        <a:pt x="84067" y="27593"/>
                        <a:pt x="86005" y="16241"/>
                        <a:pt x="86005" y="3782"/>
                      </a:cubicBezTo>
                      <a:cubicBezTo>
                        <a:pt x="36721" y="-2310"/>
                        <a:pt x="17062" y="9042"/>
                        <a:pt x="9310" y="20117"/>
                      </a:cubicBezTo>
                      <a:cubicBezTo>
                        <a:pt x="-16717" y="57219"/>
                        <a:pt x="34229" y="148588"/>
                        <a:pt x="55825" y="187628"/>
                      </a:cubicBezTo>
                      <a:cubicBezTo>
                        <a:pt x="61363" y="197595"/>
                        <a:pt x="65516" y="204794"/>
                        <a:pt x="67177" y="209501"/>
                      </a:cubicBezTo>
                      <a:cubicBezTo>
                        <a:pt x="69115" y="214208"/>
                        <a:pt x="71330" y="218638"/>
                        <a:pt x="73822" y="223068"/>
                      </a:cubicBezTo>
                      <a:cubicBezTo>
                        <a:pt x="88773" y="191227"/>
                        <a:pt x="84897" y="159110"/>
                        <a:pt x="81021" y="127822"/>
                      </a:cubicBezTo>
                      <a:cubicBezTo>
                        <a:pt x="79083" y="112317"/>
                        <a:pt x="77145" y="96258"/>
                        <a:pt x="77698" y="81030"/>
                      </a:cubicBezTo>
                      <a:cubicBezTo>
                        <a:pt x="78529" y="64971"/>
                        <a:pt x="80467" y="51958"/>
                        <a:pt x="82405" y="39222"/>
                      </a:cubicBezTo>
                      <a:lnTo>
                        <a:pt x="82405" y="39222"/>
                      </a:lnTo>
                      <a:close/>
                    </a:path>
                  </a:pathLst>
                </a:custGeom>
                <a:solidFill>
                  <a:srgbClr val="0078D7"/>
                </a:solidFill>
                <a:ln w="9525"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2CFC5D7A-C438-42CA-8732-C383D802E4A0}"/>
                    </a:ext>
                  </a:extLst>
                </p:cNvPr>
                <p:cNvSpPr/>
                <p:nvPr/>
              </p:nvSpPr>
              <p:spPr>
                <a:xfrm>
                  <a:off x="7977410" y="1252192"/>
                  <a:ext cx="44300" cy="27688"/>
                </a:xfrm>
                <a:custGeom>
                  <a:avLst/>
                  <a:gdLst>
                    <a:gd name="connsiteX0" fmla="*/ 38949 w 44300"/>
                    <a:gd name="connsiteY0" fmla="*/ 20074 h 27687"/>
                    <a:gd name="connsiteX1" fmla="*/ 24551 w 44300"/>
                    <a:gd name="connsiteY1" fmla="*/ 27826 h 27687"/>
                    <a:gd name="connsiteX2" fmla="*/ 21782 w 44300"/>
                    <a:gd name="connsiteY2" fmla="*/ 28103 h 27687"/>
                    <a:gd name="connsiteX3" fmla="*/ 2124 w 44300"/>
                    <a:gd name="connsiteY3" fmla="*/ 15090 h 27687"/>
                    <a:gd name="connsiteX4" fmla="*/ 21782 w 44300"/>
                    <a:gd name="connsiteY4" fmla="*/ 2630 h 27687"/>
                    <a:gd name="connsiteX5" fmla="*/ 28427 w 44300"/>
                    <a:gd name="connsiteY5" fmla="*/ 2077 h 27687"/>
                    <a:gd name="connsiteX6" fmla="*/ 43932 w 44300"/>
                    <a:gd name="connsiteY6" fmla="*/ 8998 h 27687"/>
                    <a:gd name="connsiteX7" fmla="*/ 38949 w 44300"/>
                    <a:gd name="connsiteY7" fmla="*/ 20074 h 27687"/>
                    <a:gd name="connsiteX8" fmla="*/ 38949 w 44300"/>
                    <a:gd name="connsiteY8" fmla="*/ 20074 h 27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300" h="27687">
                      <a:moveTo>
                        <a:pt x="38949" y="20074"/>
                      </a:moveTo>
                      <a:cubicBezTo>
                        <a:pt x="36457" y="22565"/>
                        <a:pt x="31473" y="26995"/>
                        <a:pt x="24551" y="27826"/>
                      </a:cubicBezTo>
                      <a:cubicBezTo>
                        <a:pt x="23720" y="27826"/>
                        <a:pt x="22613" y="28103"/>
                        <a:pt x="21782" y="28103"/>
                      </a:cubicBezTo>
                      <a:cubicBezTo>
                        <a:pt x="11538" y="28103"/>
                        <a:pt x="2678" y="20074"/>
                        <a:pt x="2124" y="15090"/>
                      </a:cubicBezTo>
                      <a:cubicBezTo>
                        <a:pt x="1293" y="8722"/>
                        <a:pt x="11538" y="4015"/>
                        <a:pt x="21782" y="2630"/>
                      </a:cubicBezTo>
                      <a:cubicBezTo>
                        <a:pt x="23997" y="2353"/>
                        <a:pt x="26212" y="2077"/>
                        <a:pt x="28427" y="2077"/>
                      </a:cubicBezTo>
                      <a:cubicBezTo>
                        <a:pt x="37564" y="2077"/>
                        <a:pt x="43379" y="4845"/>
                        <a:pt x="43932" y="8998"/>
                      </a:cubicBezTo>
                      <a:cubicBezTo>
                        <a:pt x="44486" y="12044"/>
                        <a:pt x="42548" y="16197"/>
                        <a:pt x="38949" y="20074"/>
                      </a:cubicBezTo>
                      <a:lnTo>
                        <a:pt x="38949" y="20074"/>
                      </a:lnTo>
                      <a:close/>
                    </a:path>
                  </a:pathLst>
                </a:custGeom>
                <a:solidFill>
                  <a:srgbClr val="FFFFFF"/>
                </a:solidFill>
                <a:ln w="9525" cap="flat">
                  <a:noFill/>
                  <a:prstDash val="solid"/>
                  <a:miter/>
                </a:ln>
              </p:spPr>
              <p:txBody>
                <a:bodyPr rtlCol="0" anchor="ctr"/>
                <a:lstStyle/>
                <a:p>
                  <a:endParaRPr lang="en-US"/>
                </a:p>
              </p:txBody>
            </p:sp>
          </p:grpSp>
        </p:grpSp>
        <p:pic>
          <p:nvPicPr>
            <p:cNvPr id="121" name="Picture 120">
              <a:extLst>
                <a:ext uri="{FF2B5EF4-FFF2-40B4-BE49-F238E27FC236}">
                  <a16:creationId xmlns:a16="http://schemas.microsoft.com/office/drawing/2014/main" id="{E4A0692E-EFFC-48C6-8053-B5A025110C5C}"/>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501840" y="3482804"/>
              <a:ext cx="1045009" cy="1045009"/>
            </a:xfrm>
            <a:prstGeom prst="rect">
              <a:avLst/>
            </a:prstGeom>
            <a:solidFill>
              <a:srgbClr val="E6E6E6"/>
            </a:solidFill>
          </p:spPr>
        </p:pic>
        <p:pic>
          <p:nvPicPr>
            <p:cNvPr id="124" name="Picture 123">
              <a:extLst>
                <a:ext uri="{FF2B5EF4-FFF2-40B4-BE49-F238E27FC236}">
                  <a16:creationId xmlns:a16="http://schemas.microsoft.com/office/drawing/2014/main" id="{AEC98A7A-DDE2-4DA1-BC95-4CD66FBBDCDD}"/>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534543" y="3484476"/>
              <a:ext cx="1045009" cy="1045009"/>
            </a:xfrm>
            <a:prstGeom prst="rect">
              <a:avLst/>
            </a:prstGeom>
            <a:solidFill>
              <a:srgbClr val="E6E6E6"/>
            </a:solidFill>
          </p:spPr>
        </p:pic>
      </p:grpSp>
      <p:grpSp>
        <p:nvGrpSpPr>
          <p:cNvPr id="125" name="Group 124">
            <a:extLst>
              <a:ext uri="{FF2B5EF4-FFF2-40B4-BE49-F238E27FC236}">
                <a16:creationId xmlns:a16="http://schemas.microsoft.com/office/drawing/2014/main" id="{D6C7BD23-8947-4D8D-BEBE-D2AAAC8AF4C6}"/>
              </a:ext>
            </a:extLst>
          </p:cNvPr>
          <p:cNvGrpSpPr/>
          <p:nvPr/>
        </p:nvGrpSpPr>
        <p:grpSpPr>
          <a:xfrm>
            <a:off x="0" y="6057900"/>
            <a:ext cx="12192000" cy="781122"/>
            <a:chOff x="0" y="5873568"/>
            <a:chExt cx="12192000" cy="899088"/>
          </a:xfrm>
        </p:grpSpPr>
        <p:sp>
          <p:nvSpPr>
            <p:cNvPr id="126" name="Rectangle 125">
              <a:extLst>
                <a:ext uri="{FF2B5EF4-FFF2-40B4-BE49-F238E27FC236}">
                  <a16:creationId xmlns:a16="http://schemas.microsoft.com/office/drawing/2014/main" id="{53CA3029-EF9E-46B8-8C39-B4E282ED8941}"/>
                </a:ext>
              </a:extLst>
            </p:cNvPr>
            <p:cNvSpPr/>
            <p:nvPr/>
          </p:nvSpPr>
          <p:spPr bwMode="auto">
            <a:xfrm>
              <a:off x="0" y="5873568"/>
              <a:ext cx="12192000" cy="89908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8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28" name="Rectangle 127">
              <a:extLst>
                <a:ext uri="{FF2B5EF4-FFF2-40B4-BE49-F238E27FC236}">
                  <a16:creationId xmlns:a16="http://schemas.microsoft.com/office/drawing/2014/main" id="{27B976E4-F164-4EC5-9314-7051D159EB18}"/>
                </a:ext>
              </a:extLst>
            </p:cNvPr>
            <p:cNvSpPr/>
            <p:nvPr/>
          </p:nvSpPr>
          <p:spPr>
            <a:xfrm>
              <a:off x="4629098" y="6039788"/>
              <a:ext cx="2924390" cy="552641"/>
            </a:xfrm>
            <a:prstGeom prst="rect">
              <a:avLst/>
            </a:prstGeom>
            <a:ln>
              <a:noFill/>
            </a:ln>
          </p:spPr>
          <p:txBody>
            <a:bodyPr wrap="none">
              <a:spAutoFit/>
            </a:bodyPr>
            <a:lstStyle/>
            <a:p>
              <a:pPr algn="ctr" defTabSz="914102" fontAlgn="base">
                <a:lnSpc>
                  <a:spcPct val="90000"/>
                </a:lnSpc>
                <a:spcBef>
                  <a:spcPct val="0"/>
                </a:spcBef>
                <a:spcAft>
                  <a:spcPct val="0"/>
                </a:spcAft>
              </a:pPr>
              <a:r>
                <a:rPr lang="en-US" sz="2800" b="1">
                  <a:solidFill>
                    <a:srgbClr val="DD5900"/>
                  </a:solidFill>
                  <a:latin typeface="Segoe UI Light" panose="020B0502040204020203" pitchFamily="34" charset="0"/>
                  <a:ea typeface="Segoe UI" pitchFamily="34" charset="0"/>
                  <a:cs typeface="Segoe UI Light" panose="020B0502040204020203" pitchFamily="34" charset="0"/>
                </a:rPr>
                <a:t>       Service Fabric</a:t>
              </a:r>
            </a:p>
          </p:txBody>
        </p:sp>
      </p:grpSp>
      <p:pic>
        <p:nvPicPr>
          <p:cNvPr id="130" name="Graphic 129">
            <a:extLst>
              <a:ext uri="{FF2B5EF4-FFF2-40B4-BE49-F238E27FC236}">
                <a16:creationId xmlns:a16="http://schemas.microsoft.com/office/drawing/2014/main" id="{BC652081-1E36-42C2-AAF0-A45DC9F8EC3F}"/>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911559" y="6195979"/>
            <a:ext cx="411036" cy="417136"/>
          </a:xfrm>
          <a:prstGeom prst="rect">
            <a:avLst/>
          </a:prstGeom>
        </p:spPr>
      </p:pic>
    </p:spTree>
    <p:extLst>
      <p:ext uri="{BB962C8B-B14F-4D97-AF65-F5344CB8AC3E}">
        <p14:creationId xmlns:p14="http://schemas.microsoft.com/office/powerpoint/2010/main" val="31873154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0"/>
                                        </p:tgtEl>
                                        <p:attrNameLst>
                                          <p:attrName>style.visibility</p:attrName>
                                        </p:attrNameLst>
                                      </p:cBhvr>
                                      <p:to>
                                        <p:strVal val="visible"/>
                                      </p:to>
                                    </p:set>
                                    <p:animEffect transition="in" filter="fade">
                                      <p:cBhvr>
                                        <p:cTn id="7" dur="500"/>
                                        <p:tgtEl>
                                          <p:spTgt spid="1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24">
            <a:extLst>
              <a:ext uri="{FF2B5EF4-FFF2-40B4-BE49-F238E27FC236}">
                <a16:creationId xmlns:a16="http://schemas.microsoft.com/office/drawing/2014/main" id="{C34A334A-4509-4DA0-A8DF-C41BDF678DC4}"/>
              </a:ext>
            </a:extLst>
          </p:cNvPr>
          <p:cNvSpPr>
            <a:spLocks noGrp="1"/>
          </p:cNvSpPr>
          <p:nvPr>
            <p:ph type="title"/>
          </p:nvPr>
        </p:nvSpPr>
        <p:spPr>
          <a:xfrm>
            <a:off x="588263" y="880012"/>
            <a:ext cx="11018520" cy="553998"/>
          </a:xfrm>
        </p:spPr>
        <p:txBody>
          <a:bodyPr/>
          <a:lstStyle/>
          <a:p>
            <a:pPr algn="ctr">
              <a:spcBef>
                <a:spcPts val="0"/>
              </a:spcBef>
              <a:spcAft>
                <a:spcPts val="1200"/>
              </a:spcAft>
              <a:buSzPct val="90000"/>
              <a:defRPr/>
            </a:pPr>
            <a:r>
              <a:rPr lang="en-US">
                <a:solidFill>
                  <a:srgbClr val="0078D4"/>
                </a:solidFill>
                <a:latin typeface="Selawik Semibold" panose="020B0702040204020203" pitchFamily="34" charset="0"/>
                <a:cs typeface="Segoe UI Light" panose="020B0502040204020203" pitchFamily="34" charset="0"/>
              </a:rPr>
              <a:t>Balancing</a:t>
            </a:r>
            <a:r>
              <a:rPr lang="en-US">
                <a:solidFill>
                  <a:srgbClr val="000000"/>
                </a:solidFill>
                <a:latin typeface="Segoe UI Light" panose="020B0502040204020203" pitchFamily="34" charset="0"/>
                <a:cs typeface="Segoe UI Light" panose="020B0502040204020203" pitchFamily="34" charset="0"/>
              </a:rPr>
              <a:t> IT and business</a:t>
            </a:r>
          </a:p>
        </p:txBody>
      </p:sp>
      <p:grpSp>
        <p:nvGrpSpPr>
          <p:cNvPr id="4" name="Group 3">
            <a:extLst>
              <a:ext uri="{FF2B5EF4-FFF2-40B4-BE49-F238E27FC236}">
                <a16:creationId xmlns:a16="http://schemas.microsoft.com/office/drawing/2014/main" id="{8E66FC15-E409-4CFD-9A1C-0DCF332E7B16}"/>
              </a:ext>
            </a:extLst>
          </p:cNvPr>
          <p:cNvGrpSpPr/>
          <p:nvPr/>
        </p:nvGrpSpPr>
        <p:grpSpPr>
          <a:xfrm>
            <a:off x="1828800" y="1599499"/>
            <a:ext cx="8489232" cy="8133433"/>
            <a:chOff x="1828800" y="1599499"/>
            <a:chExt cx="8489232" cy="8133433"/>
          </a:xfrm>
        </p:grpSpPr>
        <p:sp>
          <p:nvSpPr>
            <p:cNvPr id="3" name="Compare_F057" title="Icon of a counterweight scale">
              <a:extLst>
                <a:ext uri="{FF2B5EF4-FFF2-40B4-BE49-F238E27FC236}">
                  <a16:creationId xmlns:a16="http://schemas.microsoft.com/office/drawing/2014/main" id="{29412244-DDF5-451A-8123-DF987E5DEA98}"/>
                </a:ext>
              </a:extLst>
            </p:cNvPr>
            <p:cNvSpPr>
              <a:spLocks noChangeAspect="1" noEditPoints="1"/>
            </p:cNvSpPr>
            <p:nvPr/>
          </p:nvSpPr>
          <p:spPr bwMode="auto">
            <a:xfrm>
              <a:off x="2157825" y="1599499"/>
              <a:ext cx="7876350" cy="8133433"/>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38100" cap="flat">
              <a:solidFill>
                <a:srgbClr val="000000">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2" name="Rectangle 31">
              <a:extLst>
                <a:ext uri="{FF2B5EF4-FFF2-40B4-BE49-F238E27FC236}">
                  <a16:creationId xmlns:a16="http://schemas.microsoft.com/office/drawing/2014/main" id="{38B18C0D-CA64-435E-9EEF-013552A289C3}"/>
                </a:ext>
              </a:extLst>
            </p:cNvPr>
            <p:cNvSpPr/>
            <p:nvPr/>
          </p:nvSpPr>
          <p:spPr bwMode="auto">
            <a:xfrm>
              <a:off x="1828800" y="3490997"/>
              <a:ext cx="2011680" cy="2011680"/>
            </a:xfrm>
            <a:prstGeom prst="rect">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a:extLst>
                <a:ext uri="{FF2B5EF4-FFF2-40B4-BE49-F238E27FC236}">
                  <a16:creationId xmlns:a16="http://schemas.microsoft.com/office/drawing/2014/main" id="{3B5192B5-DDA3-4185-980B-31706D21CA3E}"/>
                </a:ext>
              </a:extLst>
            </p:cNvPr>
            <p:cNvSpPr/>
            <p:nvPr/>
          </p:nvSpPr>
          <p:spPr bwMode="auto">
            <a:xfrm rot="19802875">
              <a:off x="4093464" y="3941558"/>
              <a:ext cx="1319784" cy="1319784"/>
            </a:xfrm>
            <a:prstGeom prst="rect">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a:extLst>
                <a:ext uri="{FF2B5EF4-FFF2-40B4-BE49-F238E27FC236}">
                  <a16:creationId xmlns:a16="http://schemas.microsoft.com/office/drawing/2014/main" id="{0CD76ADE-857C-4398-B6EE-1555660E629B}"/>
                </a:ext>
              </a:extLst>
            </p:cNvPr>
            <p:cNvSpPr/>
            <p:nvPr/>
          </p:nvSpPr>
          <p:spPr bwMode="auto">
            <a:xfrm rot="1933559">
              <a:off x="6831904" y="3103358"/>
              <a:ext cx="2011680" cy="2011680"/>
            </a:xfrm>
            <a:prstGeom prst="rect">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a:extLst>
                <a:ext uri="{FF2B5EF4-FFF2-40B4-BE49-F238E27FC236}">
                  <a16:creationId xmlns:a16="http://schemas.microsoft.com/office/drawing/2014/main" id="{A15A66FA-D46F-4838-9237-36521F65E231}"/>
                </a:ext>
              </a:extLst>
            </p:cNvPr>
            <p:cNvSpPr/>
            <p:nvPr/>
          </p:nvSpPr>
          <p:spPr bwMode="auto">
            <a:xfrm>
              <a:off x="8998248" y="4176680"/>
              <a:ext cx="1319784" cy="1319784"/>
            </a:xfrm>
            <a:prstGeom prst="rect">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B789337D-963D-4CA2-9F01-FE555F5D12AF}"/>
                </a:ext>
              </a:extLst>
            </p:cNvPr>
            <p:cNvSpPr/>
            <p:nvPr/>
          </p:nvSpPr>
          <p:spPr>
            <a:xfrm>
              <a:off x="1828800" y="4376844"/>
              <a:ext cx="2011680" cy="954107"/>
            </a:xfrm>
            <a:prstGeom prst="rect">
              <a:avLst/>
            </a:prstGeom>
          </p:spPr>
          <p:txBody>
            <a:bodyPr wrap="square">
              <a:spAutoFit/>
            </a:bodyPr>
            <a:lstStyle/>
            <a:p>
              <a:pPr lvl="0" algn="ctr">
                <a:spcBef>
                  <a:spcPts val="1000"/>
                </a:spcBef>
                <a:spcAft>
                  <a:spcPts val="600"/>
                </a:spcAft>
                <a:defRPr/>
              </a:pPr>
              <a:r>
                <a:rPr lang="en-US" sz="1400">
                  <a:solidFill>
                    <a:srgbClr val="000000"/>
                  </a:solidFill>
                  <a:latin typeface="Segoe UI" panose="020B0502040204020203" pitchFamily="34" charset="0"/>
                  <a:cs typeface="Segoe UI" panose="020B0502040204020203" pitchFamily="34" charset="0"/>
                </a:rPr>
                <a:t>of IT budgets are dedicated towards maintenance (“keeping the lights on”)</a:t>
              </a:r>
              <a:endParaRPr lang="en-US" sz="1400" b="1">
                <a:solidFill>
                  <a:srgbClr val="000000"/>
                </a:solidFill>
                <a:latin typeface="Segoe UI" panose="020B0502040204020203" pitchFamily="34" charset="0"/>
                <a:cs typeface="Segoe UI" panose="020B0502040204020203" pitchFamily="34" charset="0"/>
              </a:endParaRPr>
            </a:p>
          </p:txBody>
        </p:sp>
        <p:sp>
          <p:nvSpPr>
            <p:cNvPr id="37" name="Rectangle 36">
              <a:extLst>
                <a:ext uri="{FF2B5EF4-FFF2-40B4-BE49-F238E27FC236}">
                  <a16:creationId xmlns:a16="http://schemas.microsoft.com/office/drawing/2014/main" id="{997ED008-ADE5-4651-9E08-25A9EEA3704F}"/>
                </a:ext>
              </a:extLst>
            </p:cNvPr>
            <p:cNvSpPr/>
            <p:nvPr/>
          </p:nvSpPr>
          <p:spPr>
            <a:xfrm>
              <a:off x="2094068" y="3525245"/>
              <a:ext cx="1713931" cy="923330"/>
            </a:xfrm>
            <a:prstGeom prst="rect">
              <a:avLst/>
            </a:prstGeom>
          </p:spPr>
          <p:txBody>
            <a:bodyPr wrap="none">
              <a:spAutoFit/>
            </a:bodyPr>
            <a:lstStyle/>
            <a:p>
              <a:pPr algn="ctr"/>
              <a:r>
                <a:rPr lang="en-US" sz="5400" b="1">
                  <a:solidFill>
                    <a:srgbClr val="0078D4"/>
                  </a:solidFill>
                  <a:latin typeface="Segoe UI Semibold" panose="020B0702040204020203" pitchFamily="34" charset="0"/>
                  <a:cs typeface="Segoe UI Semibold" panose="020B0702040204020203" pitchFamily="34" charset="0"/>
                </a:rPr>
                <a:t>72%</a:t>
              </a:r>
              <a:r>
                <a:rPr lang="en-US" sz="5400">
                  <a:solidFill>
                    <a:srgbClr val="0078D4"/>
                  </a:solidFill>
                  <a:latin typeface="Segoe UI Semibold" panose="020B0702040204020203" pitchFamily="34" charset="0"/>
                  <a:cs typeface="Segoe UI Semibold" panose="020B0702040204020203" pitchFamily="34" charset="0"/>
                </a:rPr>
                <a:t> </a:t>
              </a:r>
            </a:p>
          </p:txBody>
        </p:sp>
        <p:sp>
          <p:nvSpPr>
            <p:cNvPr id="38" name="Rectangle 37">
              <a:extLst>
                <a:ext uri="{FF2B5EF4-FFF2-40B4-BE49-F238E27FC236}">
                  <a16:creationId xmlns:a16="http://schemas.microsoft.com/office/drawing/2014/main" id="{2486DE84-8B8E-4748-97CB-C5FF37924DD6}"/>
                </a:ext>
              </a:extLst>
            </p:cNvPr>
            <p:cNvSpPr/>
            <p:nvPr/>
          </p:nvSpPr>
          <p:spPr>
            <a:xfrm rot="19800000">
              <a:off x="4014707" y="4124397"/>
              <a:ext cx="1477298" cy="954107"/>
            </a:xfrm>
            <a:prstGeom prst="rect">
              <a:avLst/>
            </a:prstGeom>
          </p:spPr>
          <p:txBody>
            <a:bodyPr wrap="square">
              <a:spAutoFit/>
            </a:bodyPr>
            <a:lstStyle/>
            <a:p>
              <a:pPr lvl="0" algn="ctr">
                <a:spcBef>
                  <a:spcPts val="1000"/>
                </a:spcBef>
                <a:spcAft>
                  <a:spcPts val="600"/>
                </a:spcAft>
                <a:defRPr/>
              </a:pPr>
              <a:r>
                <a:rPr lang="en-US" sz="1400">
                  <a:solidFill>
                    <a:srgbClr val="000000"/>
                  </a:solidFill>
                  <a:latin typeface="Segoe UI" panose="020B0502040204020203" pitchFamily="34" charset="0"/>
                  <a:cs typeface="Segoe UI" panose="020B0502040204020203" pitchFamily="34" charset="0"/>
                </a:rPr>
                <a:t>Changing security and compliance requirements</a:t>
              </a:r>
              <a:endParaRPr lang="en-US" sz="1400" b="1">
                <a:solidFill>
                  <a:srgbClr val="000000"/>
                </a:solidFill>
                <a:latin typeface="Segoe UI" panose="020B0502040204020203" pitchFamily="34" charset="0"/>
                <a:cs typeface="Segoe UI" panose="020B0502040204020203" pitchFamily="34" charset="0"/>
              </a:endParaRPr>
            </a:p>
          </p:txBody>
        </p:sp>
        <p:sp>
          <p:nvSpPr>
            <p:cNvPr id="39" name="Rectangle 38">
              <a:extLst>
                <a:ext uri="{FF2B5EF4-FFF2-40B4-BE49-F238E27FC236}">
                  <a16:creationId xmlns:a16="http://schemas.microsoft.com/office/drawing/2014/main" id="{2323BB9E-6277-4BB4-BF4E-E2201665206B}"/>
                </a:ext>
              </a:extLst>
            </p:cNvPr>
            <p:cNvSpPr/>
            <p:nvPr/>
          </p:nvSpPr>
          <p:spPr>
            <a:xfrm>
              <a:off x="9014659" y="4359519"/>
              <a:ext cx="1286963" cy="954107"/>
            </a:xfrm>
            <a:prstGeom prst="rect">
              <a:avLst/>
            </a:prstGeom>
          </p:spPr>
          <p:txBody>
            <a:bodyPr wrap="square">
              <a:spAutoFit/>
            </a:bodyPr>
            <a:lstStyle/>
            <a:p>
              <a:pPr lvl="0" algn="ctr">
                <a:spcBef>
                  <a:spcPts val="1000"/>
                </a:spcBef>
                <a:spcAft>
                  <a:spcPts val="600"/>
                </a:spcAft>
                <a:defRPr/>
              </a:pPr>
              <a:r>
                <a:rPr lang="en-US" sz="1400">
                  <a:solidFill>
                    <a:srgbClr val="000000"/>
                  </a:solidFill>
                  <a:latin typeface="Segoe UI" panose="020B0502040204020203" pitchFamily="34" charset="0"/>
                  <a:cs typeface="Segoe UI" panose="020B0502040204020203" pitchFamily="34" charset="0"/>
                </a:rPr>
                <a:t>Connect with customers and empower employees</a:t>
              </a:r>
              <a:endParaRPr lang="en-US" sz="1400" b="1">
                <a:solidFill>
                  <a:srgbClr val="000000"/>
                </a:solidFill>
                <a:latin typeface="Segoe UI" panose="020B0502040204020203" pitchFamily="34" charset="0"/>
                <a:cs typeface="Segoe UI" panose="020B0502040204020203" pitchFamily="34" charset="0"/>
              </a:endParaRPr>
            </a:p>
          </p:txBody>
        </p:sp>
        <p:sp>
          <p:nvSpPr>
            <p:cNvPr id="40" name="Rectangle 39">
              <a:extLst>
                <a:ext uri="{FF2B5EF4-FFF2-40B4-BE49-F238E27FC236}">
                  <a16:creationId xmlns:a16="http://schemas.microsoft.com/office/drawing/2014/main" id="{164441FE-AE00-4B2B-91B9-9A663040A9C2}"/>
                </a:ext>
              </a:extLst>
            </p:cNvPr>
            <p:cNvSpPr/>
            <p:nvPr/>
          </p:nvSpPr>
          <p:spPr>
            <a:xfrm rot="1920000">
              <a:off x="7047495" y="3739866"/>
              <a:ext cx="1580499" cy="738664"/>
            </a:xfrm>
            <a:prstGeom prst="rect">
              <a:avLst/>
            </a:prstGeom>
          </p:spPr>
          <p:txBody>
            <a:bodyPr wrap="square">
              <a:spAutoFit/>
            </a:bodyPr>
            <a:lstStyle/>
            <a:p>
              <a:pPr lvl="0" algn="ctr">
                <a:spcBef>
                  <a:spcPts val="1000"/>
                </a:spcBef>
                <a:spcAft>
                  <a:spcPts val="600"/>
                </a:spcAft>
                <a:defRPr/>
              </a:pPr>
              <a:r>
                <a:rPr lang="en-US" sz="1400">
                  <a:solidFill>
                    <a:srgbClr val="000000"/>
                  </a:solidFill>
                  <a:latin typeface="Segoe UI" panose="020B0502040204020203" pitchFamily="34" charset="0"/>
                  <a:cs typeface="Segoe UI" panose="020B0502040204020203" pitchFamily="34" charset="0"/>
                </a:rPr>
                <a:t>Rapid innovation to transform products </a:t>
              </a:r>
              <a:endParaRPr lang="en-US" sz="1400" b="1">
                <a:solidFill>
                  <a:srgbClr val="000000"/>
                </a:solidFill>
                <a:latin typeface="Segoe UI" panose="020B0502040204020203" pitchFamily="34" charset="0"/>
                <a:cs typeface="Segoe UI" panose="020B0502040204020203" pitchFamily="34" charset="0"/>
              </a:endParaRPr>
            </a:p>
          </p:txBody>
        </p:sp>
        <p:sp>
          <p:nvSpPr>
            <p:cNvPr id="41" name="Text Placeholder 6">
              <a:extLst>
                <a:ext uri="{FF2B5EF4-FFF2-40B4-BE49-F238E27FC236}">
                  <a16:creationId xmlns:a16="http://schemas.microsoft.com/office/drawing/2014/main" id="{53467054-B693-4C41-B219-8562A710DDDC}"/>
                </a:ext>
              </a:extLst>
            </p:cNvPr>
            <p:cNvSpPr txBox="1">
              <a:spLocks/>
            </p:cNvSpPr>
            <p:nvPr/>
          </p:nvSpPr>
          <p:spPr>
            <a:xfrm>
              <a:off x="2568890" y="5724255"/>
              <a:ext cx="2322576"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2000" b="0" i="0" u="none" strike="noStrike" kern="1200" cap="none" normalizeH="0" noProof="0">
                  <a:ln>
                    <a:noFill/>
                  </a:ln>
                  <a:solidFill>
                    <a:srgbClr val="0078D7"/>
                  </a:solidFill>
                  <a:effectLst/>
                  <a:uLnTx/>
                  <a:uFillTx/>
                  <a:cs typeface="Segoe UI Semibold" panose="020B0702040204020203" pitchFamily="34" charset="0"/>
                </a:rPr>
                <a:t>IT challenges</a:t>
              </a:r>
            </a:p>
          </p:txBody>
        </p:sp>
        <p:sp>
          <p:nvSpPr>
            <p:cNvPr id="42" name="Text Placeholder 6">
              <a:extLst>
                <a:ext uri="{FF2B5EF4-FFF2-40B4-BE49-F238E27FC236}">
                  <a16:creationId xmlns:a16="http://schemas.microsoft.com/office/drawing/2014/main" id="{D44D67A6-F240-4E34-8234-FC3E08541551}"/>
                </a:ext>
              </a:extLst>
            </p:cNvPr>
            <p:cNvSpPr txBox="1">
              <a:spLocks/>
            </p:cNvSpPr>
            <p:nvPr/>
          </p:nvSpPr>
          <p:spPr>
            <a:xfrm>
              <a:off x="7307578" y="5724255"/>
              <a:ext cx="2322576"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2000" b="0" i="0" u="none" strike="noStrike" kern="1200" cap="none" normalizeH="0" noProof="0">
                  <a:ln>
                    <a:noFill/>
                  </a:ln>
                  <a:solidFill>
                    <a:srgbClr val="0078D7"/>
                  </a:solidFill>
                  <a:effectLst/>
                  <a:uLnTx/>
                  <a:uFillTx/>
                  <a:cs typeface="Segoe UI Semibold" panose="020B0702040204020203" pitchFamily="34" charset="0"/>
                </a:rPr>
                <a:t>Business needs</a:t>
              </a:r>
            </a:p>
          </p:txBody>
        </p:sp>
      </p:grpSp>
    </p:spTree>
    <p:extLst>
      <p:ext uri="{BB962C8B-B14F-4D97-AF65-F5344CB8AC3E}">
        <p14:creationId xmlns:p14="http://schemas.microsoft.com/office/powerpoint/2010/main" val="15639904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nodeType="afterEffect">
                                  <p:stCondLst>
                                    <p:cond delay="0"/>
                                  </p:stCondLst>
                                  <p:childTnLst>
                                    <p:animRot by="120000">
                                      <p:cBhvr>
                                        <p:cTn id="6" dur="300" fill="hold">
                                          <p:stCondLst>
                                            <p:cond delay="0"/>
                                          </p:stCondLst>
                                        </p:cTn>
                                        <p:tgtEl>
                                          <p:spTgt spid="4"/>
                                        </p:tgtEl>
                                        <p:attrNameLst>
                                          <p:attrName>r</p:attrName>
                                        </p:attrNameLst>
                                      </p:cBhvr>
                                    </p:animRot>
                                    <p:animRot by="-240000">
                                      <p:cBhvr>
                                        <p:cTn id="7" dur="600" fill="hold">
                                          <p:stCondLst>
                                            <p:cond delay="600"/>
                                          </p:stCondLst>
                                        </p:cTn>
                                        <p:tgtEl>
                                          <p:spTgt spid="4"/>
                                        </p:tgtEl>
                                        <p:attrNameLst>
                                          <p:attrName>r</p:attrName>
                                        </p:attrNameLst>
                                      </p:cBhvr>
                                    </p:animRot>
                                    <p:animRot by="240000">
                                      <p:cBhvr>
                                        <p:cTn id="8" dur="600" fill="hold">
                                          <p:stCondLst>
                                            <p:cond delay="1200"/>
                                          </p:stCondLst>
                                        </p:cTn>
                                        <p:tgtEl>
                                          <p:spTgt spid="4"/>
                                        </p:tgtEl>
                                        <p:attrNameLst>
                                          <p:attrName>r</p:attrName>
                                        </p:attrNameLst>
                                      </p:cBhvr>
                                    </p:animRot>
                                    <p:animRot by="-240000">
                                      <p:cBhvr>
                                        <p:cTn id="9" dur="600" fill="hold">
                                          <p:stCondLst>
                                            <p:cond delay="1800"/>
                                          </p:stCondLst>
                                        </p:cTn>
                                        <p:tgtEl>
                                          <p:spTgt spid="4"/>
                                        </p:tgtEl>
                                        <p:attrNameLst>
                                          <p:attrName>r</p:attrName>
                                        </p:attrNameLst>
                                      </p:cBhvr>
                                    </p:animRot>
                                    <p:animRot by="120000">
                                      <p:cBhvr>
                                        <p:cTn id="10" dur="600" fill="hold">
                                          <p:stCondLst>
                                            <p:cond delay="2400"/>
                                          </p:stCondLst>
                                        </p:cTn>
                                        <p:tgtEl>
                                          <p:spTgt spid="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6">
            <a:extLst>
              <a:ext uri="{FF2B5EF4-FFF2-40B4-BE49-F238E27FC236}">
                <a16:creationId xmlns:a16="http://schemas.microsoft.com/office/drawing/2014/main" id="{167172E6-3F69-4D8F-A9A8-2444A95EF193}"/>
              </a:ext>
            </a:extLst>
          </p:cNvPr>
          <p:cNvSpPr txBox="1">
            <a:spLocks/>
          </p:cNvSpPr>
          <p:nvPr/>
        </p:nvSpPr>
        <p:spPr>
          <a:xfrm>
            <a:off x="586740" y="519787"/>
            <a:ext cx="11018520" cy="553998"/>
          </a:xfrm>
          <a:prstGeom prst="rect">
            <a:avLst/>
          </a:prstGeom>
        </p:spPr>
        <p:txBody>
          <a:bodyPr vert="horz" wrap="square" lIns="0" tIns="0" rIns="0" bIns="0" rtlCol="0" anchor="t">
            <a:normAutofit fontScale="90000" lnSpcReduction="10000"/>
          </a:bodyPr>
          <a:lstStyle>
            <a:lvl1pPr algn="l" defTabSz="932742" rtl="0" eaLnBrk="1" latinLnBrk="0" hangingPunct="1">
              <a:lnSpc>
                <a:spcPct val="100000"/>
              </a:lnSpc>
              <a:spcBef>
                <a:spcPct val="0"/>
              </a:spcBef>
              <a:buNone/>
              <a:defRPr lang="en-US" sz="4400" b="1" i="0" kern="1200" cap="none" spc="-50" baseline="0">
                <a:ln w="3175">
                  <a:noFill/>
                </a:ln>
                <a:solidFill>
                  <a:schemeClr val="tx1"/>
                </a:solidFill>
                <a:effectLst/>
                <a:latin typeface="Segoe Semibold" charset="0"/>
                <a:ea typeface="Segoe Semibold" charset="0"/>
                <a:cs typeface="Segoe Semibold" charset="0"/>
              </a:defRPr>
            </a:lvl1pPr>
          </a:lstStyle>
          <a:p>
            <a:r>
              <a:rPr lang="en-US">
                <a:solidFill>
                  <a:sysClr val="windowText" lastClr="000000"/>
                </a:solidFill>
              </a:rPr>
              <a:t>Azure Service Fabric Offerings</a:t>
            </a:r>
          </a:p>
        </p:txBody>
      </p:sp>
      <p:sp>
        <p:nvSpPr>
          <p:cNvPr id="69" name="Rectangle 68">
            <a:extLst>
              <a:ext uri="{FF2B5EF4-FFF2-40B4-BE49-F238E27FC236}">
                <a16:creationId xmlns:a16="http://schemas.microsoft.com/office/drawing/2014/main" id="{7105BF56-B281-4A8F-93C5-BD6A1F6FF1EF}"/>
              </a:ext>
            </a:extLst>
          </p:cNvPr>
          <p:cNvSpPr/>
          <p:nvPr/>
        </p:nvSpPr>
        <p:spPr>
          <a:xfrm>
            <a:off x="970326" y="4182398"/>
            <a:ext cx="2995070" cy="338554"/>
          </a:xfrm>
          <a:prstGeom prst="rect">
            <a:avLst/>
          </a:prstGeom>
        </p:spPr>
        <p:txBody>
          <a:bodyPr wrap="square">
            <a:spAutoFit/>
          </a:bodyPr>
          <a:lstStyle/>
          <a:p>
            <a:pPr algn="ctr" defTabSz="932574">
              <a:spcBef>
                <a:spcPts val="300"/>
              </a:spcBef>
              <a:spcAft>
                <a:spcPts val="2400"/>
              </a:spcAft>
            </a:pPr>
            <a:r>
              <a:rPr lang="en-US" sz="1600">
                <a:solidFill>
                  <a:schemeClr val="tx1">
                    <a:lumMod val="65000"/>
                    <a:lumOff val="35000"/>
                  </a:schemeClr>
                </a:solidFill>
                <a:latin typeface="Segoe UI" panose="020B0502040204020203" pitchFamily="34" charset="0"/>
                <a:cs typeface="Segoe UI" panose="020B0502040204020203" pitchFamily="34" charset="0"/>
              </a:rPr>
              <a:t>Bring your own infrastructure</a:t>
            </a:r>
          </a:p>
        </p:txBody>
      </p:sp>
      <p:sp>
        <p:nvSpPr>
          <p:cNvPr id="68" name="Rectangle 67">
            <a:extLst>
              <a:ext uri="{FF2B5EF4-FFF2-40B4-BE49-F238E27FC236}">
                <a16:creationId xmlns:a16="http://schemas.microsoft.com/office/drawing/2014/main" id="{D5365796-8823-43B6-B455-0077A1DE1E7E}"/>
              </a:ext>
            </a:extLst>
          </p:cNvPr>
          <p:cNvSpPr/>
          <p:nvPr/>
        </p:nvSpPr>
        <p:spPr>
          <a:xfrm>
            <a:off x="970326" y="3459954"/>
            <a:ext cx="2997503" cy="707886"/>
          </a:xfrm>
          <a:prstGeom prst="rect">
            <a:avLst/>
          </a:prstGeom>
        </p:spPr>
        <p:txBody>
          <a:bodyPr wrap="square">
            <a:spAutoFit/>
          </a:bodyPr>
          <a:lstStyle/>
          <a:p>
            <a:pPr algn="ctr"/>
            <a:r>
              <a:rPr lang="en-US" sz="2000" b="1">
                <a:solidFill>
                  <a:srgbClr val="0078D7"/>
                </a:solidFill>
                <a:latin typeface="Segoe UI Semibold" panose="020B0702040204020203" pitchFamily="34" charset="0"/>
                <a:cs typeface="Segoe UI Semibold" panose="020B0702040204020203" pitchFamily="34" charset="0"/>
              </a:rPr>
              <a:t>Service Fabric Standalone</a:t>
            </a:r>
            <a:endParaRPr lang="en-US" sz="2000">
              <a:solidFill>
                <a:srgbClr val="0078D7"/>
              </a:solidFill>
            </a:endParaRPr>
          </a:p>
        </p:txBody>
      </p:sp>
      <p:sp>
        <p:nvSpPr>
          <p:cNvPr id="73" name="Oval 72">
            <a:extLst>
              <a:ext uri="{FF2B5EF4-FFF2-40B4-BE49-F238E27FC236}">
                <a16:creationId xmlns:a16="http://schemas.microsoft.com/office/drawing/2014/main" id="{F01E30B2-DAA7-4216-859A-B6B82D0249E2}"/>
              </a:ext>
            </a:extLst>
          </p:cNvPr>
          <p:cNvSpPr/>
          <p:nvPr/>
        </p:nvSpPr>
        <p:spPr>
          <a:xfrm>
            <a:off x="2132098" y="2308054"/>
            <a:ext cx="680730" cy="659051"/>
          </a:xfrm>
          <a:prstGeom prst="ellipse">
            <a:avLst/>
          </a:prstGeom>
          <a:solidFill>
            <a:srgbClr val="E8E8E8"/>
          </a:solid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3CC53034-19AD-45E2-B704-83FEED5E7DF0}"/>
              </a:ext>
            </a:extLst>
          </p:cNvPr>
          <p:cNvSpPr/>
          <p:nvPr/>
        </p:nvSpPr>
        <p:spPr>
          <a:xfrm>
            <a:off x="2422972" y="2771463"/>
            <a:ext cx="680730" cy="659051"/>
          </a:xfrm>
          <a:prstGeom prst="ellipse">
            <a:avLst/>
          </a:prstGeom>
          <a:solidFill>
            <a:srgbClr val="E8E8E8"/>
          </a:solid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F3E783A3-A2A5-4C76-89E8-DC4D7AE9ECCD}"/>
              </a:ext>
            </a:extLst>
          </p:cNvPr>
          <p:cNvSpPr/>
          <p:nvPr/>
        </p:nvSpPr>
        <p:spPr>
          <a:xfrm>
            <a:off x="1841224" y="2771463"/>
            <a:ext cx="680730" cy="659051"/>
          </a:xfrm>
          <a:prstGeom prst="ellipse">
            <a:avLst/>
          </a:prstGeom>
          <a:solidFill>
            <a:srgbClr val="E8E8E8"/>
          </a:solid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6" name="Freeform 127">
            <a:extLst>
              <a:ext uri="{FF2B5EF4-FFF2-40B4-BE49-F238E27FC236}">
                <a16:creationId xmlns:a16="http://schemas.microsoft.com/office/drawing/2014/main" id="{8913A829-2066-4B24-A54A-FC24D4D62CB2}"/>
              </a:ext>
            </a:extLst>
          </p:cNvPr>
          <p:cNvSpPr>
            <a:spLocks noChangeAspect="1"/>
          </p:cNvSpPr>
          <p:nvPr/>
        </p:nvSpPr>
        <p:spPr bwMode="black">
          <a:xfrm>
            <a:off x="2293120" y="2474428"/>
            <a:ext cx="358686" cy="273295"/>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rgbClr val="0078D7"/>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FB87362B-0006-4D95-B45C-4C76ABB0E7C3}"/>
              </a:ext>
            </a:extLst>
          </p:cNvPr>
          <p:cNvGrpSpPr/>
          <p:nvPr/>
        </p:nvGrpSpPr>
        <p:grpSpPr>
          <a:xfrm>
            <a:off x="1942360" y="2997938"/>
            <a:ext cx="478457" cy="206101"/>
            <a:chOff x="7138851" y="5154348"/>
            <a:chExt cx="546890" cy="243328"/>
          </a:xfrm>
        </p:grpSpPr>
        <p:sp>
          <p:nvSpPr>
            <p:cNvPr id="82" name="Freeform 5">
              <a:extLst>
                <a:ext uri="{FF2B5EF4-FFF2-40B4-BE49-F238E27FC236}">
                  <a16:creationId xmlns:a16="http://schemas.microsoft.com/office/drawing/2014/main" id="{297A5316-D61C-4A5F-8155-8372DBE47E8E}"/>
                </a:ext>
              </a:extLst>
            </p:cNvPr>
            <p:cNvSpPr>
              <a:spLocks noChangeAspect="1"/>
            </p:cNvSpPr>
            <p:nvPr/>
          </p:nvSpPr>
          <p:spPr bwMode="black">
            <a:xfrm>
              <a:off x="7404804" y="5168777"/>
              <a:ext cx="280937" cy="16614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78D7"/>
            </a:solidFill>
            <a:ln w="38100">
              <a:noFill/>
            </a:ln>
          </p:spPr>
          <p:txBody>
            <a:bodyPr vert="horz" wrap="square" lIns="68574" tIns="34287" rIns="68574" bIns="34287" numCol="1" anchor="t" anchorCtr="0" compatLnSpc="1">
              <a:prstTxWarp prst="textNoShape">
                <a:avLst/>
              </a:prstTxWarp>
            </a:bodyPr>
            <a:lstStyle/>
            <a:p>
              <a:endParaRPr lang="en-US" sz="1350"/>
            </a:p>
          </p:txBody>
        </p:sp>
        <p:sp>
          <p:nvSpPr>
            <p:cNvPr id="77" name="Freeform 5">
              <a:extLst>
                <a:ext uri="{FF2B5EF4-FFF2-40B4-BE49-F238E27FC236}">
                  <a16:creationId xmlns:a16="http://schemas.microsoft.com/office/drawing/2014/main" id="{ADDDDFB8-ECB5-4608-876B-3C91CF221AA8}"/>
                </a:ext>
              </a:extLst>
            </p:cNvPr>
            <p:cNvSpPr>
              <a:spLocks noChangeAspect="1"/>
            </p:cNvSpPr>
            <p:nvPr/>
          </p:nvSpPr>
          <p:spPr bwMode="black">
            <a:xfrm>
              <a:off x="7138851" y="5154348"/>
              <a:ext cx="411445" cy="243328"/>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78D7"/>
            </a:solidFill>
            <a:ln w="19050">
              <a:solidFill>
                <a:srgbClr val="E9E9E9"/>
              </a:solidFill>
            </a:ln>
          </p:spPr>
          <p:txBody>
            <a:bodyPr vert="horz" wrap="square" lIns="68574" tIns="34287" rIns="68574" bIns="34287" numCol="1" anchor="t" anchorCtr="0" compatLnSpc="1">
              <a:prstTxWarp prst="textNoShape">
                <a:avLst/>
              </a:prstTxWarp>
            </a:bodyPr>
            <a:lstStyle/>
            <a:p>
              <a:endParaRPr lang="en-US" sz="1350"/>
            </a:p>
          </p:txBody>
        </p:sp>
      </p:grpSp>
      <p:grpSp>
        <p:nvGrpSpPr>
          <p:cNvPr id="15" name="Group 14">
            <a:extLst>
              <a:ext uri="{FF2B5EF4-FFF2-40B4-BE49-F238E27FC236}">
                <a16:creationId xmlns:a16="http://schemas.microsoft.com/office/drawing/2014/main" id="{ACAE75B8-5DE2-4419-840A-93F5D03E322D}"/>
              </a:ext>
            </a:extLst>
          </p:cNvPr>
          <p:cNvGrpSpPr/>
          <p:nvPr/>
        </p:nvGrpSpPr>
        <p:grpSpPr>
          <a:xfrm>
            <a:off x="2627007" y="2931946"/>
            <a:ext cx="272658" cy="338085"/>
            <a:chOff x="10889683" y="4895108"/>
            <a:chExt cx="263975" cy="338085"/>
          </a:xfrm>
        </p:grpSpPr>
        <p:sp>
          <p:nvSpPr>
            <p:cNvPr id="83" name="Freeform 130">
              <a:extLst>
                <a:ext uri="{FF2B5EF4-FFF2-40B4-BE49-F238E27FC236}">
                  <a16:creationId xmlns:a16="http://schemas.microsoft.com/office/drawing/2014/main" id="{174B496D-0284-42B3-9044-E12B49ECDCEC}"/>
                </a:ext>
              </a:extLst>
            </p:cNvPr>
            <p:cNvSpPr>
              <a:spLocks/>
            </p:cNvSpPr>
            <p:nvPr/>
          </p:nvSpPr>
          <p:spPr bwMode="auto">
            <a:xfrm>
              <a:off x="10889683" y="4895108"/>
              <a:ext cx="192687" cy="338085"/>
            </a:xfrm>
            <a:custGeom>
              <a:avLst/>
              <a:gdLst>
                <a:gd name="T0" fmla="*/ 161 w 273"/>
                <a:gd name="T1" fmla="*/ 479 h 479"/>
                <a:gd name="T2" fmla="*/ 0 w 273"/>
                <a:gd name="T3" fmla="*/ 479 h 479"/>
                <a:gd name="T4" fmla="*/ 0 w 273"/>
                <a:gd name="T5" fmla="*/ 0 h 479"/>
                <a:gd name="T6" fmla="*/ 273 w 273"/>
                <a:gd name="T7" fmla="*/ 0 h 479"/>
                <a:gd name="T8" fmla="*/ 273 w 273"/>
                <a:gd name="T9" fmla="*/ 185 h 479"/>
              </a:gdLst>
              <a:ahLst/>
              <a:cxnLst>
                <a:cxn ang="0">
                  <a:pos x="T0" y="T1"/>
                </a:cxn>
                <a:cxn ang="0">
                  <a:pos x="T2" y="T3"/>
                </a:cxn>
                <a:cxn ang="0">
                  <a:pos x="T4" y="T5"/>
                </a:cxn>
                <a:cxn ang="0">
                  <a:pos x="T6" y="T7"/>
                </a:cxn>
                <a:cxn ang="0">
                  <a:pos x="T8" y="T9"/>
                </a:cxn>
              </a:cxnLst>
              <a:rect l="0" t="0" r="r" b="b"/>
              <a:pathLst>
                <a:path w="273" h="479">
                  <a:moveTo>
                    <a:pt x="161" y="479"/>
                  </a:moveTo>
                  <a:lnTo>
                    <a:pt x="0" y="479"/>
                  </a:lnTo>
                  <a:lnTo>
                    <a:pt x="0" y="0"/>
                  </a:lnTo>
                  <a:lnTo>
                    <a:pt x="273" y="0"/>
                  </a:lnTo>
                  <a:lnTo>
                    <a:pt x="273" y="185"/>
                  </a:lnTo>
                </a:path>
              </a:pathLst>
            </a:custGeom>
            <a:solidFill>
              <a:srgbClr val="0078D7"/>
            </a:solidFill>
            <a:ln w="19050" cap="rnd">
              <a:solidFill>
                <a:srgbClr val="E9E9E9"/>
              </a:solidFill>
              <a:prstDash val="solid"/>
              <a:round/>
              <a:headEnd/>
              <a:tailEnd/>
            </a:ln>
            <a:extLst/>
          </p:spPr>
          <p:txBody>
            <a:bodyPr vert="horz" wrap="square" lIns="89642" tIns="44821" rIns="89642" bIns="44821" numCol="1" anchor="t" anchorCtr="0" compatLnSpc="1">
              <a:prstTxWarp prst="textNoShape">
                <a:avLst/>
              </a:prstTxWarp>
            </a:bodyPr>
            <a:lstStyle/>
            <a:p>
              <a:endParaRPr lang="en-US" sz="1765"/>
            </a:p>
          </p:txBody>
        </p:sp>
        <p:sp>
          <p:nvSpPr>
            <p:cNvPr id="84" name="Rectangle 134">
              <a:extLst>
                <a:ext uri="{FF2B5EF4-FFF2-40B4-BE49-F238E27FC236}">
                  <a16:creationId xmlns:a16="http://schemas.microsoft.com/office/drawing/2014/main" id="{FD972476-8F67-42EF-93E3-97859F149EED}"/>
                </a:ext>
              </a:extLst>
            </p:cNvPr>
            <p:cNvSpPr>
              <a:spLocks noChangeArrowheads="1"/>
            </p:cNvSpPr>
            <p:nvPr/>
          </p:nvSpPr>
          <p:spPr bwMode="auto">
            <a:xfrm>
              <a:off x="11003320" y="5025684"/>
              <a:ext cx="150338" cy="207509"/>
            </a:xfrm>
            <a:prstGeom prst="rect">
              <a:avLst/>
            </a:prstGeom>
            <a:solidFill>
              <a:srgbClr val="0078D7"/>
            </a:solidFill>
            <a:ln w="19050" cap="rnd">
              <a:solidFill>
                <a:srgbClr val="E9E9E9"/>
              </a:solidFill>
              <a:prstDash val="solid"/>
              <a:round/>
              <a:headEnd/>
              <a:tailEnd/>
            </a:ln>
            <a:extLst/>
          </p:spPr>
          <p:txBody>
            <a:bodyPr vert="horz" wrap="square" lIns="89642" tIns="44821" rIns="89642" bIns="44821" numCol="1" anchor="t" anchorCtr="0" compatLnSpc="1">
              <a:prstTxWarp prst="textNoShape">
                <a:avLst/>
              </a:prstTxWarp>
            </a:bodyPr>
            <a:lstStyle/>
            <a:p>
              <a:endParaRPr lang="en-US" sz="1765"/>
            </a:p>
          </p:txBody>
        </p:sp>
      </p:grpSp>
      <p:sp>
        <p:nvSpPr>
          <p:cNvPr id="85" name="Rectangle 84">
            <a:extLst>
              <a:ext uri="{FF2B5EF4-FFF2-40B4-BE49-F238E27FC236}">
                <a16:creationId xmlns:a16="http://schemas.microsoft.com/office/drawing/2014/main" id="{B833CED0-8A27-4269-B038-0207000B2256}"/>
              </a:ext>
            </a:extLst>
          </p:cNvPr>
          <p:cNvSpPr/>
          <p:nvPr/>
        </p:nvSpPr>
        <p:spPr>
          <a:xfrm>
            <a:off x="3473553" y="2962489"/>
            <a:ext cx="1161211" cy="276999"/>
          </a:xfrm>
          <a:prstGeom prst="rect">
            <a:avLst/>
          </a:prstGeom>
        </p:spPr>
        <p:txBody>
          <a:bodyPr wrap="square">
            <a:spAutoFit/>
          </a:bodyPr>
          <a:lstStyle/>
          <a:p>
            <a:pPr defTabSz="932574">
              <a:spcBef>
                <a:spcPts val="300"/>
              </a:spcBef>
              <a:spcAft>
                <a:spcPts val="2400"/>
              </a:spcAft>
            </a:pPr>
            <a:r>
              <a:rPr lang="en-US" sz="1200">
                <a:solidFill>
                  <a:srgbClr val="0078D7"/>
                </a:solidFill>
                <a:cs typeface="Segoe UI Light" panose="020B0502040204020203" pitchFamily="34" charset="0"/>
              </a:rPr>
              <a:t>On-premises</a:t>
            </a:r>
          </a:p>
        </p:txBody>
      </p:sp>
      <p:cxnSp>
        <p:nvCxnSpPr>
          <p:cNvPr id="86" name="Straight Connector 85">
            <a:extLst>
              <a:ext uri="{FF2B5EF4-FFF2-40B4-BE49-F238E27FC236}">
                <a16:creationId xmlns:a16="http://schemas.microsoft.com/office/drawing/2014/main" id="{576D41AA-10E7-4DA3-8E03-F642FAFDC50D}"/>
              </a:ext>
            </a:extLst>
          </p:cNvPr>
          <p:cNvCxnSpPr>
            <a:cxnSpLocks/>
          </p:cNvCxnSpPr>
          <p:nvPr/>
        </p:nvCxnSpPr>
        <p:spPr>
          <a:xfrm flipV="1">
            <a:off x="1498839" y="3095997"/>
            <a:ext cx="348778" cy="6557"/>
          </a:xfrm>
          <a:prstGeom prst="line">
            <a:avLst/>
          </a:prstGeom>
          <a:ln w="12700">
            <a:solidFill>
              <a:srgbClr val="0078D7"/>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9C27F189-0886-4B79-BC46-093FA5F22BFF}"/>
              </a:ext>
            </a:extLst>
          </p:cNvPr>
          <p:cNvSpPr/>
          <p:nvPr/>
        </p:nvSpPr>
        <p:spPr>
          <a:xfrm>
            <a:off x="334544" y="2962489"/>
            <a:ext cx="1161211" cy="276999"/>
          </a:xfrm>
          <a:prstGeom prst="rect">
            <a:avLst/>
          </a:prstGeom>
        </p:spPr>
        <p:txBody>
          <a:bodyPr wrap="square">
            <a:spAutoFit/>
          </a:bodyPr>
          <a:lstStyle/>
          <a:p>
            <a:pPr algn="r" defTabSz="932574">
              <a:spcBef>
                <a:spcPts val="300"/>
              </a:spcBef>
              <a:spcAft>
                <a:spcPts val="2400"/>
              </a:spcAft>
            </a:pPr>
            <a:r>
              <a:rPr lang="en-US" sz="1200">
                <a:solidFill>
                  <a:srgbClr val="0078D7"/>
                </a:solidFill>
                <a:cs typeface="Segoe UI Light" panose="020B0502040204020203" pitchFamily="34" charset="0"/>
              </a:rPr>
              <a:t>Any cloud</a:t>
            </a:r>
          </a:p>
        </p:txBody>
      </p:sp>
      <p:cxnSp>
        <p:nvCxnSpPr>
          <p:cNvPr id="88" name="Straight Connector 87">
            <a:extLst>
              <a:ext uri="{FF2B5EF4-FFF2-40B4-BE49-F238E27FC236}">
                <a16:creationId xmlns:a16="http://schemas.microsoft.com/office/drawing/2014/main" id="{3BC78C78-7096-441D-8E37-1CD112FAD04A}"/>
              </a:ext>
            </a:extLst>
          </p:cNvPr>
          <p:cNvCxnSpPr>
            <a:cxnSpLocks/>
          </p:cNvCxnSpPr>
          <p:nvPr/>
        </p:nvCxnSpPr>
        <p:spPr>
          <a:xfrm flipV="1">
            <a:off x="3106922" y="3097710"/>
            <a:ext cx="348778" cy="6557"/>
          </a:xfrm>
          <a:prstGeom prst="line">
            <a:avLst/>
          </a:prstGeom>
          <a:ln w="127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AAEE61EE-75BB-453E-9E8D-3B61BC01B693}"/>
              </a:ext>
            </a:extLst>
          </p:cNvPr>
          <p:cNvCxnSpPr>
            <a:cxnSpLocks/>
          </p:cNvCxnSpPr>
          <p:nvPr/>
        </p:nvCxnSpPr>
        <p:spPr>
          <a:xfrm rot="5400000" flipV="1">
            <a:off x="2303628" y="2126425"/>
            <a:ext cx="337671" cy="6773"/>
          </a:xfrm>
          <a:prstGeom prst="line">
            <a:avLst/>
          </a:prstGeom>
          <a:ln w="12700">
            <a:solidFill>
              <a:srgbClr val="0078D7"/>
            </a:solidFill>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64A82B92-59FF-4FC7-94A0-EA86808E5FE9}"/>
              </a:ext>
            </a:extLst>
          </p:cNvPr>
          <p:cNvSpPr/>
          <p:nvPr/>
        </p:nvSpPr>
        <p:spPr>
          <a:xfrm>
            <a:off x="1890163" y="1644676"/>
            <a:ext cx="1161211" cy="276999"/>
          </a:xfrm>
          <a:prstGeom prst="rect">
            <a:avLst/>
          </a:prstGeom>
        </p:spPr>
        <p:txBody>
          <a:bodyPr wrap="square">
            <a:spAutoFit/>
          </a:bodyPr>
          <a:lstStyle/>
          <a:p>
            <a:pPr algn="ctr" defTabSz="932574">
              <a:spcBef>
                <a:spcPts val="300"/>
              </a:spcBef>
              <a:spcAft>
                <a:spcPts val="2400"/>
              </a:spcAft>
            </a:pPr>
            <a:r>
              <a:rPr lang="en-US" sz="1200">
                <a:solidFill>
                  <a:srgbClr val="0078D7"/>
                </a:solidFill>
                <a:cs typeface="Segoe UI Light" panose="020B0502040204020203" pitchFamily="34" charset="0"/>
              </a:rPr>
              <a:t>Dev machine</a:t>
            </a:r>
          </a:p>
        </p:txBody>
      </p:sp>
      <p:grpSp>
        <p:nvGrpSpPr>
          <p:cNvPr id="9" name="Group 8">
            <a:extLst>
              <a:ext uri="{FF2B5EF4-FFF2-40B4-BE49-F238E27FC236}">
                <a16:creationId xmlns:a16="http://schemas.microsoft.com/office/drawing/2014/main" id="{E2362C96-8C5E-4B87-981B-129227BC5211}"/>
              </a:ext>
            </a:extLst>
          </p:cNvPr>
          <p:cNvGrpSpPr/>
          <p:nvPr/>
        </p:nvGrpSpPr>
        <p:grpSpPr>
          <a:xfrm>
            <a:off x="4634764" y="2287129"/>
            <a:ext cx="2699600" cy="2279158"/>
            <a:chOff x="6547483" y="2683634"/>
            <a:chExt cx="2699600" cy="2279158"/>
          </a:xfrm>
        </p:grpSpPr>
        <p:sp>
          <p:nvSpPr>
            <p:cNvPr id="64" name="Rectangle 63">
              <a:extLst>
                <a:ext uri="{FF2B5EF4-FFF2-40B4-BE49-F238E27FC236}">
                  <a16:creationId xmlns:a16="http://schemas.microsoft.com/office/drawing/2014/main" id="{671F70B2-2878-40DE-965F-C6B4AA2E9006}"/>
                </a:ext>
              </a:extLst>
            </p:cNvPr>
            <p:cNvSpPr/>
            <p:nvPr/>
          </p:nvSpPr>
          <p:spPr>
            <a:xfrm>
              <a:off x="6644676" y="4624238"/>
              <a:ext cx="2505214" cy="338554"/>
            </a:xfrm>
            <a:prstGeom prst="rect">
              <a:avLst/>
            </a:prstGeom>
          </p:spPr>
          <p:txBody>
            <a:bodyPr wrap="square">
              <a:spAutoFit/>
            </a:bodyPr>
            <a:lstStyle/>
            <a:p>
              <a:pPr algn="ctr" defTabSz="932574">
                <a:spcBef>
                  <a:spcPts val="300"/>
                </a:spcBef>
                <a:spcAft>
                  <a:spcPts val="2400"/>
                </a:spcAft>
              </a:pPr>
              <a:r>
                <a:rPr lang="en-US" sz="1600">
                  <a:solidFill>
                    <a:schemeClr val="tx1">
                      <a:lumMod val="65000"/>
                      <a:lumOff val="35000"/>
                    </a:schemeClr>
                  </a:solidFill>
                  <a:latin typeface="Segoe UI" panose="020B0502040204020203" pitchFamily="34" charset="0"/>
                  <a:cs typeface="Segoe UI" panose="020B0502040204020203" pitchFamily="34" charset="0"/>
                </a:rPr>
                <a:t>Dedicated Azure clusters</a:t>
              </a:r>
            </a:p>
          </p:txBody>
        </p:sp>
        <p:sp>
          <p:nvSpPr>
            <p:cNvPr id="70" name="Rectangle 69">
              <a:extLst>
                <a:ext uri="{FF2B5EF4-FFF2-40B4-BE49-F238E27FC236}">
                  <a16:creationId xmlns:a16="http://schemas.microsoft.com/office/drawing/2014/main" id="{456EE2C9-B4B2-44C6-AB23-AACC4CC05E09}"/>
                </a:ext>
              </a:extLst>
            </p:cNvPr>
            <p:cNvSpPr/>
            <p:nvPr/>
          </p:nvSpPr>
          <p:spPr>
            <a:xfrm>
              <a:off x="6547483" y="3901794"/>
              <a:ext cx="2699600" cy="1015663"/>
            </a:xfrm>
            <a:prstGeom prst="rect">
              <a:avLst/>
            </a:prstGeom>
          </p:spPr>
          <p:txBody>
            <a:bodyPr wrap="square">
              <a:spAutoFit/>
            </a:bodyPr>
            <a:lstStyle/>
            <a:p>
              <a:pPr algn="ctr"/>
              <a:r>
                <a:rPr lang="en-US" sz="2000" b="1">
                  <a:solidFill>
                    <a:srgbClr val="0078D7"/>
                  </a:solidFill>
                  <a:latin typeface="Segoe UI Semibold" panose="020B0702040204020203" pitchFamily="34" charset="0"/>
                  <a:cs typeface="Segoe UI Semibold" panose="020B0702040204020203" pitchFamily="34" charset="0"/>
                </a:rPr>
                <a:t>Azure </a:t>
              </a:r>
            </a:p>
            <a:p>
              <a:pPr algn="ctr"/>
              <a:r>
                <a:rPr lang="en-US" sz="2000" b="1">
                  <a:solidFill>
                    <a:srgbClr val="0078D7"/>
                  </a:solidFill>
                  <a:latin typeface="Segoe UI Semibold" panose="020B0702040204020203" pitchFamily="34" charset="0"/>
                  <a:cs typeface="Segoe UI Semibold" panose="020B0702040204020203" pitchFamily="34" charset="0"/>
                </a:rPr>
                <a:t>Service Fabric </a:t>
              </a:r>
            </a:p>
            <a:p>
              <a:pPr algn="ctr"/>
              <a:endParaRPr lang="en-US" sz="2000">
                <a:solidFill>
                  <a:srgbClr val="0078D7"/>
                </a:solidFill>
              </a:endParaRPr>
            </a:p>
          </p:txBody>
        </p:sp>
        <p:sp>
          <p:nvSpPr>
            <p:cNvPr id="53" name="Oval 52">
              <a:extLst>
                <a:ext uri="{FF2B5EF4-FFF2-40B4-BE49-F238E27FC236}">
                  <a16:creationId xmlns:a16="http://schemas.microsoft.com/office/drawing/2014/main" id="{E7C2EB2D-916C-47E0-AA7B-5FD07E8226B8}"/>
                </a:ext>
              </a:extLst>
            </p:cNvPr>
            <p:cNvSpPr/>
            <p:nvPr/>
          </p:nvSpPr>
          <p:spPr>
            <a:xfrm>
              <a:off x="7302923" y="2683634"/>
              <a:ext cx="1188720" cy="1188720"/>
            </a:xfrm>
            <a:prstGeom prst="ellipse">
              <a:avLst/>
            </a:prstGeom>
            <a:solidFill>
              <a:srgbClr val="E8E8E8"/>
            </a:solid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4" name="Group 3">
            <a:extLst>
              <a:ext uri="{FF2B5EF4-FFF2-40B4-BE49-F238E27FC236}">
                <a16:creationId xmlns:a16="http://schemas.microsoft.com/office/drawing/2014/main" id="{8737E089-AFC7-4191-BF52-257F3CA5B862}"/>
              </a:ext>
            </a:extLst>
          </p:cNvPr>
          <p:cNvGrpSpPr/>
          <p:nvPr/>
        </p:nvGrpSpPr>
        <p:grpSpPr>
          <a:xfrm>
            <a:off x="8224173" y="2239170"/>
            <a:ext cx="2553904" cy="2264600"/>
            <a:chOff x="8248483" y="2192358"/>
            <a:chExt cx="2553904" cy="2264600"/>
          </a:xfrm>
        </p:grpSpPr>
        <p:sp>
          <p:nvSpPr>
            <p:cNvPr id="30" name="Oval 29">
              <a:extLst>
                <a:ext uri="{FF2B5EF4-FFF2-40B4-BE49-F238E27FC236}">
                  <a16:creationId xmlns:a16="http://schemas.microsoft.com/office/drawing/2014/main" id="{59B65DC5-8BC3-468A-AC10-B582AA7684B8}"/>
                </a:ext>
              </a:extLst>
            </p:cNvPr>
            <p:cNvSpPr/>
            <p:nvPr/>
          </p:nvSpPr>
          <p:spPr>
            <a:xfrm>
              <a:off x="8931072" y="2192358"/>
              <a:ext cx="1188720" cy="1188720"/>
            </a:xfrm>
            <a:prstGeom prst="ellipse">
              <a:avLst/>
            </a:prstGeom>
            <a:solidFill>
              <a:srgbClr val="E8E8E8"/>
            </a:solid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78D7"/>
                </a:solidFill>
              </a:endParaRPr>
            </a:p>
          </p:txBody>
        </p:sp>
        <p:sp>
          <p:nvSpPr>
            <p:cNvPr id="31" name="Rectangle 30">
              <a:extLst>
                <a:ext uri="{FF2B5EF4-FFF2-40B4-BE49-F238E27FC236}">
                  <a16:creationId xmlns:a16="http://schemas.microsoft.com/office/drawing/2014/main" id="{6EB69EE6-BEE3-4C85-A200-1B2DA10459AD}"/>
                </a:ext>
              </a:extLst>
            </p:cNvPr>
            <p:cNvSpPr/>
            <p:nvPr/>
          </p:nvSpPr>
          <p:spPr>
            <a:xfrm>
              <a:off x="8248483" y="3410518"/>
              <a:ext cx="2553904" cy="707886"/>
            </a:xfrm>
            <a:prstGeom prst="rect">
              <a:avLst/>
            </a:prstGeom>
          </p:spPr>
          <p:txBody>
            <a:bodyPr wrap="none">
              <a:spAutoFit/>
            </a:bodyPr>
            <a:lstStyle/>
            <a:p>
              <a:pPr algn="ctr"/>
              <a:r>
                <a:rPr lang="en-US" sz="2000" b="1">
                  <a:solidFill>
                    <a:srgbClr val="0078D7"/>
                  </a:solidFill>
                  <a:latin typeface="Segoe UI Semibold" panose="020B0702040204020203" pitchFamily="34" charset="0"/>
                  <a:cs typeface="Segoe UI Semibold" panose="020B0702040204020203" pitchFamily="34" charset="0"/>
                </a:rPr>
                <a:t>Azure </a:t>
              </a:r>
            </a:p>
            <a:p>
              <a:pPr algn="ctr"/>
              <a:r>
                <a:rPr lang="en-US" sz="2000" b="1">
                  <a:solidFill>
                    <a:srgbClr val="0078D7"/>
                  </a:solidFill>
                  <a:latin typeface="Segoe UI Semibold" panose="020B0702040204020203" pitchFamily="34" charset="0"/>
                  <a:cs typeface="Segoe UI Semibold" panose="020B0702040204020203" pitchFamily="34" charset="0"/>
                </a:rPr>
                <a:t>Service Fabric Mesh</a:t>
              </a:r>
              <a:endParaRPr lang="en-US" sz="2000">
                <a:solidFill>
                  <a:srgbClr val="0078D7"/>
                </a:solidFill>
              </a:endParaRPr>
            </a:p>
          </p:txBody>
        </p:sp>
        <p:sp>
          <p:nvSpPr>
            <p:cNvPr id="32" name="Rectangle 31">
              <a:extLst>
                <a:ext uri="{FF2B5EF4-FFF2-40B4-BE49-F238E27FC236}">
                  <a16:creationId xmlns:a16="http://schemas.microsoft.com/office/drawing/2014/main" id="{620DEC15-571A-4D24-A755-4E2A9EC9C923}"/>
                </a:ext>
              </a:extLst>
            </p:cNvPr>
            <p:cNvSpPr/>
            <p:nvPr/>
          </p:nvSpPr>
          <p:spPr>
            <a:xfrm>
              <a:off x="8331831" y="4118404"/>
              <a:ext cx="2406564" cy="338554"/>
            </a:xfrm>
            <a:prstGeom prst="rect">
              <a:avLst/>
            </a:prstGeom>
          </p:spPr>
          <p:txBody>
            <a:bodyPr wrap="square">
              <a:spAutoFit/>
            </a:bodyPr>
            <a:lstStyle/>
            <a:p>
              <a:pPr algn="ctr" defTabSz="932574">
                <a:spcBef>
                  <a:spcPts val="300"/>
                </a:spcBef>
                <a:spcAft>
                  <a:spcPts val="2400"/>
                </a:spcAft>
              </a:pPr>
              <a:r>
                <a:rPr lang="en-US" sz="1600">
                  <a:solidFill>
                    <a:schemeClr val="tx1">
                      <a:lumMod val="65000"/>
                      <a:lumOff val="35000"/>
                    </a:schemeClr>
                  </a:solidFill>
                  <a:latin typeface="Segoe UI" panose="020B0502040204020203" pitchFamily="34" charset="0"/>
                  <a:cs typeface="Segoe UI" panose="020B0502040204020203" pitchFamily="34" charset="0"/>
                </a:rPr>
                <a:t>Serverless microservices</a:t>
              </a:r>
            </a:p>
          </p:txBody>
        </p:sp>
        <p:pic>
          <p:nvPicPr>
            <p:cNvPr id="40" name="Graphic 39">
              <a:extLst>
                <a:ext uri="{FF2B5EF4-FFF2-40B4-BE49-F238E27FC236}">
                  <a16:creationId xmlns:a16="http://schemas.microsoft.com/office/drawing/2014/main" id="{1A4D8D1A-D0EE-4FAC-89FB-20693CA0DC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67388" y="2340269"/>
              <a:ext cx="935450" cy="935450"/>
            </a:xfrm>
            <a:prstGeom prst="rect">
              <a:avLst/>
            </a:prstGeom>
          </p:spPr>
        </p:pic>
      </p:grpSp>
      <p:sp>
        <p:nvSpPr>
          <p:cNvPr id="42" name="Rectangle 41">
            <a:extLst>
              <a:ext uri="{FF2B5EF4-FFF2-40B4-BE49-F238E27FC236}">
                <a16:creationId xmlns:a16="http://schemas.microsoft.com/office/drawing/2014/main" id="{30FA6A21-2DA8-4DD7-9F05-EF8494ACC9C4}"/>
              </a:ext>
            </a:extLst>
          </p:cNvPr>
          <p:cNvSpPr/>
          <p:nvPr/>
        </p:nvSpPr>
        <p:spPr>
          <a:xfrm>
            <a:off x="1515721" y="5226399"/>
            <a:ext cx="1355051" cy="369332"/>
          </a:xfrm>
          <a:prstGeom prst="rect">
            <a:avLst/>
          </a:prstGeom>
        </p:spPr>
        <p:txBody>
          <a:bodyPr wrap="none">
            <a:spAutoFit/>
          </a:bodyPr>
          <a:lstStyle/>
          <a:p>
            <a:r>
              <a:rPr lang="en-US" i="1"/>
              <a:t>Full Control</a:t>
            </a:r>
          </a:p>
        </p:txBody>
      </p:sp>
      <p:sp>
        <p:nvSpPr>
          <p:cNvPr id="47" name="Rectangle 46">
            <a:extLst>
              <a:ext uri="{FF2B5EF4-FFF2-40B4-BE49-F238E27FC236}">
                <a16:creationId xmlns:a16="http://schemas.microsoft.com/office/drawing/2014/main" id="{386102B7-EB1E-4468-A71D-016DA63E54E0}"/>
              </a:ext>
            </a:extLst>
          </p:cNvPr>
          <p:cNvSpPr/>
          <p:nvPr/>
        </p:nvSpPr>
        <p:spPr>
          <a:xfrm>
            <a:off x="8733168" y="5211025"/>
            <a:ext cx="1669047" cy="369332"/>
          </a:xfrm>
          <a:prstGeom prst="rect">
            <a:avLst/>
          </a:prstGeom>
        </p:spPr>
        <p:txBody>
          <a:bodyPr wrap="none">
            <a:spAutoFit/>
          </a:bodyPr>
          <a:lstStyle/>
          <a:p>
            <a:r>
              <a:rPr lang="en-US" i="1"/>
              <a:t>Fully managed</a:t>
            </a:r>
          </a:p>
        </p:txBody>
      </p:sp>
      <p:cxnSp>
        <p:nvCxnSpPr>
          <p:cNvPr id="48" name="Straight Arrow Connector 47">
            <a:extLst>
              <a:ext uri="{FF2B5EF4-FFF2-40B4-BE49-F238E27FC236}">
                <a16:creationId xmlns:a16="http://schemas.microsoft.com/office/drawing/2014/main" id="{775F8828-63AB-4F45-938D-94171E425093}"/>
              </a:ext>
            </a:extLst>
          </p:cNvPr>
          <p:cNvCxnSpPr>
            <a:cxnSpLocks/>
            <a:stCxn id="47" idx="1"/>
            <a:endCxn id="42" idx="3"/>
          </p:cNvCxnSpPr>
          <p:nvPr/>
        </p:nvCxnSpPr>
        <p:spPr>
          <a:xfrm flipH="1">
            <a:off x="2870772" y="5395691"/>
            <a:ext cx="5862396" cy="15374"/>
          </a:xfrm>
          <a:prstGeom prst="straightConnector1">
            <a:avLst/>
          </a:prstGeom>
          <a:ln w="12700">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3" name="Graphic 42">
            <a:extLst>
              <a:ext uri="{FF2B5EF4-FFF2-40B4-BE49-F238E27FC236}">
                <a16:creationId xmlns:a16="http://schemas.microsoft.com/office/drawing/2014/main" id="{44833E13-B517-4EB4-804E-1B3A1B5B5657}"/>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r="11052"/>
          <a:stretch/>
        </p:blipFill>
        <p:spPr>
          <a:xfrm>
            <a:off x="5308853" y="2239170"/>
            <a:ext cx="1185892" cy="1030861"/>
          </a:xfrm>
          <a:prstGeom prst="rect">
            <a:avLst/>
          </a:prstGeom>
        </p:spPr>
      </p:pic>
      <p:pic>
        <p:nvPicPr>
          <p:cNvPr id="39" name="Graphic 38">
            <a:extLst>
              <a:ext uri="{FF2B5EF4-FFF2-40B4-BE49-F238E27FC236}">
                <a16:creationId xmlns:a16="http://schemas.microsoft.com/office/drawing/2014/main" id="{373A295E-EDE2-4D30-B92E-3C29152A109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5025" y="2675885"/>
            <a:ext cx="459078" cy="451716"/>
          </a:xfrm>
          <a:prstGeom prst="rect">
            <a:avLst/>
          </a:prstGeom>
        </p:spPr>
      </p:pic>
      <p:grpSp>
        <p:nvGrpSpPr>
          <p:cNvPr id="45" name="Group 44">
            <a:extLst>
              <a:ext uri="{FF2B5EF4-FFF2-40B4-BE49-F238E27FC236}">
                <a16:creationId xmlns:a16="http://schemas.microsoft.com/office/drawing/2014/main" id="{16794544-98CE-4A0B-B4EF-9B186F46206A}"/>
              </a:ext>
            </a:extLst>
          </p:cNvPr>
          <p:cNvGrpSpPr/>
          <p:nvPr/>
        </p:nvGrpSpPr>
        <p:grpSpPr>
          <a:xfrm>
            <a:off x="0" y="6057900"/>
            <a:ext cx="12192000" cy="781122"/>
            <a:chOff x="0" y="5873568"/>
            <a:chExt cx="12192000" cy="899088"/>
          </a:xfrm>
        </p:grpSpPr>
        <p:sp>
          <p:nvSpPr>
            <p:cNvPr id="46" name="Rectangle 45">
              <a:extLst>
                <a:ext uri="{FF2B5EF4-FFF2-40B4-BE49-F238E27FC236}">
                  <a16:creationId xmlns:a16="http://schemas.microsoft.com/office/drawing/2014/main" id="{91A135A7-4728-4E35-AF80-29608E43190F}"/>
                </a:ext>
              </a:extLst>
            </p:cNvPr>
            <p:cNvSpPr/>
            <p:nvPr/>
          </p:nvSpPr>
          <p:spPr bwMode="auto">
            <a:xfrm>
              <a:off x="0" y="5873568"/>
              <a:ext cx="12192000" cy="89908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8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52" name="Rectangle 51">
              <a:extLst>
                <a:ext uri="{FF2B5EF4-FFF2-40B4-BE49-F238E27FC236}">
                  <a16:creationId xmlns:a16="http://schemas.microsoft.com/office/drawing/2014/main" id="{078F3AE0-06A4-41E2-935A-1FB68B503234}"/>
                </a:ext>
              </a:extLst>
            </p:cNvPr>
            <p:cNvSpPr/>
            <p:nvPr/>
          </p:nvSpPr>
          <p:spPr>
            <a:xfrm>
              <a:off x="4629098" y="6039788"/>
              <a:ext cx="2924390" cy="552641"/>
            </a:xfrm>
            <a:prstGeom prst="rect">
              <a:avLst/>
            </a:prstGeom>
            <a:ln>
              <a:noFill/>
            </a:ln>
          </p:spPr>
          <p:txBody>
            <a:bodyPr wrap="none">
              <a:spAutoFit/>
            </a:bodyPr>
            <a:lstStyle/>
            <a:p>
              <a:pPr algn="ctr" defTabSz="914102" fontAlgn="base">
                <a:lnSpc>
                  <a:spcPct val="90000"/>
                </a:lnSpc>
                <a:spcBef>
                  <a:spcPct val="0"/>
                </a:spcBef>
                <a:spcAft>
                  <a:spcPct val="0"/>
                </a:spcAft>
              </a:pPr>
              <a:r>
                <a:rPr lang="en-US" sz="2800" b="1">
                  <a:solidFill>
                    <a:srgbClr val="DD5900"/>
                  </a:solidFill>
                  <a:latin typeface="Segoe UI Light" panose="020B0502040204020203" pitchFamily="34" charset="0"/>
                  <a:ea typeface="Segoe UI" pitchFamily="34" charset="0"/>
                  <a:cs typeface="Segoe UI Light" panose="020B0502040204020203" pitchFamily="34" charset="0"/>
                </a:rPr>
                <a:t>       Service Fabric</a:t>
              </a:r>
            </a:p>
          </p:txBody>
        </p:sp>
      </p:grpSp>
      <p:pic>
        <p:nvPicPr>
          <p:cNvPr id="54" name="Graphic 53">
            <a:extLst>
              <a:ext uri="{FF2B5EF4-FFF2-40B4-BE49-F238E27FC236}">
                <a16:creationId xmlns:a16="http://schemas.microsoft.com/office/drawing/2014/main" id="{20E3D727-FC78-4B06-8834-D63B2D6798E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11559" y="6195979"/>
            <a:ext cx="411036" cy="417136"/>
          </a:xfrm>
          <a:prstGeom prst="rect">
            <a:avLst/>
          </a:prstGeom>
        </p:spPr>
      </p:pic>
    </p:spTree>
    <p:extLst>
      <p:ext uri="{BB962C8B-B14F-4D97-AF65-F5344CB8AC3E}">
        <p14:creationId xmlns:p14="http://schemas.microsoft.com/office/powerpoint/2010/main" val="364853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7E1411E8-D81C-419C-9F7F-8FCE92534C4A}"/>
              </a:ext>
            </a:extLst>
          </p:cNvPr>
          <p:cNvSpPr/>
          <p:nvPr/>
        </p:nvSpPr>
        <p:spPr>
          <a:xfrm>
            <a:off x="1498978" y="2141898"/>
            <a:ext cx="9194043" cy="3449125"/>
          </a:xfrm>
          <a:prstGeom prst="roundRect">
            <a:avLst/>
          </a:prstGeom>
          <a:noFill/>
          <a:ln w="38100">
            <a:solidFill>
              <a:srgbClr val="0078D7"/>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8" name="Rectangle 177">
            <a:extLst>
              <a:ext uri="{FF2B5EF4-FFF2-40B4-BE49-F238E27FC236}">
                <a16:creationId xmlns:a16="http://schemas.microsoft.com/office/drawing/2014/main" id="{62EE96F3-2BBE-41B5-ADC8-939ACE0D6984}"/>
              </a:ext>
            </a:extLst>
          </p:cNvPr>
          <p:cNvSpPr/>
          <p:nvPr/>
        </p:nvSpPr>
        <p:spPr>
          <a:xfrm>
            <a:off x="2905432" y="1841514"/>
            <a:ext cx="6128543" cy="368489"/>
          </a:xfrm>
          <a:prstGeom prst="rect">
            <a:avLst/>
          </a:prstGeom>
          <a:solidFill>
            <a:srgbClr val="E6E6E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55" name="Group 154">
            <a:extLst>
              <a:ext uri="{FF2B5EF4-FFF2-40B4-BE49-F238E27FC236}">
                <a16:creationId xmlns:a16="http://schemas.microsoft.com/office/drawing/2014/main" id="{291EC632-FF0B-4B1B-B0FE-33D84DAFFB48}"/>
              </a:ext>
            </a:extLst>
          </p:cNvPr>
          <p:cNvGrpSpPr/>
          <p:nvPr/>
        </p:nvGrpSpPr>
        <p:grpSpPr>
          <a:xfrm>
            <a:off x="3240006" y="1714669"/>
            <a:ext cx="675862" cy="675862"/>
            <a:chOff x="2798573" y="1470990"/>
            <a:chExt cx="675862" cy="675862"/>
          </a:xfrm>
        </p:grpSpPr>
        <p:sp>
          <p:nvSpPr>
            <p:cNvPr id="159" name="Oval 158">
              <a:extLst>
                <a:ext uri="{FF2B5EF4-FFF2-40B4-BE49-F238E27FC236}">
                  <a16:creationId xmlns:a16="http://schemas.microsoft.com/office/drawing/2014/main" id="{901A7817-5A74-48B6-BC99-619C396979B4}"/>
                </a:ext>
              </a:extLst>
            </p:cNvPr>
            <p:cNvSpPr/>
            <p:nvPr/>
          </p:nvSpPr>
          <p:spPr>
            <a:xfrm>
              <a:off x="2798573" y="1470990"/>
              <a:ext cx="675862" cy="675862"/>
            </a:xfrm>
            <a:prstGeom prst="ellipse">
              <a:avLst/>
            </a:prstGeom>
            <a:noFill/>
            <a:ln w="12700">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160" name="Freeform 124">
              <a:extLst>
                <a:ext uri="{FF2B5EF4-FFF2-40B4-BE49-F238E27FC236}">
                  <a16:creationId xmlns:a16="http://schemas.microsoft.com/office/drawing/2014/main" id="{D2017A30-3995-4955-9961-13074F974E15}"/>
                </a:ext>
              </a:extLst>
            </p:cNvPr>
            <p:cNvSpPr>
              <a:spLocks/>
            </p:cNvSpPr>
            <p:nvPr/>
          </p:nvSpPr>
          <p:spPr bwMode="black">
            <a:xfrm>
              <a:off x="2933753" y="1697309"/>
              <a:ext cx="405502" cy="223225"/>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 name="connsiteX0" fmla="*/ 9937 w 9981"/>
                <a:gd name="connsiteY0" fmla="*/ 5537 h 9817"/>
                <a:gd name="connsiteX1" fmla="*/ 9524 w 9981"/>
                <a:gd name="connsiteY1" fmla="*/ 5114 h 9817"/>
                <a:gd name="connsiteX2" fmla="*/ 9333 w 9981"/>
                <a:gd name="connsiteY2" fmla="*/ 4986 h 9817"/>
                <a:gd name="connsiteX3" fmla="*/ 3937 w 9981"/>
                <a:gd name="connsiteY3" fmla="*/ 2275 h 9817"/>
                <a:gd name="connsiteX4" fmla="*/ 3968 w 9981"/>
                <a:gd name="connsiteY4" fmla="*/ 2190 h 9817"/>
                <a:gd name="connsiteX5" fmla="*/ 3175 w 9981"/>
                <a:gd name="connsiteY5" fmla="*/ 1470 h 9817"/>
                <a:gd name="connsiteX6" fmla="*/ 4857 w 9981"/>
                <a:gd name="connsiteY6" fmla="*/ 283 h 9817"/>
                <a:gd name="connsiteX7" fmla="*/ 3270 w 9981"/>
                <a:gd name="connsiteY7" fmla="*/ 156 h 9817"/>
                <a:gd name="connsiteX8" fmla="*/ 1937 w 9981"/>
                <a:gd name="connsiteY8" fmla="*/ 1681 h 9817"/>
                <a:gd name="connsiteX9" fmla="*/ 1714 w 9981"/>
                <a:gd name="connsiteY9" fmla="*/ 3419 h 9817"/>
                <a:gd name="connsiteX10" fmla="*/ 1175 w 9981"/>
                <a:gd name="connsiteY10" fmla="*/ 4563 h 9817"/>
                <a:gd name="connsiteX11" fmla="*/ 1778 w 9981"/>
                <a:gd name="connsiteY11" fmla="*/ 5453 h 9817"/>
                <a:gd name="connsiteX12" fmla="*/ 2000 w 9981"/>
                <a:gd name="connsiteY12" fmla="*/ 5537 h 9817"/>
                <a:gd name="connsiteX13" fmla="*/ 1111 w 9981"/>
                <a:gd name="connsiteY13" fmla="*/ 5537 h 9817"/>
                <a:gd name="connsiteX14" fmla="*/ 984 w 9981"/>
                <a:gd name="connsiteY14" fmla="*/ 5792 h 9817"/>
                <a:gd name="connsiteX15" fmla="*/ 1111 w 9981"/>
                <a:gd name="connsiteY15" fmla="*/ 6046 h 9817"/>
                <a:gd name="connsiteX16" fmla="*/ 1587 w 9981"/>
                <a:gd name="connsiteY16" fmla="*/ 6046 h 9817"/>
                <a:gd name="connsiteX17" fmla="*/ 1587 w 9981"/>
                <a:gd name="connsiteY17" fmla="*/ 7275 h 9817"/>
                <a:gd name="connsiteX18" fmla="*/ 0 w 9981"/>
                <a:gd name="connsiteY18" fmla="*/ 7275 h 9817"/>
                <a:gd name="connsiteX19" fmla="*/ 0 w 9981"/>
                <a:gd name="connsiteY19" fmla="*/ 9817 h 9817"/>
                <a:gd name="connsiteX20" fmla="*/ 7206 w 9981"/>
                <a:gd name="connsiteY20" fmla="*/ 9817 h 9817"/>
                <a:gd name="connsiteX21" fmla="*/ 1937 w 9981"/>
                <a:gd name="connsiteY21" fmla="*/ 7275 h 9817"/>
                <a:gd name="connsiteX22" fmla="*/ 1937 w 9981"/>
                <a:gd name="connsiteY22" fmla="*/ 6046 h 9817"/>
                <a:gd name="connsiteX23" fmla="*/ 2381 w 9981"/>
                <a:gd name="connsiteY23" fmla="*/ 6046 h 9817"/>
                <a:gd name="connsiteX24" fmla="*/ 2508 w 9981"/>
                <a:gd name="connsiteY24" fmla="*/ 5792 h 9817"/>
                <a:gd name="connsiteX25" fmla="*/ 2381 w 9981"/>
                <a:gd name="connsiteY25" fmla="*/ 5537 h 9817"/>
                <a:gd name="connsiteX26" fmla="*/ 2222 w 9981"/>
                <a:gd name="connsiteY26" fmla="*/ 5537 h 9817"/>
                <a:gd name="connsiteX27" fmla="*/ 2444 w 9981"/>
                <a:gd name="connsiteY27" fmla="*/ 5198 h 9817"/>
                <a:gd name="connsiteX28" fmla="*/ 2667 w 9981"/>
                <a:gd name="connsiteY28" fmla="*/ 3758 h 9817"/>
                <a:gd name="connsiteX29" fmla="*/ 3556 w 9981"/>
                <a:gd name="connsiteY29" fmla="*/ 3758 h 9817"/>
                <a:gd name="connsiteX30" fmla="*/ 3587 w 9981"/>
                <a:gd name="connsiteY30" fmla="*/ 3631 h 9817"/>
                <a:gd name="connsiteX31" fmla="*/ 8952 w 9981"/>
                <a:gd name="connsiteY31" fmla="*/ 6342 h 9817"/>
                <a:gd name="connsiteX32" fmla="*/ 9175 w 9981"/>
                <a:gd name="connsiteY32" fmla="*/ 6427 h 9817"/>
                <a:gd name="connsiteX33" fmla="*/ 9683 w 9981"/>
                <a:gd name="connsiteY33" fmla="*/ 6427 h 9817"/>
                <a:gd name="connsiteX34" fmla="*/ 9968 w 9981"/>
                <a:gd name="connsiteY34" fmla="*/ 5961 h 9817"/>
                <a:gd name="connsiteX35" fmla="*/ 9937 w 9981"/>
                <a:gd name="connsiteY35" fmla="*/ 5537 h 9817"/>
                <a:gd name="connsiteX0" fmla="*/ 9956 w 10000"/>
                <a:gd name="connsiteY0" fmla="*/ 5640 h 10000"/>
                <a:gd name="connsiteX1" fmla="*/ 9542 w 10000"/>
                <a:gd name="connsiteY1" fmla="*/ 5209 h 10000"/>
                <a:gd name="connsiteX2" fmla="*/ 9351 w 10000"/>
                <a:gd name="connsiteY2" fmla="*/ 5079 h 10000"/>
                <a:gd name="connsiteX3" fmla="*/ 3944 w 10000"/>
                <a:gd name="connsiteY3" fmla="*/ 2317 h 10000"/>
                <a:gd name="connsiteX4" fmla="*/ 3976 w 10000"/>
                <a:gd name="connsiteY4" fmla="*/ 2231 h 10000"/>
                <a:gd name="connsiteX5" fmla="*/ 3181 w 10000"/>
                <a:gd name="connsiteY5" fmla="*/ 1497 h 10000"/>
                <a:gd name="connsiteX6" fmla="*/ 4866 w 10000"/>
                <a:gd name="connsiteY6" fmla="*/ 288 h 10000"/>
                <a:gd name="connsiteX7" fmla="*/ 3276 w 10000"/>
                <a:gd name="connsiteY7" fmla="*/ 159 h 10000"/>
                <a:gd name="connsiteX8" fmla="*/ 1941 w 10000"/>
                <a:gd name="connsiteY8" fmla="*/ 1712 h 10000"/>
                <a:gd name="connsiteX9" fmla="*/ 1717 w 10000"/>
                <a:gd name="connsiteY9" fmla="*/ 3483 h 10000"/>
                <a:gd name="connsiteX10" fmla="*/ 1177 w 10000"/>
                <a:gd name="connsiteY10" fmla="*/ 4648 h 10000"/>
                <a:gd name="connsiteX11" fmla="*/ 1781 w 10000"/>
                <a:gd name="connsiteY11" fmla="*/ 5555 h 10000"/>
                <a:gd name="connsiteX12" fmla="*/ 2004 w 10000"/>
                <a:gd name="connsiteY12" fmla="*/ 5640 h 10000"/>
                <a:gd name="connsiteX13" fmla="*/ 1113 w 10000"/>
                <a:gd name="connsiteY13" fmla="*/ 5640 h 10000"/>
                <a:gd name="connsiteX14" fmla="*/ 986 w 10000"/>
                <a:gd name="connsiteY14" fmla="*/ 5900 h 10000"/>
                <a:gd name="connsiteX15" fmla="*/ 1113 w 10000"/>
                <a:gd name="connsiteY15" fmla="*/ 6159 h 10000"/>
                <a:gd name="connsiteX16" fmla="*/ 1590 w 10000"/>
                <a:gd name="connsiteY16" fmla="*/ 6159 h 10000"/>
                <a:gd name="connsiteX17" fmla="*/ 1590 w 10000"/>
                <a:gd name="connsiteY17" fmla="*/ 7411 h 10000"/>
                <a:gd name="connsiteX18" fmla="*/ 0 w 10000"/>
                <a:gd name="connsiteY18" fmla="*/ 7411 h 10000"/>
                <a:gd name="connsiteX19" fmla="*/ 0 w 10000"/>
                <a:gd name="connsiteY19" fmla="*/ 10000 h 10000"/>
                <a:gd name="connsiteX20" fmla="*/ 1941 w 10000"/>
                <a:gd name="connsiteY20" fmla="*/ 7411 h 10000"/>
                <a:gd name="connsiteX21" fmla="*/ 1941 w 10000"/>
                <a:gd name="connsiteY21" fmla="*/ 6159 h 10000"/>
                <a:gd name="connsiteX22" fmla="*/ 2386 w 10000"/>
                <a:gd name="connsiteY22" fmla="*/ 6159 h 10000"/>
                <a:gd name="connsiteX23" fmla="*/ 2513 w 10000"/>
                <a:gd name="connsiteY23" fmla="*/ 5900 h 10000"/>
                <a:gd name="connsiteX24" fmla="*/ 2386 w 10000"/>
                <a:gd name="connsiteY24" fmla="*/ 5640 h 10000"/>
                <a:gd name="connsiteX25" fmla="*/ 2226 w 10000"/>
                <a:gd name="connsiteY25" fmla="*/ 5640 h 10000"/>
                <a:gd name="connsiteX26" fmla="*/ 2449 w 10000"/>
                <a:gd name="connsiteY26" fmla="*/ 5295 h 10000"/>
                <a:gd name="connsiteX27" fmla="*/ 2672 w 10000"/>
                <a:gd name="connsiteY27" fmla="*/ 3828 h 10000"/>
                <a:gd name="connsiteX28" fmla="*/ 3563 w 10000"/>
                <a:gd name="connsiteY28" fmla="*/ 3828 h 10000"/>
                <a:gd name="connsiteX29" fmla="*/ 3594 w 10000"/>
                <a:gd name="connsiteY29" fmla="*/ 3699 h 10000"/>
                <a:gd name="connsiteX30" fmla="*/ 8969 w 10000"/>
                <a:gd name="connsiteY30" fmla="*/ 6460 h 10000"/>
                <a:gd name="connsiteX31" fmla="*/ 9192 w 10000"/>
                <a:gd name="connsiteY31" fmla="*/ 6547 h 10000"/>
                <a:gd name="connsiteX32" fmla="*/ 9701 w 10000"/>
                <a:gd name="connsiteY32" fmla="*/ 6547 h 10000"/>
                <a:gd name="connsiteX33" fmla="*/ 9987 w 10000"/>
                <a:gd name="connsiteY33" fmla="*/ 6072 h 10000"/>
                <a:gd name="connsiteX34" fmla="*/ 9956 w 10000"/>
                <a:gd name="connsiteY34" fmla="*/ 5640 h 10000"/>
                <a:gd name="connsiteX0" fmla="*/ 9956 w 10000"/>
                <a:gd name="connsiteY0" fmla="*/ 5640 h 7411"/>
                <a:gd name="connsiteX1" fmla="*/ 9542 w 10000"/>
                <a:gd name="connsiteY1" fmla="*/ 5209 h 7411"/>
                <a:gd name="connsiteX2" fmla="*/ 9351 w 10000"/>
                <a:gd name="connsiteY2" fmla="*/ 5079 h 7411"/>
                <a:gd name="connsiteX3" fmla="*/ 3944 w 10000"/>
                <a:gd name="connsiteY3" fmla="*/ 2317 h 7411"/>
                <a:gd name="connsiteX4" fmla="*/ 3976 w 10000"/>
                <a:gd name="connsiteY4" fmla="*/ 2231 h 7411"/>
                <a:gd name="connsiteX5" fmla="*/ 3181 w 10000"/>
                <a:gd name="connsiteY5" fmla="*/ 1497 h 7411"/>
                <a:gd name="connsiteX6" fmla="*/ 4866 w 10000"/>
                <a:gd name="connsiteY6" fmla="*/ 288 h 7411"/>
                <a:gd name="connsiteX7" fmla="*/ 3276 w 10000"/>
                <a:gd name="connsiteY7" fmla="*/ 159 h 7411"/>
                <a:gd name="connsiteX8" fmla="*/ 1941 w 10000"/>
                <a:gd name="connsiteY8" fmla="*/ 1712 h 7411"/>
                <a:gd name="connsiteX9" fmla="*/ 1717 w 10000"/>
                <a:gd name="connsiteY9" fmla="*/ 3483 h 7411"/>
                <a:gd name="connsiteX10" fmla="*/ 1177 w 10000"/>
                <a:gd name="connsiteY10" fmla="*/ 4648 h 7411"/>
                <a:gd name="connsiteX11" fmla="*/ 1781 w 10000"/>
                <a:gd name="connsiteY11" fmla="*/ 5555 h 7411"/>
                <a:gd name="connsiteX12" fmla="*/ 2004 w 10000"/>
                <a:gd name="connsiteY12" fmla="*/ 5640 h 7411"/>
                <a:gd name="connsiteX13" fmla="*/ 1113 w 10000"/>
                <a:gd name="connsiteY13" fmla="*/ 5640 h 7411"/>
                <a:gd name="connsiteX14" fmla="*/ 986 w 10000"/>
                <a:gd name="connsiteY14" fmla="*/ 5900 h 7411"/>
                <a:gd name="connsiteX15" fmla="*/ 1113 w 10000"/>
                <a:gd name="connsiteY15" fmla="*/ 6159 h 7411"/>
                <a:gd name="connsiteX16" fmla="*/ 1590 w 10000"/>
                <a:gd name="connsiteY16" fmla="*/ 6159 h 7411"/>
                <a:gd name="connsiteX17" fmla="*/ 1590 w 10000"/>
                <a:gd name="connsiteY17" fmla="*/ 7411 h 7411"/>
                <a:gd name="connsiteX18" fmla="*/ 0 w 10000"/>
                <a:gd name="connsiteY18" fmla="*/ 7411 h 7411"/>
                <a:gd name="connsiteX19" fmla="*/ 1941 w 10000"/>
                <a:gd name="connsiteY19" fmla="*/ 7411 h 7411"/>
                <a:gd name="connsiteX20" fmla="*/ 1941 w 10000"/>
                <a:gd name="connsiteY20" fmla="*/ 6159 h 7411"/>
                <a:gd name="connsiteX21" fmla="*/ 2386 w 10000"/>
                <a:gd name="connsiteY21" fmla="*/ 6159 h 7411"/>
                <a:gd name="connsiteX22" fmla="*/ 2513 w 10000"/>
                <a:gd name="connsiteY22" fmla="*/ 5900 h 7411"/>
                <a:gd name="connsiteX23" fmla="*/ 2386 w 10000"/>
                <a:gd name="connsiteY23" fmla="*/ 5640 h 7411"/>
                <a:gd name="connsiteX24" fmla="*/ 2226 w 10000"/>
                <a:gd name="connsiteY24" fmla="*/ 5640 h 7411"/>
                <a:gd name="connsiteX25" fmla="*/ 2449 w 10000"/>
                <a:gd name="connsiteY25" fmla="*/ 5295 h 7411"/>
                <a:gd name="connsiteX26" fmla="*/ 2672 w 10000"/>
                <a:gd name="connsiteY26" fmla="*/ 3828 h 7411"/>
                <a:gd name="connsiteX27" fmla="*/ 3563 w 10000"/>
                <a:gd name="connsiteY27" fmla="*/ 3828 h 7411"/>
                <a:gd name="connsiteX28" fmla="*/ 3594 w 10000"/>
                <a:gd name="connsiteY28" fmla="*/ 3699 h 7411"/>
                <a:gd name="connsiteX29" fmla="*/ 8969 w 10000"/>
                <a:gd name="connsiteY29" fmla="*/ 6460 h 7411"/>
                <a:gd name="connsiteX30" fmla="*/ 9192 w 10000"/>
                <a:gd name="connsiteY30" fmla="*/ 6547 h 7411"/>
                <a:gd name="connsiteX31" fmla="*/ 9701 w 10000"/>
                <a:gd name="connsiteY31" fmla="*/ 6547 h 7411"/>
                <a:gd name="connsiteX32" fmla="*/ 9987 w 10000"/>
                <a:gd name="connsiteY32" fmla="*/ 6072 h 7411"/>
                <a:gd name="connsiteX33" fmla="*/ 9956 w 10000"/>
                <a:gd name="connsiteY33" fmla="*/ 5640 h 7411"/>
                <a:gd name="connsiteX0" fmla="*/ 8970 w 9014"/>
                <a:gd name="connsiteY0" fmla="*/ 7609 h 9999"/>
                <a:gd name="connsiteX1" fmla="*/ 8556 w 9014"/>
                <a:gd name="connsiteY1" fmla="*/ 7028 h 9999"/>
                <a:gd name="connsiteX2" fmla="*/ 8365 w 9014"/>
                <a:gd name="connsiteY2" fmla="*/ 6852 h 9999"/>
                <a:gd name="connsiteX3" fmla="*/ 2958 w 9014"/>
                <a:gd name="connsiteY3" fmla="*/ 3125 h 9999"/>
                <a:gd name="connsiteX4" fmla="*/ 2990 w 9014"/>
                <a:gd name="connsiteY4" fmla="*/ 3009 h 9999"/>
                <a:gd name="connsiteX5" fmla="*/ 2195 w 9014"/>
                <a:gd name="connsiteY5" fmla="*/ 2019 h 9999"/>
                <a:gd name="connsiteX6" fmla="*/ 3880 w 9014"/>
                <a:gd name="connsiteY6" fmla="*/ 388 h 9999"/>
                <a:gd name="connsiteX7" fmla="*/ 2290 w 9014"/>
                <a:gd name="connsiteY7" fmla="*/ 214 h 9999"/>
                <a:gd name="connsiteX8" fmla="*/ 955 w 9014"/>
                <a:gd name="connsiteY8" fmla="*/ 2309 h 9999"/>
                <a:gd name="connsiteX9" fmla="*/ 731 w 9014"/>
                <a:gd name="connsiteY9" fmla="*/ 4699 h 9999"/>
                <a:gd name="connsiteX10" fmla="*/ 191 w 9014"/>
                <a:gd name="connsiteY10" fmla="*/ 6271 h 9999"/>
                <a:gd name="connsiteX11" fmla="*/ 795 w 9014"/>
                <a:gd name="connsiteY11" fmla="*/ 7495 h 9999"/>
                <a:gd name="connsiteX12" fmla="*/ 1018 w 9014"/>
                <a:gd name="connsiteY12" fmla="*/ 7609 h 9999"/>
                <a:gd name="connsiteX13" fmla="*/ 127 w 9014"/>
                <a:gd name="connsiteY13" fmla="*/ 7609 h 9999"/>
                <a:gd name="connsiteX14" fmla="*/ 0 w 9014"/>
                <a:gd name="connsiteY14" fmla="*/ 7960 h 9999"/>
                <a:gd name="connsiteX15" fmla="*/ 127 w 9014"/>
                <a:gd name="connsiteY15" fmla="*/ 8310 h 9999"/>
                <a:gd name="connsiteX16" fmla="*/ 604 w 9014"/>
                <a:gd name="connsiteY16" fmla="*/ 8310 h 9999"/>
                <a:gd name="connsiteX17" fmla="*/ 604 w 9014"/>
                <a:gd name="connsiteY17" fmla="*/ 9999 h 9999"/>
                <a:gd name="connsiteX18" fmla="*/ 955 w 9014"/>
                <a:gd name="connsiteY18" fmla="*/ 9999 h 9999"/>
                <a:gd name="connsiteX19" fmla="*/ 955 w 9014"/>
                <a:gd name="connsiteY19" fmla="*/ 8310 h 9999"/>
                <a:gd name="connsiteX20" fmla="*/ 1400 w 9014"/>
                <a:gd name="connsiteY20" fmla="*/ 8310 h 9999"/>
                <a:gd name="connsiteX21" fmla="*/ 1527 w 9014"/>
                <a:gd name="connsiteY21" fmla="*/ 7960 h 9999"/>
                <a:gd name="connsiteX22" fmla="*/ 1400 w 9014"/>
                <a:gd name="connsiteY22" fmla="*/ 7609 h 9999"/>
                <a:gd name="connsiteX23" fmla="*/ 1240 w 9014"/>
                <a:gd name="connsiteY23" fmla="*/ 7609 h 9999"/>
                <a:gd name="connsiteX24" fmla="*/ 1463 w 9014"/>
                <a:gd name="connsiteY24" fmla="*/ 7144 h 9999"/>
                <a:gd name="connsiteX25" fmla="*/ 1686 w 9014"/>
                <a:gd name="connsiteY25" fmla="*/ 5164 h 9999"/>
                <a:gd name="connsiteX26" fmla="*/ 2577 w 9014"/>
                <a:gd name="connsiteY26" fmla="*/ 5164 h 9999"/>
                <a:gd name="connsiteX27" fmla="*/ 2608 w 9014"/>
                <a:gd name="connsiteY27" fmla="*/ 4990 h 9999"/>
                <a:gd name="connsiteX28" fmla="*/ 7983 w 9014"/>
                <a:gd name="connsiteY28" fmla="*/ 8716 h 9999"/>
                <a:gd name="connsiteX29" fmla="*/ 8206 w 9014"/>
                <a:gd name="connsiteY29" fmla="*/ 8833 h 9999"/>
                <a:gd name="connsiteX30" fmla="*/ 8715 w 9014"/>
                <a:gd name="connsiteY30" fmla="*/ 8833 h 9999"/>
                <a:gd name="connsiteX31" fmla="*/ 9001 w 9014"/>
                <a:gd name="connsiteY31" fmla="*/ 8192 h 9999"/>
                <a:gd name="connsiteX32" fmla="*/ 8970 w 9014"/>
                <a:gd name="connsiteY32" fmla="*/ 7609 h 9999"/>
                <a:gd name="connsiteX0" fmla="*/ 9976 w 10025"/>
                <a:gd name="connsiteY0" fmla="*/ 7610 h 10000"/>
                <a:gd name="connsiteX1" fmla="*/ 9517 w 10025"/>
                <a:gd name="connsiteY1" fmla="*/ 7029 h 10000"/>
                <a:gd name="connsiteX2" fmla="*/ 9305 w 10025"/>
                <a:gd name="connsiteY2" fmla="*/ 6853 h 10000"/>
                <a:gd name="connsiteX3" fmla="*/ 3307 w 10025"/>
                <a:gd name="connsiteY3" fmla="*/ 3125 h 10000"/>
                <a:gd name="connsiteX4" fmla="*/ 3342 w 10025"/>
                <a:gd name="connsiteY4" fmla="*/ 3009 h 10000"/>
                <a:gd name="connsiteX5" fmla="*/ 2460 w 10025"/>
                <a:gd name="connsiteY5" fmla="*/ 2019 h 10000"/>
                <a:gd name="connsiteX6" fmla="*/ 4329 w 10025"/>
                <a:gd name="connsiteY6" fmla="*/ 388 h 10000"/>
                <a:gd name="connsiteX7" fmla="*/ 2565 w 10025"/>
                <a:gd name="connsiteY7" fmla="*/ 214 h 10000"/>
                <a:gd name="connsiteX8" fmla="*/ 1084 w 10025"/>
                <a:gd name="connsiteY8" fmla="*/ 2309 h 10000"/>
                <a:gd name="connsiteX9" fmla="*/ 836 w 10025"/>
                <a:gd name="connsiteY9" fmla="*/ 4699 h 10000"/>
                <a:gd name="connsiteX10" fmla="*/ 237 w 10025"/>
                <a:gd name="connsiteY10" fmla="*/ 6272 h 10000"/>
                <a:gd name="connsiteX11" fmla="*/ 907 w 10025"/>
                <a:gd name="connsiteY11" fmla="*/ 7496 h 10000"/>
                <a:gd name="connsiteX12" fmla="*/ 1154 w 10025"/>
                <a:gd name="connsiteY12" fmla="*/ 7610 h 10000"/>
                <a:gd name="connsiteX13" fmla="*/ 166 w 10025"/>
                <a:gd name="connsiteY13" fmla="*/ 7610 h 10000"/>
                <a:gd name="connsiteX14" fmla="*/ 25 w 10025"/>
                <a:gd name="connsiteY14" fmla="*/ 7961 h 10000"/>
                <a:gd name="connsiteX15" fmla="*/ 695 w 10025"/>
                <a:gd name="connsiteY15" fmla="*/ 8311 h 10000"/>
                <a:gd name="connsiteX16" fmla="*/ 695 w 10025"/>
                <a:gd name="connsiteY16" fmla="*/ 10000 h 10000"/>
                <a:gd name="connsiteX17" fmla="*/ 1084 w 10025"/>
                <a:gd name="connsiteY17" fmla="*/ 10000 h 10000"/>
                <a:gd name="connsiteX18" fmla="*/ 1084 w 10025"/>
                <a:gd name="connsiteY18" fmla="*/ 8311 h 10000"/>
                <a:gd name="connsiteX19" fmla="*/ 1578 w 10025"/>
                <a:gd name="connsiteY19" fmla="*/ 8311 h 10000"/>
                <a:gd name="connsiteX20" fmla="*/ 1719 w 10025"/>
                <a:gd name="connsiteY20" fmla="*/ 7961 h 10000"/>
                <a:gd name="connsiteX21" fmla="*/ 1578 w 10025"/>
                <a:gd name="connsiteY21" fmla="*/ 7610 h 10000"/>
                <a:gd name="connsiteX22" fmla="*/ 1401 w 10025"/>
                <a:gd name="connsiteY22" fmla="*/ 7610 h 10000"/>
                <a:gd name="connsiteX23" fmla="*/ 1648 w 10025"/>
                <a:gd name="connsiteY23" fmla="*/ 7145 h 10000"/>
                <a:gd name="connsiteX24" fmla="*/ 1895 w 10025"/>
                <a:gd name="connsiteY24" fmla="*/ 5165 h 10000"/>
                <a:gd name="connsiteX25" fmla="*/ 2884 w 10025"/>
                <a:gd name="connsiteY25" fmla="*/ 5165 h 10000"/>
                <a:gd name="connsiteX26" fmla="*/ 2918 w 10025"/>
                <a:gd name="connsiteY26" fmla="*/ 4990 h 10000"/>
                <a:gd name="connsiteX27" fmla="*/ 8881 w 10025"/>
                <a:gd name="connsiteY27" fmla="*/ 8717 h 10000"/>
                <a:gd name="connsiteX28" fmla="*/ 9129 w 10025"/>
                <a:gd name="connsiteY28" fmla="*/ 8834 h 10000"/>
                <a:gd name="connsiteX29" fmla="*/ 9693 w 10025"/>
                <a:gd name="connsiteY29" fmla="*/ 8834 h 10000"/>
                <a:gd name="connsiteX30" fmla="*/ 10011 w 10025"/>
                <a:gd name="connsiteY30" fmla="*/ 8193 h 10000"/>
                <a:gd name="connsiteX31" fmla="*/ 9976 w 10025"/>
                <a:gd name="connsiteY31" fmla="*/ 7610 h 10000"/>
                <a:gd name="connsiteX0" fmla="*/ 9951 w 10000"/>
                <a:gd name="connsiteY0" fmla="*/ 7610 h 10000"/>
                <a:gd name="connsiteX1" fmla="*/ 9492 w 10000"/>
                <a:gd name="connsiteY1" fmla="*/ 7029 h 10000"/>
                <a:gd name="connsiteX2" fmla="*/ 9280 w 10000"/>
                <a:gd name="connsiteY2" fmla="*/ 6853 h 10000"/>
                <a:gd name="connsiteX3" fmla="*/ 3282 w 10000"/>
                <a:gd name="connsiteY3" fmla="*/ 3125 h 10000"/>
                <a:gd name="connsiteX4" fmla="*/ 3317 w 10000"/>
                <a:gd name="connsiteY4" fmla="*/ 3009 h 10000"/>
                <a:gd name="connsiteX5" fmla="*/ 2435 w 10000"/>
                <a:gd name="connsiteY5" fmla="*/ 2019 h 10000"/>
                <a:gd name="connsiteX6" fmla="*/ 4304 w 10000"/>
                <a:gd name="connsiteY6" fmla="*/ 388 h 10000"/>
                <a:gd name="connsiteX7" fmla="*/ 2540 w 10000"/>
                <a:gd name="connsiteY7" fmla="*/ 214 h 10000"/>
                <a:gd name="connsiteX8" fmla="*/ 1059 w 10000"/>
                <a:gd name="connsiteY8" fmla="*/ 2309 h 10000"/>
                <a:gd name="connsiteX9" fmla="*/ 811 w 10000"/>
                <a:gd name="connsiteY9" fmla="*/ 4699 h 10000"/>
                <a:gd name="connsiteX10" fmla="*/ 212 w 10000"/>
                <a:gd name="connsiteY10" fmla="*/ 6272 h 10000"/>
                <a:gd name="connsiteX11" fmla="*/ 882 w 10000"/>
                <a:gd name="connsiteY11" fmla="*/ 7496 h 10000"/>
                <a:gd name="connsiteX12" fmla="*/ 1129 w 10000"/>
                <a:gd name="connsiteY12" fmla="*/ 7610 h 10000"/>
                <a:gd name="connsiteX13" fmla="*/ 0 w 10000"/>
                <a:gd name="connsiteY13" fmla="*/ 7961 h 10000"/>
                <a:gd name="connsiteX14" fmla="*/ 670 w 10000"/>
                <a:gd name="connsiteY14" fmla="*/ 8311 h 10000"/>
                <a:gd name="connsiteX15" fmla="*/ 670 w 10000"/>
                <a:gd name="connsiteY15" fmla="*/ 10000 h 10000"/>
                <a:gd name="connsiteX16" fmla="*/ 1059 w 10000"/>
                <a:gd name="connsiteY16" fmla="*/ 10000 h 10000"/>
                <a:gd name="connsiteX17" fmla="*/ 1059 w 10000"/>
                <a:gd name="connsiteY17" fmla="*/ 8311 h 10000"/>
                <a:gd name="connsiteX18" fmla="*/ 1553 w 10000"/>
                <a:gd name="connsiteY18" fmla="*/ 8311 h 10000"/>
                <a:gd name="connsiteX19" fmla="*/ 1694 w 10000"/>
                <a:gd name="connsiteY19" fmla="*/ 7961 h 10000"/>
                <a:gd name="connsiteX20" fmla="*/ 1553 w 10000"/>
                <a:gd name="connsiteY20" fmla="*/ 7610 h 10000"/>
                <a:gd name="connsiteX21" fmla="*/ 1376 w 10000"/>
                <a:gd name="connsiteY21" fmla="*/ 7610 h 10000"/>
                <a:gd name="connsiteX22" fmla="*/ 1623 w 10000"/>
                <a:gd name="connsiteY22" fmla="*/ 7145 h 10000"/>
                <a:gd name="connsiteX23" fmla="*/ 1870 w 10000"/>
                <a:gd name="connsiteY23" fmla="*/ 5165 h 10000"/>
                <a:gd name="connsiteX24" fmla="*/ 2859 w 10000"/>
                <a:gd name="connsiteY24" fmla="*/ 5165 h 10000"/>
                <a:gd name="connsiteX25" fmla="*/ 2893 w 10000"/>
                <a:gd name="connsiteY25" fmla="*/ 4990 h 10000"/>
                <a:gd name="connsiteX26" fmla="*/ 8856 w 10000"/>
                <a:gd name="connsiteY26" fmla="*/ 8717 h 10000"/>
                <a:gd name="connsiteX27" fmla="*/ 9104 w 10000"/>
                <a:gd name="connsiteY27" fmla="*/ 8834 h 10000"/>
                <a:gd name="connsiteX28" fmla="*/ 9668 w 10000"/>
                <a:gd name="connsiteY28" fmla="*/ 8834 h 10000"/>
                <a:gd name="connsiteX29" fmla="*/ 9986 w 10000"/>
                <a:gd name="connsiteY29" fmla="*/ 8193 h 10000"/>
                <a:gd name="connsiteX30" fmla="*/ 9951 w 10000"/>
                <a:gd name="connsiteY30" fmla="*/ 7610 h 10000"/>
                <a:gd name="connsiteX0" fmla="*/ 9776 w 9825"/>
                <a:gd name="connsiteY0" fmla="*/ 7610 h 10000"/>
                <a:gd name="connsiteX1" fmla="*/ 9317 w 9825"/>
                <a:gd name="connsiteY1" fmla="*/ 7029 h 10000"/>
                <a:gd name="connsiteX2" fmla="*/ 9105 w 9825"/>
                <a:gd name="connsiteY2" fmla="*/ 6853 h 10000"/>
                <a:gd name="connsiteX3" fmla="*/ 3107 w 9825"/>
                <a:gd name="connsiteY3" fmla="*/ 3125 h 10000"/>
                <a:gd name="connsiteX4" fmla="*/ 3142 w 9825"/>
                <a:gd name="connsiteY4" fmla="*/ 3009 h 10000"/>
                <a:gd name="connsiteX5" fmla="*/ 2260 w 9825"/>
                <a:gd name="connsiteY5" fmla="*/ 2019 h 10000"/>
                <a:gd name="connsiteX6" fmla="*/ 4129 w 9825"/>
                <a:gd name="connsiteY6" fmla="*/ 388 h 10000"/>
                <a:gd name="connsiteX7" fmla="*/ 2365 w 9825"/>
                <a:gd name="connsiteY7" fmla="*/ 214 h 10000"/>
                <a:gd name="connsiteX8" fmla="*/ 884 w 9825"/>
                <a:gd name="connsiteY8" fmla="*/ 2309 h 10000"/>
                <a:gd name="connsiteX9" fmla="*/ 636 w 9825"/>
                <a:gd name="connsiteY9" fmla="*/ 4699 h 10000"/>
                <a:gd name="connsiteX10" fmla="*/ 37 w 9825"/>
                <a:gd name="connsiteY10" fmla="*/ 6272 h 10000"/>
                <a:gd name="connsiteX11" fmla="*/ 707 w 9825"/>
                <a:gd name="connsiteY11" fmla="*/ 7496 h 10000"/>
                <a:gd name="connsiteX12" fmla="*/ 954 w 9825"/>
                <a:gd name="connsiteY12" fmla="*/ 7610 h 10000"/>
                <a:gd name="connsiteX13" fmla="*/ 495 w 9825"/>
                <a:gd name="connsiteY13" fmla="*/ 8311 h 10000"/>
                <a:gd name="connsiteX14" fmla="*/ 495 w 9825"/>
                <a:gd name="connsiteY14" fmla="*/ 10000 h 10000"/>
                <a:gd name="connsiteX15" fmla="*/ 884 w 9825"/>
                <a:gd name="connsiteY15" fmla="*/ 10000 h 10000"/>
                <a:gd name="connsiteX16" fmla="*/ 884 w 9825"/>
                <a:gd name="connsiteY16" fmla="*/ 8311 h 10000"/>
                <a:gd name="connsiteX17" fmla="*/ 1378 w 9825"/>
                <a:gd name="connsiteY17" fmla="*/ 8311 h 10000"/>
                <a:gd name="connsiteX18" fmla="*/ 1519 w 9825"/>
                <a:gd name="connsiteY18" fmla="*/ 7961 h 10000"/>
                <a:gd name="connsiteX19" fmla="*/ 1378 w 9825"/>
                <a:gd name="connsiteY19" fmla="*/ 7610 h 10000"/>
                <a:gd name="connsiteX20" fmla="*/ 1201 w 9825"/>
                <a:gd name="connsiteY20" fmla="*/ 7610 h 10000"/>
                <a:gd name="connsiteX21" fmla="*/ 1448 w 9825"/>
                <a:gd name="connsiteY21" fmla="*/ 7145 h 10000"/>
                <a:gd name="connsiteX22" fmla="*/ 1695 w 9825"/>
                <a:gd name="connsiteY22" fmla="*/ 5165 h 10000"/>
                <a:gd name="connsiteX23" fmla="*/ 2684 w 9825"/>
                <a:gd name="connsiteY23" fmla="*/ 5165 h 10000"/>
                <a:gd name="connsiteX24" fmla="*/ 2718 w 9825"/>
                <a:gd name="connsiteY24" fmla="*/ 4990 h 10000"/>
                <a:gd name="connsiteX25" fmla="*/ 8681 w 9825"/>
                <a:gd name="connsiteY25" fmla="*/ 8717 h 10000"/>
                <a:gd name="connsiteX26" fmla="*/ 8929 w 9825"/>
                <a:gd name="connsiteY26" fmla="*/ 8834 h 10000"/>
                <a:gd name="connsiteX27" fmla="*/ 9493 w 9825"/>
                <a:gd name="connsiteY27" fmla="*/ 8834 h 10000"/>
                <a:gd name="connsiteX28" fmla="*/ 9811 w 9825"/>
                <a:gd name="connsiteY28" fmla="*/ 8193 h 10000"/>
                <a:gd name="connsiteX29" fmla="*/ 9776 w 9825"/>
                <a:gd name="connsiteY29"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504 w 10000"/>
                <a:gd name="connsiteY13" fmla="*/ 8311 h 10000"/>
                <a:gd name="connsiteX14" fmla="*/ 504 w 10000"/>
                <a:gd name="connsiteY14" fmla="*/ 10000 h 10000"/>
                <a:gd name="connsiteX15" fmla="*/ 900 w 10000"/>
                <a:gd name="connsiteY15" fmla="*/ 10000 h 10000"/>
                <a:gd name="connsiteX16" fmla="*/ 900 w 10000"/>
                <a:gd name="connsiteY16" fmla="*/ 8311 h 10000"/>
                <a:gd name="connsiteX17" fmla="*/ 1403 w 10000"/>
                <a:gd name="connsiteY17" fmla="*/ 8311 h 10000"/>
                <a:gd name="connsiteX18" fmla="*/ 1546 w 10000"/>
                <a:gd name="connsiteY18" fmla="*/ 7961 h 10000"/>
                <a:gd name="connsiteX19" fmla="*/ 1222 w 10000"/>
                <a:gd name="connsiteY19" fmla="*/ 7610 h 10000"/>
                <a:gd name="connsiteX20" fmla="*/ 1474 w 10000"/>
                <a:gd name="connsiteY20" fmla="*/ 7145 h 10000"/>
                <a:gd name="connsiteX21" fmla="*/ 1725 w 10000"/>
                <a:gd name="connsiteY21" fmla="*/ 5165 h 10000"/>
                <a:gd name="connsiteX22" fmla="*/ 2732 w 10000"/>
                <a:gd name="connsiteY22" fmla="*/ 5165 h 10000"/>
                <a:gd name="connsiteX23" fmla="*/ 2766 w 10000"/>
                <a:gd name="connsiteY23" fmla="*/ 4990 h 10000"/>
                <a:gd name="connsiteX24" fmla="*/ 8836 w 10000"/>
                <a:gd name="connsiteY24" fmla="*/ 8717 h 10000"/>
                <a:gd name="connsiteX25" fmla="*/ 9088 w 10000"/>
                <a:gd name="connsiteY25" fmla="*/ 8834 h 10000"/>
                <a:gd name="connsiteX26" fmla="*/ 9662 w 10000"/>
                <a:gd name="connsiteY26" fmla="*/ 8834 h 10000"/>
                <a:gd name="connsiteX27" fmla="*/ 9986 w 10000"/>
                <a:gd name="connsiteY27" fmla="*/ 8193 h 10000"/>
                <a:gd name="connsiteX28" fmla="*/ 9950 w 10000"/>
                <a:gd name="connsiteY28"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504 w 10000"/>
                <a:gd name="connsiteY13" fmla="*/ 8311 h 10000"/>
                <a:gd name="connsiteX14" fmla="*/ 504 w 10000"/>
                <a:gd name="connsiteY14" fmla="*/ 10000 h 10000"/>
                <a:gd name="connsiteX15" fmla="*/ 900 w 10000"/>
                <a:gd name="connsiteY15" fmla="*/ 10000 h 10000"/>
                <a:gd name="connsiteX16" fmla="*/ 900 w 10000"/>
                <a:gd name="connsiteY16" fmla="*/ 8311 h 10000"/>
                <a:gd name="connsiteX17" fmla="*/ 1403 w 10000"/>
                <a:gd name="connsiteY17" fmla="*/ 8311 h 10000"/>
                <a:gd name="connsiteX18" fmla="*/ 1222 w 10000"/>
                <a:gd name="connsiteY18" fmla="*/ 7610 h 10000"/>
                <a:gd name="connsiteX19" fmla="*/ 1474 w 10000"/>
                <a:gd name="connsiteY19" fmla="*/ 7145 h 10000"/>
                <a:gd name="connsiteX20" fmla="*/ 1725 w 10000"/>
                <a:gd name="connsiteY20" fmla="*/ 5165 h 10000"/>
                <a:gd name="connsiteX21" fmla="*/ 2732 w 10000"/>
                <a:gd name="connsiteY21" fmla="*/ 5165 h 10000"/>
                <a:gd name="connsiteX22" fmla="*/ 2766 w 10000"/>
                <a:gd name="connsiteY22" fmla="*/ 4990 h 10000"/>
                <a:gd name="connsiteX23" fmla="*/ 8836 w 10000"/>
                <a:gd name="connsiteY23" fmla="*/ 8717 h 10000"/>
                <a:gd name="connsiteX24" fmla="*/ 9088 w 10000"/>
                <a:gd name="connsiteY24" fmla="*/ 8834 h 10000"/>
                <a:gd name="connsiteX25" fmla="*/ 9662 w 10000"/>
                <a:gd name="connsiteY25" fmla="*/ 8834 h 10000"/>
                <a:gd name="connsiteX26" fmla="*/ 9986 w 10000"/>
                <a:gd name="connsiteY26" fmla="*/ 8193 h 10000"/>
                <a:gd name="connsiteX27" fmla="*/ 9950 w 10000"/>
                <a:gd name="connsiteY27"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504 w 10000"/>
                <a:gd name="connsiteY13" fmla="*/ 8311 h 10000"/>
                <a:gd name="connsiteX14" fmla="*/ 504 w 10000"/>
                <a:gd name="connsiteY14" fmla="*/ 10000 h 10000"/>
                <a:gd name="connsiteX15" fmla="*/ 900 w 10000"/>
                <a:gd name="connsiteY15" fmla="*/ 10000 h 10000"/>
                <a:gd name="connsiteX16" fmla="*/ 900 w 10000"/>
                <a:gd name="connsiteY16" fmla="*/ 8311 h 10000"/>
                <a:gd name="connsiteX17" fmla="*/ 1222 w 10000"/>
                <a:gd name="connsiteY17" fmla="*/ 7610 h 10000"/>
                <a:gd name="connsiteX18" fmla="*/ 1474 w 10000"/>
                <a:gd name="connsiteY18" fmla="*/ 7145 h 10000"/>
                <a:gd name="connsiteX19" fmla="*/ 1725 w 10000"/>
                <a:gd name="connsiteY19" fmla="*/ 5165 h 10000"/>
                <a:gd name="connsiteX20" fmla="*/ 2732 w 10000"/>
                <a:gd name="connsiteY20" fmla="*/ 5165 h 10000"/>
                <a:gd name="connsiteX21" fmla="*/ 2766 w 10000"/>
                <a:gd name="connsiteY21" fmla="*/ 4990 h 10000"/>
                <a:gd name="connsiteX22" fmla="*/ 8836 w 10000"/>
                <a:gd name="connsiteY22" fmla="*/ 8717 h 10000"/>
                <a:gd name="connsiteX23" fmla="*/ 9088 w 10000"/>
                <a:gd name="connsiteY23" fmla="*/ 8834 h 10000"/>
                <a:gd name="connsiteX24" fmla="*/ 9662 w 10000"/>
                <a:gd name="connsiteY24" fmla="*/ 8834 h 10000"/>
                <a:gd name="connsiteX25" fmla="*/ 9986 w 10000"/>
                <a:gd name="connsiteY25" fmla="*/ 8193 h 10000"/>
                <a:gd name="connsiteX26" fmla="*/ 9950 w 10000"/>
                <a:gd name="connsiteY26"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504 w 10000"/>
                <a:gd name="connsiteY13" fmla="*/ 8311 h 10000"/>
                <a:gd name="connsiteX14" fmla="*/ 504 w 10000"/>
                <a:gd name="connsiteY14" fmla="*/ 10000 h 10000"/>
                <a:gd name="connsiteX15" fmla="*/ 900 w 10000"/>
                <a:gd name="connsiteY15" fmla="*/ 10000 h 10000"/>
                <a:gd name="connsiteX16" fmla="*/ 1222 w 10000"/>
                <a:gd name="connsiteY16" fmla="*/ 7610 h 10000"/>
                <a:gd name="connsiteX17" fmla="*/ 1474 w 10000"/>
                <a:gd name="connsiteY17" fmla="*/ 7145 h 10000"/>
                <a:gd name="connsiteX18" fmla="*/ 1725 w 10000"/>
                <a:gd name="connsiteY18" fmla="*/ 5165 h 10000"/>
                <a:gd name="connsiteX19" fmla="*/ 2732 w 10000"/>
                <a:gd name="connsiteY19" fmla="*/ 5165 h 10000"/>
                <a:gd name="connsiteX20" fmla="*/ 2766 w 10000"/>
                <a:gd name="connsiteY20" fmla="*/ 4990 h 10000"/>
                <a:gd name="connsiteX21" fmla="*/ 8836 w 10000"/>
                <a:gd name="connsiteY21" fmla="*/ 8717 h 10000"/>
                <a:gd name="connsiteX22" fmla="*/ 9088 w 10000"/>
                <a:gd name="connsiteY22" fmla="*/ 8834 h 10000"/>
                <a:gd name="connsiteX23" fmla="*/ 9662 w 10000"/>
                <a:gd name="connsiteY23" fmla="*/ 8834 h 10000"/>
                <a:gd name="connsiteX24" fmla="*/ 9986 w 10000"/>
                <a:gd name="connsiteY24" fmla="*/ 8193 h 10000"/>
                <a:gd name="connsiteX25" fmla="*/ 9950 w 10000"/>
                <a:gd name="connsiteY25"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504 w 10000"/>
                <a:gd name="connsiteY13" fmla="*/ 10000 h 10000"/>
                <a:gd name="connsiteX14" fmla="*/ 900 w 10000"/>
                <a:gd name="connsiteY14" fmla="*/ 10000 h 10000"/>
                <a:gd name="connsiteX15" fmla="*/ 1222 w 10000"/>
                <a:gd name="connsiteY15" fmla="*/ 7610 h 10000"/>
                <a:gd name="connsiteX16" fmla="*/ 1474 w 10000"/>
                <a:gd name="connsiteY16" fmla="*/ 7145 h 10000"/>
                <a:gd name="connsiteX17" fmla="*/ 1725 w 10000"/>
                <a:gd name="connsiteY17" fmla="*/ 5165 h 10000"/>
                <a:gd name="connsiteX18" fmla="*/ 2732 w 10000"/>
                <a:gd name="connsiteY18" fmla="*/ 5165 h 10000"/>
                <a:gd name="connsiteX19" fmla="*/ 2766 w 10000"/>
                <a:gd name="connsiteY19" fmla="*/ 4990 h 10000"/>
                <a:gd name="connsiteX20" fmla="*/ 8836 w 10000"/>
                <a:gd name="connsiteY20" fmla="*/ 8717 h 10000"/>
                <a:gd name="connsiteX21" fmla="*/ 9088 w 10000"/>
                <a:gd name="connsiteY21" fmla="*/ 8834 h 10000"/>
                <a:gd name="connsiteX22" fmla="*/ 9662 w 10000"/>
                <a:gd name="connsiteY22" fmla="*/ 8834 h 10000"/>
                <a:gd name="connsiteX23" fmla="*/ 9986 w 10000"/>
                <a:gd name="connsiteY23" fmla="*/ 8193 h 10000"/>
                <a:gd name="connsiteX24" fmla="*/ 9950 w 10000"/>
                <a:gd name="connsiteY24"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900 w 10000"/>
                <a:gd name="connsiteY13" fmla="*/ 10000 h 10000"/>
                <a:gd name="connsiteX14" fmla="*/ 1222 w 10000"/>
                <a:gd name="connsiteY14" fmla="*/ 7610 h 10000"/>
                <a:gd name="connsiteX15" fmla="*/ 1474 w 10000"/>
                <a:gd name="connsiteY15" fmla="*/ 7145 h 10000"/>
                <a:gd name="connsiteX16" fmla="*/ 1725 w 10000"/>
                <a:gd name="connsiteY16" fmla="*/ 5165 h 10000"/>
                <a:gd name="connsiteX17" fmla="*/ 2732 w 10000"/>
                <a:gd name="connsiteY17" fmla="*/ 5165 h 10000"/>
                <a:gd name="connsiteX18" fmla="*/ 2766 w 10000"/>
                <a:gd name="connsiteY18" fmla="*/ 4990 h 10000"/>
                <a:gd name="connsiteX19" fmla="*/ 8836 w 10000"/>
                <a:gd name="connsiteY19" fmla="*/ 8717 h 10000"/>
                <a:gd name="connsiteX20" fmla="*/ 9088 w 10000"/>
                <a:gd name="connsiteY20" fmla="*/ 8834 h 10000"/>
                <a:gd name="connsiteX21" fmla="*/ 9662 w 10000"/>
                <a:gd name="connsiteY21" fmla="*/ 8834 h 10000"/>
                <a:gd name="connsiteX22" fmla="*/ 9986 w 10000"/>
                <a:gd name="connsiteY22" fmla="*/ 8193 h 10000"/>
                <a:gd name="connsiteX23" fmla="*/ 9950 w 10000"/>
                <a:gd name="connsiteY23" fmla="*/ 7610 h 10000"/>
                <a:gd name="connsiteX0" fmla="*/ 9950 w 10000"/>
                <a:gd name="connsiteY0" fmla="*/ 7610 h 8921"/>
                <a:gd name="connsiteX1" fmla="*/ 9483 w 10000"/>
                <a:gd name="connsiteY1" fmla="*/ 7029 h 8921"/>
                <a:gd name="connsiteX2" fmla="*/ 9267 w 10000"/>
                <a:gd name="connsiteY2" fmla="*/ 6853 h 8921"/>
                <a:gd name="connsiteX3" fmla="*/ 3162 w 10000"/>
                <a:gd name="connsiteY3" fmla="*/ 3125 h 8921"/>
                <a:gd name="connsiteX4" fmla="*/ 3198 w 10000"/>
                <a:gd name="connsiteY4" fmla="*/ 3009 h 8921"/>
                <a:gd name="connsiteX5" fmla="*/ 2300 w 10000"/>
                <a:gd name="connsiteY5" fmla="*/ 2019 h 8921"/>
                <a:gd name="connsiteX6" fmla="*/ 4203 w 10000"/>
                <a:gd name="connsiteY6" fmla="*/ 388 h 8921"/>
                <a:gd name="connsiteX7" fmla="*/ 2407 w 10000"/>
                <a:gd name="connsiteY7" fmla="*/ 214 h 8921"/>
                <a:gd name="connsiteX8" fmla="*/ 900 w 10000"/>
                <a:gd name="connsiteY8" fmla="*/ 2309 h 8921"/>
                <a:gd name="connsiteX9" fmla="*/ 647 w 10000"/>
                <a:gd name="connsiteY9" fmla="*/ 4699 h 8921"/>
                <a:gd name="connsiteX10" fmla="*/ 38 w 10000"/>
                <a:gd name="connsiteY10" fmla="*/ 6272 h 8921"/>
                <a:gd name="connsiteX11" fmla="*/ 720 w 10000"/>
                <a:gd name="connsiteY11" fmla="*/ 7496 h 8921"/>
                <a:gd name="connsiteX12" fmla="*/ 971 w 10000"/>
                <a:gd name="connsiteY12" fmla="*/ 7610 h 8921"/>
                <a:gd name="connsiteX13" fmla="*/ 1222 w 10000"/>
                <a:gd name="connsiteY13" fmla="*/ 7610 h 8921"/>
                <a:gd name="connsiteX14" fmla="*/ 1474 w 10000"/>
                <a:gd name="connsiteY14" fmla="*/ 7145 h 8921"/>
                <a:gd name="connsiteX15" fmla="*/ 1725 w 10000"/>
                <a:gd name="connsiteY15" fmla="*/ 5165 h 8921"/>
                <a:gd name="connsiteX16" fmla="*/ 2732 w 10000"/>
                <a:gd name="connsiteY16" fmla="*/ 5165 h 8921"/>
                <a:gd name="connsiteX17" fmla="*/ 2766 w 10000"/>
                <a:gd name="connsiteY17" fmla="*/ 4990 h 8921"/>
                <a:gd name="connsiteX18" fmla="*/ 8836 w 10000"/>
                <a:gd name="connsiteY18" fmla="*/ 8717 h 8921"/>
                <a:gd name="connsiteX19" fmla="*/ 9088 w 10000"/>
                <a:gd name="connsiteY19" fmla="*/ 8834 h 8921"/>
                <a:gd name="connsiteX20" fmla="*/ 9662 w 10000"/>
                <a:gd name="connsiteY20" fmla="*/ 8834 h 8921"/>
                <a:gd name="connsiteX21" fmla="*/ 9986 w 10000"/>
                <a:gd name="connsiteY21" fmla="*/ 8193 h 8921"/>
                <a:gd name="connsiteX22" fmla="*/ 9950 w 10000"/>
                <a:gd name="connsiteY22" fmla="*/ 7610 h 8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000" h="8921">
                  <a:moveTo>
                    <a:pt x="9950" y="7610"/>
                  </a:moveTo>
                  <a:cubicBezTo>
                    <a:pt x="9878" y="7378"/>
                    <a:pt x="9698" y="7145"/>
                    <a:pt x="9483" y="7029"/>
                  </a:cubicBezTo>
                  <a:lnTo>
                    <a:pt x="9267" y="6853"/>
                  </a:lnTo>
                  <a:cubicBezTo>
                    <a:pt x="7220" y="5631"/>
                    <a:pt x="5209" y="4407"/>
                    <a:pt x="3162" y="3125"/>
                  </a:cubicBezTo>
                  <a:cubicBezTo>
                    <a:pt x="3175" y="3086"/>
                    <a:pt x="3186" y="3049"/>
                    <a:pt x="3198" y="3009"/>
                  </a:cubicBezTo>
                  <a:cubicBezTo>
                    <a:pt x="3448" y="2776"/>
                    <a:pt x="2444" y="2718"/>
                    <a:pt x="2300" y="2019"/>
                  </a:cubicBezTo>
                  <a:cubicBezTo>
                    <a:pt x="2157" y="1262"/>
                    <a:pt x="3952" y="563"/>
                    <a:pt x="4203" y="388"/>
                  </a:cubicBezTo>
                  <a:cubicBezTo>
                    <a:pt x="4491" y="156"/>
                    <a:pt x="3198" y="-252"/>
                    <a:pt x="2407" y="214"/>
                  </a:cubicBezTo>
                  <a:cubicBezTo>
                    <a:pt x="1617" y="679"/>
                    <a:pt x="1186" y="1436"/>
                    <a:pt x="900" y="2309"/>
                  </a:cubicBezTo>
                  <a:cubicBezTo>
                    <a:pt x="613" y="3125"/>
                    <a:pt x="683" y="4232"/>
                    <a:pt x="647" y="4699"/>
                  </a:cubicBezTo>
                  <a:cubicBezTo>
                    <a:pt x="647" y="5106"/>
                    <a:pt x="145" y="5806"/>
                    <a:pt x="38" y="6272"/>
                  </a:cubicBezTo>
                  <a:cubicBezTo>
                    <a:pt x="-141" y="7029"/>
                    <a:pt x="360" y="7261"/>
                    <a:pt x="720" y="7496"/>
                  </a:cubicBezTo>
                  <a:cubicBezTo>
                    <a:pt x="827" y="7552"/>
                    <a:pt x="888" y="7591"/>
                    <a:pt x="971" y="7610"/>
                  </a:cubicBezTo>
                  <a:cubicBezTo>
                    <a:pt x="1054" y="7629"/>
                    <a:pt x="1138" y="7687"/>
                    <a:pt x="1222" y="7610"/>
                  </a:cubicBezTo>
                  <a:cubicBezTo>
                    <a:pt x="1329" y="7552"/>
                    <a:pt x="1403" y="7436"/>
                    <a:pt x="1474" y="7145"/>
                  </a:cubicBezTo>
                  <a:cubicBezTo>
                    <a:pt x="1653" y="6621"/>
                    <a:pt x="1439" y="5806"/>
                    <a:pt x="1725" y="5165"/>
                  </a:cubicBezTo>
                  <a:cubicBezTo>
                    <a:pt x="1977" y="4581"/>
                    <a:pt x="2732" y="5165"/>
                    <a:pt x="2732" y="5165"/>
                  </a:cubicBezTo>
                  <a:cubicBezTo>
                    <a:pt x="2743" y="5107"/>
                    <a:pt x="2755" y="5049"/>
                    <a:pt x="2766" y="4990"/>
                  </a:cubicBezTo>
                  <a:cubicBezTo>
                    <a:pt x="4814" y="6212"/>
                    <a:pt x="6826" y="7436"/>
                    <a:pt x="8836" y="8717"/>
                  </a:cubicBezTo>
                  <a:cubicBezTo>
                    <a:pt x="8908" y="8717"/>
                    <a:pt x="9016" y="8776"/>
                    <a:pt x="9088" y="8834"/>
                  </a:cubicBezTo>
                  <a:cubicBezTo>
                    <a:pt x="9267" y="8950"/>
                    <a:pt x="9483" y="8950"/>
                    <a:pt x="9662" y="8834"/>
                  </a:cubicBezTo>
                  <a:cubicBezTo>
                    <a:pt x="9842" y="8717"/>
                    <a:pt x="9986" y="8485"/>
                    <a:pt x="9986" y="8193"/>
                  </a:cubicBezTo>
                  <a:cubicBezTo>
                    <a:pt x="10021" y="8019"/>
                    <a:pt x="9986" y="7786"/>
                    <a:pt x="9950" y="7610"/>
                  </a:cubicBezTo>
                  <a:close/>
                </a:path>
              </a:pathLst>
            </a:custGeom>
            <a:solidFill>
              <a:srgbClr val="0078D7"/>
            </a:solidFill>
            <a:ln w="28575">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78D7"/>
                </a:solidFill>
                <a:effectLst/>
                <a:uLnTx/>
                <a:uFillTx/>
                <a:latin typeface="Segoe Pro" pitchFamily="34" charset="0"/>
                <a:ea typeface="+mn-ea"/>
                <a:cs typeface="+mn-cs"/>
              </a:endParaRPr>
            </a:p>
          </p:txBody>
        </p:sp>
      </p:grpSp>
      <p:pic>
        <p:nvPicPr>
          <p:cNvPr id="166" name="Picture 165">
            <a:extLst>
              <a:ext uri="{FF2B5EF4-FFF2-40B4-BE49-F238E27FC236}">
                <a16:creationId xmlns:a16="http://schemas.microsoft.com/office/drawing/2014/main" id="{E4D90AAD-06B0-461C-A1E8-0EF89EEEE79E}"/>
              </a:ext>
            </a:extLst>
          </p:cNvPr>
          <p:cNvPicPr>
            <a:picLocks noChangeAspect="1"/>
          </p:cNvPicPr>
          <p:nvPr/>
        </p:nvPicPr>
        <p:blipFill>
          <a:blip r:embed="rId3"/>
          <a:stretch>
            <a:fillRect/>
          </a:stretch>
        </p:blipFill>
        <p:spPr>
          <a:xfrm>
            <a:off x="5545910" y="1841514"/>
            <a:ext cx="215074" cy="460873"/>
          </a:xfrm>
          <a:prstGeom prst="rect">
            <a:avLst/>
          </a:prstGeom>
        </p:spPr>
      </p:pic>
      <p:sp>
        <p:nvSpPr>
          <p:cNvPr id="167" name="Oval 166">
            <a:extLst>
              <a:ext uri="{FF2B5EF4-FFF2-40B4-BE49-F238E27FC236}">
                <a16:creationId xmlns:a16="http://schemas.microsoft.com/office/drawing/2014/main" id="{1EDFE34A-AD59-4D29-BB45-D3E8482DD1F5}"/>
              </a:ext>
            </a:extLst>
          </p:cNvPr>
          <p:cNvSpPr/>
          <p:nvPr/>
        </p:nvSpPr>
        <p:spPr>
          <a:xfrm>
            <a:off x="5302376" y="1714669"/>
            <a:ext cx="675862" cy="675862"/>
          </a:xfrm>
          <a:prstGeom prst="ellipse">
            <a:avLst/>
          </a:prstGeom>
          <a:noFill/>
          <a:ln w="12700">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nvGrpSpPr>
          <p:cNvPr id="169" name="Group 168">
            <a:extLst>
              <a:ext uri="{FF2B5EF4-FFF2-40B4-BE49-F238E27FC236}">
                <a16:creationId xmlns:a16="http://schemas.microsoft.com/office/drawing/2014/main" id="{681CA859-2C88-4D79-AB1F-7BCDB835F334}"/>
              </a:ext>
            </a:extLst>
          </p:cNvPr>
          <p:cNvGrpSpPr/>
          <p:nvPr/>
        </p:nvGrpSpPr>
        <p:grpSpPr>
          <a:xfrm>
            <a:off x="7352188" y="1714669"/>
            <a:ext cx="675862" cy="675862"/>
            <a:chOff x="6608573" y="1540840"/>
            <a:chExt cx="675862" cy="675862"/>
          </a:xfrm>
        </p:grpSpPr>
        <p:sp>
          <p:nvSpPr>
            <p:cNvPr id="173" name="Oval 172">
              <a:extLst>
                <a:ext uri="{FF2B5EF4-FFF2-40B4-BE49-F238E27FC236}">
                  <a16:creationId xmlns:a16="http://schemas.microsoft.com/office/drawing/2014/main" id="{1E613487-BE94-4213-AD13-79DBABB38C8E}"/>
                </a:ext>
              </a:extLst>
            </p:cNvPr>
            <p:cNvSpPr/>
            <p:nvPr/>
          </p:nvSpPr>
          <p:spPr>
            <a:xfrm>
              <a:off x="6608573" y="1540840"/>
              <a:ext cx="675862" cy="675862"/>
            </a:xfrm>
            <a:prstGeom prst="ellipse">
              <a:avLst/>
            </a:prstGeom>
            <a:noFill/>
            <a:ln w="12700">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174" name="Freeform 9">
              <a:extLst>
                <a:ext uri="{FF2B5EF4-FFF2-40B4-BE49-F238E27FC236}">
                  <a16:creationId xmlns:a16="http://schemas.microsoft.com/office/drawing/2014/main" id="{E9C12BC0-E4C3-4FDD-91D2-0F2846E4D807}"/>
                </a:ext>
              </a:extLst>
            </p:cNvPr>
            <p:cNvSpPr>
              <a:spLocks noChangeAspect="1" noEditPoints="1"/>
            </p:cNvSpPr>
            <p:nvPr/>
          </p:nvSpPr>
          <p:spPr bwMode="black">
            <a:xfrm>
              <a:off x="6759569" y="1727198"/>
              <a:ext cx="373871" cy="303146"/>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rgbClr val="0078D7"/>
            </a:solidFill>
            <a:ln>
              <a:noFill/>
            </a:ln>
          </p:spPr>
          <p:txBody>
            <a:bodyPr vert="horz" wrap="square" lIns="68574" tIns="34287" rIns="68574" bIns="342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6" name="Rectangle 105">
            <a:extLst>
              <a:ext uri="{FF2B5EF4-FFF2-40B4-BE49-F238E27FC236}">
                <a16:creationId xmlns:a16="http://schemas.microsoft.com/office/drawing/2014/main" id="{4F5F7F4E-7EBB-46FC-9894-532D8AF66813}"/>
              </a:ext>
            </a:extLst>
          </p:cNvPr>
          <p:cNvSpPr/>
          <p:nvPr/>
        </p:nvSpPr>
        <p:spPr>
          <a:xfrm>
            <a:off x="2047164" y="5403030"/>
            <a:ext cx="8297766" cy="368489"/>
          </a:xfrm>
          <a:prstGeom prst="rect">
            <a:avLst/>
          </a:prstGeom>
          <a:solidFill>
            <a:srgbClr val="E6E6E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Rectangle 117">
            <a:extLst>
              <a:ext uri="{FF2B5EF4-FFF2-40B4-BE49-F238E27FC236}">
                <a16:creationId xmlns:a16="http://schemas.microsoft.com/office/drawing/2014/main" id="{87E41DFB-49B3-4684-BF4A-F516702F01BC}"/>
              </a:ext>
            </a:extLst>
          </p:cNvPr>
          <p:cNvSpPr/>
          <p:nvPr/>
        </p:nvSpPr>
        <p:spPr>
          <a:xfrm>
            <a:off x="5997168" y="1861534"/>
            <a:ext cx="123578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erverless  infrastructure</a:t>
            </a:r>
          </a:p>
        </p:txBody>
      </p:sp>
      <p:sp>
        <p:nvSpPr>
          <p:cNvPr id="121" name="Rectangle 120">
            <a:extLst>
              <a:ext uri="{FF2B5EF4-FFF2-40B4-BE49-F238E27FC236}">
                <a16:creationId xmlns:a16="http://schemas.microsoft.com/office/drawing/2014/main" id="{247DD901-8231-4879-9088-1114188DFA2D}"/>
              </a:ext>
            </a:extLst>
          </p:cNvPr>
          <p:cNvSpPr/>
          <p:nvPr/>
        </p:nvSpPr>
        <p:spPr>
          <a:xfrm>
            <a:off x="2098576" y="5356010"/>
            <a:ext cx="1103437"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Lifecycle</a:t>
            </a:r>
            <a:b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management</a:t>
            </a:r>
          </a:p>
        </p:txBody>
      </p:sp>
      <p:sp>
        <p:nvSpPr>
          <p:cNvPr id="122" name="Rectangle 121">
            <a:extLst>
              <a:ext uri="{FF2B5EF4-FFF2-40B4-BE49-F238E27FC236}">
                <a16:creationId xmlns:a16="http://schemas.microsoft.com/office/drawing/2014/main" id="{1315A18C-62F2-46F4-B2E8-B21D98BCE19B}"/>
              </a:ext>
            </a:extLst>
          </p:cNvPr>
          <p:cNvSpPr/>
          <p:nvPr/>
        </p:nvSpPr>
        <p:spPr>
          <a:xfrm>
            <a:off x="3549702" y="5356442"/>
            <a:ext cx="1253705"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Pay only for what you use</a:t>
            </a:r>
          </a:p>
        </p:txBody>
      </p:sp>
      <p:sp>
        <p:nvSpPr>
          <p:cNvPr id="123" name="Rectangle 122">
            <a:extLst>
              <a:ext uri="{FF2B5EF4-FFF2-40B4-BE49-F238E27FC236}">
                <a16:creationId xmlns:a16="http://schemas.microsoft.com/office/drawing/2014/main" id="{F770B067-886E-42C3-8908-BA6D0506D673}"/>
              </a:ext>
            </a:extLst>
          </p:cNvPr>
          <p:cNvSpPr/>
          <p:nvPr/>
        </p:nvSpPr>
        <p:spPr>
          <a:xfrm>
            <a:off x="8029292" y="1861534"/>
            <a:ext cx="105784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cale on demand</a:t>
            </a:r>
          </a:p>
        </p:txBody>
      </p:sp>
      <p:sp>
        <p:nvSpPr>
          <p:cNvPr id="124" name="Rectangle 123">
            <a:extLst>
              <a:ext uri="{FF2B5EF4-FFF2-40B4-BE49-F238E27FC236}">
                <a16:creationId xmlns:a16="http://schemas.microsoft.com/office/drawing/2014/main" id="{09062F43-8B1A-46D2-8EF9-315491B6AB42}"/>
              </a:ext>
            </a:extLst>
          </p:cNvPr>
          <p:cNvSpPr/>
          <p:nvPr/>
        </p:nvSpPr>
        <p:spPr>
          <a:xfrm>
            <a:off x="5151096" y="5356010"/>
            <a:ext cx="1110126"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Intelligent traffic routing</a:t>
            </a:r>
          </a:p>
        </p:txBody>
      </p:sp>
      <p:sp>
        <p:nvSpPr>
          <p:cNvPr id="125" name="Rectangle 124">
            <a:extLst>
              <a:ext uri="{FF2B5EF4-FFF2-40B4-BE49-F238E27FC236}">
                <a16:creationId xmlns:a16="http://schemas.microsoft.com/office/drawing/2014/main" id="{8A1A6B71-0FA3-40AC-9B19-9D96F6A7B7CE}"/>
              </a:ext>
            </a:extLst>
          </p:cNvPr>
          <p:cNvSpPr/>
          <p:nvPr/>
        </p:nvSpPr>
        <p:spPr>
          <a:xfrm>
            <a:off x="6608911" y="5263678"/>
            <a:ext cx="1110126"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Microservice and container</a:t>
            </a:r>
            <a:b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orchestration</a:t>
            </a:r>
          </a:p>
        </p:txBody>
      </p:sp>
      <p:sp>
        <p:nvSpPr>
          <p:cNvPr id="126" name="Rectangle 125">
            <a:extLst>
              <a:ext uri="{FF2B5EF4-FFF2-40B4-BE49-F238E27FC236}">
                <a16:creationId xmlns:a16="http://schemas.microsoft.com/office/drawing/2014/main" id="{4586684A-DDB2-42F9-9ABB-F017E2CCBBC3}"/>
              </a:ext>
            </a:extLst>
          </p:cNvPr>
          <p:cNvSpPr/>
          <p:nvPr/>
        </p:nvSpPr>
        <p:spPr>
          <a:xfrm>
            <a:off x="8066726" y="5356442"/>
            <a:ext cx="967249"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ecurity &amp;</a:t>
            </a:r>
            <a:b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compliance</a:t>
            </a:r>
          </a:p>
        </p:txBody>
      </p:sp>
      <p:sp>
        <p:nvSpPr>
          <p:cNvPr id="127" name="Rectangle 126">
            <a:extLst>
              <a:ext uri="{FF2B5EF4-FFF2-40B4-BE49-F238E27FC236}">
                <a16:creationId xmlns:a16="http://schemas.microsoft.com/office/drawing/2014/main" id="{2DFAC96D-7E92-42BE-B3D9-D427B2041BFF}"/>
              </a:ext>
            </a:extLst>
          </p:cNvPr>
          <p:cNvSpPr/>
          <p:nvPr/>
        </p:nvSpPr>
        <p:spPr>
          <a:xfrm>
            <a:off x="9381665" y="5356442"/>
            <a:ext cx="977056"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Health &amp;</a:t>
            </a:r>
            <a:b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monitoring</a:t>
            </a:r>
          </a:p>
        </p:txBody>
      </p:sp>
      <p:sp>
        <p:nvSpPr>
          <p:cNvPr id="36" name="Hexagon 35">
            <a:extLst>
              <a:ext uri="{FF2B5EF4-FFF2-40B4-BE49-F238E27FC236}">
                <a16:creationId xmlns:a16="http://schemas.microsoft.com/office/drawing/2014/main" id="{C00598CA-BC50-48EE-8AB7-DA3398172719}"/>
              </a:ext>
            </a:extLst>
          </p:cNvPr>
          <p:cNvSpPr/>
          <p:nvPr/>
        </p:nvSpPr>
        <p:spPr>
          <a:xfrm>
            <a:off x="7500441" y="4428693"/>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Hexagon 38">
            <a:extLst>
              <a:ext uri="{FF2B5EF4-FFF2-40B4-BE49-F238E27FC236}">
                <a16:creationId xmlns:a16="http://schemas.microsoft.com/office/drawing/2014/main" id="{905233E3-B261-45EA-9281-91B3BCA9AA98}"/>
              </a:ext>
            </a:extLst>
          </p:cNvPr>
          <p:cNvSpPr/>
          <p:nvPr/>
        </p:nvSpPr>
        <p:spPr>
          <a:xfrm>
            <a:off x="3607982" y="4447109"/>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Hexagon 41">
            <a:extLst>
              <a:ext uri="{FF2B5EF4-FFF2-40B4-BE49-F238E27FC236}">
                <a16:creationId xmlns:a16="http://schemas.microsoft.com/office/drawing/2014/main" id="{7B9D4AB9-4B8B-4528-8628-8341D7906F93}"/>
              </a:ext>
            </a:extLst>
          </p:cNvPr>
          <p:cNvSpPr/>
          <p:nvPr/>
        </p:nvSpPr>
        <p:spPr>
          <a:xfrm>
            <a:off x="7703111" y="2891427"/>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Hexagon 80">
            <a:extLst>
              <a:ext uri="{FF2B5EF4-FFF2-40B4-BE49-F238E27FC236}">
                <a16:creationId xmlns:a16="http://schemas.microsoft.com/office/drawing/2014/main" id="{A42005B5-5957-4721-B925-12995DF45694}"/>
              </a:ext>
            </a:extLst>
          </p:cNvPr>
          <p:cNvSpPr/>
          <p:nvPr/>
        </p:nvSpPr>
        <p:spPr>
          <a:xfrm>
            <a:off x="5070464" y="4272917"/>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BE8F906B-814F-492D-9FE8-55A59178EB43}"/>
              </a:ext>
            </a:extLst>
          </p:cNvPr>
          <p:cNvGrpSpPr/>
          <p:nvPr/>
        </p:nvGrpSpPr>
        <p:grpSpPr>
          <a:xfrm>
            <a:off x="5076452" y="3617398"/>
            <a:ext cx="493265" cy="425229"/>
            <a:chOff x="5076453" y="3286702"/>
            <a:chExt cx="493265" cy="425229"/>
          </a:xfrm>
        </p:grpSpPr>
        <p:sp>
          <p:nvSpPr>
            <p:cNvPr id="37" name="Hexagon 36">
              <a:extLst>
                <a:ext uri="{FF2B5EF4-FFF2-40B4-BE49-F238E27FC236}">
                  <a16:creationId xmlns:a16="http://schemas.microsoft.com/office/drawing/2014/main" id="{2CD153DA-CB0B-4670-9B59-65DE97BE609E}"/>
                </a:ext>
              </a:extLst>
            </p:cNvPr>
            <p:cNvSpPr/>
            <p:nvPr/>
          </p:nvSpPr>
          <p:spPr>
            <a:xfrm>
              <a:off x="5076453" y="3286702"/>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5A16696D-E7D6-40C4-9118-66EE4BB9357C}"/>
                </a:ext>
              </a:extLst>
            </p:cNvPr>
            <p:cNvGrpSpPr/>
            <p:nvPr/>
          </p:nvGrpSpPr>
          <p:grpSpPr>
            <a:xfrm>
              <a:off x="5191677" y="3395898"/>
              <a:ext cx="262816" cy="206836"/>
              <a:chOff x="1200453" y="4307032"/>
              <a:chExt cx="421817" cy="331969"/>
            </a:xfrm>
          </p:grpSpPr>
          <p:sp>
            <p:nvSpPr>
              <p:cNvPr id="49" name="TextBox 48">
                <a:extLst>
                  <a:ext uri="{FF2B5EF4-FFF2-40B4-BE49-F238E27FC236}">
                    <a16:creationId xmlns:a16="http://schemas.microsoft.com/office/drawing/2014/main" id="{F793E076-A6E6-4890-9AE6-9C2CF52B047A}"/>
                  </a:ext>
                </a:extLst>
              </p:cNvPr>
              <p:cNvSpPr txBox="1"/>
              <p:nvPr/>
            </p:nvSpPr>
            <p:spPr>
              <a:xfrm>
                <a:off x="1239230" y="4359730"/>
                <a:ext cx="344265" cy="197592"/>
              </a:xfrm>
              <a:prstGeom prst="rect">
                <a:avLst/>
              </a:prstGeom>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97979"/>
                    </a:solidFill>
                    <a:effectLst/>
                    <a:uLnTx/>
                    <a:uFillTx/>
                    <a:latin typeface="Showcard Gothic" panose="04020904020102020604" pitchFamily="82" charset="0"/>
                    <a:ea typeface="+mn-ea"/>
                    <a:cs typeface="Shruti" panose="020B0502040204020203" pitchFamily="34" charset="0"/>
                  </a:rPr>
                  <a:t>&lt;/&gt;</a:t>
                </a:r>
              </a:p>
            </p:txBody>
          </p:sp>
          <p:sp>
            <p:nvSpPr>
              <p:cNvPr id="50" name="Freeform 127">
                <a:extLst>
                  <a:ext uri="{FF2B5EF4-FFF2-40B4-BE49-F238E27FC236}">
                    <a16:creationId xmlns:a16="http://schemas.microsoft.com/office/drawing/2014/main" id="{CD2F3052-6983-45C9-ABEA-D431D33D1C88}"/>
                  </a:ext>
                </a:extLst>
              </p:cNvPr>
              <p:cNvSpPr>
                <a:spLocks noChangeAspect="1"/>
              </p:cNvSpPr>
              <p:nvPr/>
            </p:nvSpPr>
            <p:spPr bwMode="black">
              <a:xfrm>
                <a:off x="1200453" y="4307032"/>
                <a:ext cx="421817" cy="331969"/>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rgbClr val="797979"/>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7" name="Group 56">
            <a:extLst>
              <a:ext uri="{FF2B5EF4-FFF2-40B4-BE49-F238E27FC236}">
                <a16:creationId xmlns:a16="http://schemas.microsoft.com/office/drawing/2014/main" id="{61F736B8-00D4-4066-AAF6-E9B557CFFF90}"/>
              </a:ext>
            </a:extLst>
          </p:cNvPr>
          <p:cNvGrpSpPr/>
          <p:nvPr/>
        </p:nvGrpSpPr>
        <p:grpSpPr>
          <a:xfrm>
            <a:off x="4039045" y="4215820"/>
            <a:ext cx="493265" cy="425229"/>
            <a:chOff x="2406426" y="2875676"/>
            <a:chExt cx="791685" cy="682487"/>
          </a:xfrm>
        </p:grpSpPr>
        <p:sp>
          <p:nvSpPr>
            <p:cNvPr id="58" name="Hexagon 57">
              <a:extLst>
                <a:ext uri="{FF2B5EF4-FFF2-40B4-BE49-F238E27FC236}">
                  <a16:creationId xmlns:a16="http://schemas.microsoft.com/office/drawing/2014/main" id="{7350CD70-8A37-4DAC-8810-CCA17700A758}"/>
                </a:ext>
              </a:extLst>
            </p:cNvPr>
            <p:cNvSpPr/>
            <p:nvPr/>
          </p:nvSpPr>
          <p:spPr>
            <a:xfrm>
              <a:off x="2406426" y="2875676"/>
              <a:ext cx="791685" cy="682487"/>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5">
              <a:extLst>
                <a:ext uri="{FF2B5EF4-FFF2-40B4-BE49-F238E27FC236}">
                  <a16:creationId xmlns:a16="http://schemas.microsoft.com/office/drawing/2014/main" id="{6277BDC5-964B-4F6C-B943-1B87C2426819}"/>
                </a:ext>
              </a:extLst>
            </p:cNvPr>
            <p:cNvSpPr>
              <a:spLocks noEditPoints="1"/>
            </p:cNvSpPr>
            <p:nvPr/>
          </p:nvSpPr>
          <p:spPr bwMode="black">
            <a:xfrm>
              <a:off x="2614371" y="3071103"/>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797979"/>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4" name="Hexagon 63">
            <a:extLst>
              <a:ext uri="{FF2B5EF4-FFF2-40B4-BE49-F238E27FC236}">
                <a16:creationId xmlns:a16="http://schemas.microsoft.com/office/drawing/2014/main" id="{E9290256-C5DC-4953-AE39-DFE607D5124F}"/>
              </a:ext>
            </a:extLst>
          </p:cNvPr>
          <p:cNvSpPr/>
          <p:nvPr/>
        </p:nvSpPr>
        <p:spPr>
          <a:xfrm>
            <a:off x="5076452" y="3138665"/>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Hexagon 77">
            <a:extLst>
              <a:ext uri="{FF2B5EF4-FFF2-40B4-BE49-F238E27FC236}">
                <a16:creationId xmlns:a16="http://schemas.microsoft.com/office/drawing/2014/main" id="{C4CCE317-3DDD-4755-80FF-0F2681DE45CE}"/>
              </a:ext>
            </a:extLst>
          </p:cNvPr>
          <p:cNvSpPr/>
          <p:nvPr/>
        </p:nvSpPr>
        <p:spPr>
          <a:xfrm>
            <a:off x="5516948" y="3279230"/>
            <a:ext cx="722483" cy="622830"/>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13" name="Group 112">
            <a:extLst>
              <a:ext uri="{FF2B5EF4-FFF2-40B4-BE49-F238E27FC236}">
                <a16:creationId xmlns:a16="http://schemas.microsoft.com/office/drawing/2014/main" id="{72503714-B2AD-4591-9D74-C611B1B8C876}"/>
              </a:ext>
            </a:extLst>
          </p:cNvPr>
          <p:cNvGrpSpPr/>
          <p:nvPr/>
        </p:nvGrpSpPr>
        <p:grpSpPr>
          <a:xfrm>
            <a:off x="7500441" y="3957018"/>
            <a:ext cx="493265" cy="425229"/>
            <a:chOff x="10430688" y="262913"/>
            <a:chExt cx="791685" cy="682487"/>
          </a:xfrm>
        </p:grpSpPr>
        <p:sp>
          <p:nvSpPr>
            <p:cNvPr id="114" name="Hexagon 113">
              <a:extLst>
                <a:ext uri="{FF2B5EF4-FFF2-40B4-BE49-F238E27FC236}">
                  <a16:creationId xmlns:a16="http://schemas.microsoft.com/office/drawing/2014/main" id="{132CAAD0-532D-450C-AED3-43D479BFAAFF}"/>
                </a:ext>
              </a:extLst>
            </p:cNvPr>
            <p:cNvSpPr/>
            <p:nvPr/>
          </p:nvSpPr>
          <p:spPr>
            <a:xfrm>
              <a:off x="10430688" y="262913"/>
              <a:ext cx="791685" cy="682487"/>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15" name="Group 114">
              <a:extLst>
                <a:ext uri="{FF2B5EF4-FFF2-40B4-BE49-F238E27FC236}">
                  <a16:creationId xmlns:a16="http://schemas.microsoft.com/office/drawing/2014/main" id="{758A8DF5-5EF6-4B83-A552-A1695CD817B8}"/>
                </a:ext>
              </a:extLst>
            </p:cNvPr>
            <p:cNvGrpSpPr/>
            <p:nvPr/>
          </p:nvGrpSpPr>
          <p:grpSpPr>
            <a:xfrm>
              <a:off x="10646269" y="409293"/>
              <a:ext cx="360522" cy="389726"/>
              <a:chOff x="528732" y="3883901"/>
              <a:chExt cx="360522" cy="389726"/>
            </a:xfrm>
          </p:grpSpPr>
          <p:sp>
            <p:nvSpPr>
              <p:cNvPr id="116" name="Freeform: Shape 115">
                <a:extLst>
                  <a:ext uri="{FF2B5EF4-FFF2-40B4-BE49-F238E27FC236}">
                    <a16:creationId xmlns:a16="http://schemas.microsoft.com/office/drawing/2014/main" id="{9112DB0B-D900-44D9-8A35-14E1D28C296C}"/>
                  </a:ext>
                </a:extLst>
              </p:cNvPr>
              <p:cNvSpPr/>
              <p:nvPr/>
            </p:nvSpPr>
            <p:spPr>
              <a:xfrm>
                <a:off x="528732" y="3883901"/>
                <a:ext cx="276228" cy="389451"/>
              </a:xfrm>
              <a:custGeom>
                <a:avLst/>
                <a:gdLst>
                  <a:gd name="connsiteX0" fmla="*/ 366510 w 734983"/>
                  <a:gd name="connsiteY0" fmla="*/ 39615 h 1036243"/>
                  <a:gd name="connsiteX1" fmla="*/ 74477 w 734983"/>
                  <a:gd name="connsiteY1" fmla="*/ 133441 h 1036243"/>
                  <a:gd name="connsiteX2" fmla="*/ 368470 w 734983"/>
                  <a:gd name="connsiteY2" fmla="*/ 227266 h 1036243"/>
                  <a:gd name="connsiteX3" fmla="*/ 660504 w 734983"/>
                  <a:gd name="connsiteY3" fmla="*/ 133441 h 1036243"/>
                  <a:gd name="connsiteX4" fmla="*/ 366510 w 734983"/>
                  <a:gd name="connsiteY4" fmla="*/ 39615 h 1036243"/>
                  <a:gd name="connsiteX5" fmla="*/ 366511 w 734983"/>
                  <a:gd name="connsiteY5" fmla="*/ 0 h 1036243"/>
                  <a:gd name="connsiteX6" fmla="*/ 727430 w 734983"/>
                  <a:gd name="connsiteY6" fmla="*/ 113539 h 1036243"/>
                  <a:gd name="connsiteX7" fmla="*/ 734983 w 734983"/>
                  <a:gd name="connsiteY7" fmla="*/ 141780 h 1036243"/>
                  <a:gd name="connsiteX8" fmla="*/ 734983 w 734983"/>
                  <a:gd name="connsiteY8" fmla="*/ 268791 h 1036243"/>
                  <a:gd name="connsiteX9" fmla="*/ 714275 w 734983"/>
                  <a:gd name="connsiteY9" fmla="*/ 267399 h 1036243"/>
                  <a:gd name="connsiteX10" fmla="*/ 419004 w 734983"/>
                  <a:gd name="connsiteY10" fmla="*/ 359454 h 1036243"/>
                  <a:gd name="connsiteX11" fmla="*/ 412877 w 734983"/>
                  <a:gd name="connsiteY11" fmla="*/ 382824 h 1036243"/>
                  <a:gd name="connsiteX12" fmla="*/ 412877 w 734983"/>
                  <a:gd name="connsiteY12" fmla="*/ 382826 h 1036243"/>
                  <a:gd name="connsiteX13" fmla="*/ 412877 w 734983"/>
                  <a:gd name="connsiteY13" fmla="*/ 1000992 h 1036243"/>
                  <a:gd name="connsiteX14" fmla="*/ 425034 w 734983"/>
                  <a:gd name="connsiteY14" fmla="*/ 1031895 h 1036243"/>
                  <a:gd name="connsiteX15" fmla="*/ 368471 w 734983"/>
                  <a:gd name="connsiteY15" fmla="*/ 1036243 h 1036243"/>
                  <a:gd name="connsiteX16" fmla="*/ 366512 w 734983"/>
                  <a:gd name="connsiteY16" fmla="*/ 1036243 h 1036243"/>
                  <a:gd name="connsiteX17" fmla="*/ 362591 w 734983"/>
                  <a:gd name="connsiteY17" fmla="*/ 1036243 h 1036243"/>
                  <a:gd name="connsiteX18" fmla="*/ 362591 w 734983"/>
                  <a:gd name="connsiteY18" fmla="*/ 1035940 h 1036243"/>
                  <a:gd name="connsiteX19" fmla="*/ 224078 w 734983"/>
                  <a:gd name="connsiteY19" fmla="*/ 1025231 h 1036243"/>
                  <a:gd name="connsiteX20" fmla="*/ 0 w 734983"/>
                  <a:gd name="connsiteY20" fmla="*/ 894463 h 1036243"/>
                  <a:gd name="connsiteX21" fmla="*/ 0 w 734983"/>
                  <a:gd name="connsiteY21" fmla="*/ 141780 h 1036243"/>
                  <a:gd name="connsiteX22" fmla="*/ 7469 w 734983"/>
                  <a:gd name="connsiteY22" fmla="*/ 113539 h 1036243"/>
                  <a:gd name="connsiteX23" fmla="*/ 366511 w 734983"/>
                  <a:gd name="connsiteY23" fmla="*/ 0 h 103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34983" h="1036243">
                    <a:moveTo>
                      <a:pt x="366510" y="39615"/>
                    </a:moveTo>
                    <a:cubicBezTo>
                      <a:pt x="205794" y="39615"/>
                      <a:pt x="74477" y="81315"/>
                      <a:pt x="74477" y="133441"/>
                    </a:cubicBezTo>
                    <a:cubicBezTo>
                      <a:pt x="74477" y="185566"/>
                      <a:pt x="207754" y="227266"/>
                      <a:pt x="368470" y="227266"/>
                    </a:cubicBezTo>
                    <a:cubicBezTo>
                      <a:pt x="529187" y="227266"/>
                      <a:pt x="660504" y="185566"/>
                      <a:pt x="660504" y="133441"/>
                    </a:cubicBezTo>
                    <a:cubicBezTo>
                      <a:pt x="660504" y="81315"/>
                      <a:pt x="527227" y="39615"/>
                      <a:pt x="366510" y="39615"/>
                    </a:cubicBezTo>
                    <a:close/>
                    <a:moveTo>
                      <a:pt x="366511" y="0"/>
                    </a:moveTo>
                    <a:cubicBezTo>
                      <a:pt x="543152" y="0"/>
                      <a:pt x="692783" y="49486"/>
                      <a:pt x="727430" y="113539"/>
                    </a:cubicBezTo>
                    <a:lnTo>
                      <a:pt x="734983" y="141780"/>
                    </a:lnTo>
                    <a:lnTo>
                      <a:pt x="734983" y="268791"/>
                    </a:lnTo>
                    <a:lnTo>
                      <a:pt x="714275" y="267399"/>
                    </a:lnTo>
                    <a:cubicBezTo>
                      <a:pt x="568701" y="267399"/>
                      <a:pt x="447124" y="306676"/>
                      <a:pt x="419004" y="359454"/>
                    </a:cubicBezTo>
                    <a:lnTo>
                      <a:pt x="412877" y="382824"/>
                    </a:lnTo>
                    <a:lnTo>
                      <a:pt x="412877" y="382826"/>
                    </a:lnTo>
                    <a:lnTo>
                      <a:pt x="412877" y="1000992"/>
                    </a:lnTo>
                    <a:lnTo>
                      <a:pt x="425034" y="1031895"/>
                    </a:lnTo>
                    <a:lnTo>
                      <a:pt x="368471" y="1036243"/>
                    </a:lnTo>
                    <a:lnTo>
                      <a:pt x="366512" y="1036243"/>
                    </a:lnTo>
                    <a:lnTo>
                      <a:pt x="362591" y="1036243"/>
                    </a:lnTo>
                    <a:lnTo>
                      <a:pt x="362591" y="1035940"/>
                    </a:lnTo>
                    <a:lnTo>
                      <a:pt x="224078" y="1025231"/>
                    </a:lnTo>
                    <a:cubicBezTo>
                      <a:pt x="92608" y="1003925"/>
                      <a:pt x="0" y="953885"/>
                      <a:pt x="0" y="894463"/>
                    </a:cubicBezTo>
                    <a:lnTo>
                      <a:pt x="0" y="141780"/>
                    </a:lnTo>
                    <a:lnTo>
                      <a:pt x="7469" y="113539"/>
                    </a:lnTo>
                    <a:cubicBezTo>
                      <a:pt x="41741" y="49486"/>
                      <a:pt x="189870" y="0"/>
                      <a:pt x="366511" y="0"/>
                    </a:cubicBezTo>
                    <a:close/>
                  </a:path>
                </a:pathLst>
              </a:custGeom>
              <a:solidFill>
                <a:srgbClr val="797979"/>
              </a:solidFill>
              <a:ln w="3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8EE60D78-8D30-4E50-A2E8-A89ED2F3F916}"/>
                  </a:ext>
                </a:extLst>
              </p:cNvPr>
              <p:cNvSpPr/>
              <p:nvPr/>
            </p:nvSpPr>
            <p:spPr>
              <a:xfrm>
                <a:off x="705102" y="4014255"/>
                <a:ext cx="184152" cy="259372"/>
              </a:xfrm>
              <a:custGeom>
                <a:avLst/>
                <a:gdLst>
                  <a:gd name="connsiteX0" fmla="*/ 391991 w 489989"/>
                  <a:gd name="connsiteY0" fmla="*/ 214754 h 690133"/>
                  <a:gd name="connsiteX1" fmla="*/ 119557 w 489989"/>
                  <a:gd name="connsiteY1" fmla="*/ 452444 h 690133"/>
                  <a:gd name="connsiteX2" fmla="*/ 211675 w 489989"/>
                  <a:gd name="connsiteY2" fmla="*/ 452444 h 690133"/>
                  <a:gd name="connsiteX3" fmla="*/ 105837 w 489989"/>
                  <a:gd name="connsiteY3" fmla="*/ 638009 h 690133"/>
                  <a:gd name="connsiteX4" fmla="*/ 378272 w 489989"/>
                  <a:gd name="connsiteY4" fmla="*/ 398234 h 690133"/>
                  <a:gd name="connsiteX5" fmla="*/ 286154 w 489989"/>
                  <a:gd name="connsiteY5" fmla="*/ 398234 h 690133"/>
                  <a:gd name="connsiteX6" fmla="*/ 244994 w 489989"/>
                  <a:gd name="connsiteY6" fmla="*/ 25020 h 690133"/>
                  <a:gd name="connsiteX7" fmla="*/ 50958 w 489989"/>
                  <a:gd name="connsiteY7" fmla="*/ 87571 h 690133"/>
                  <a:gd name="connsiteX8" fmla="*/ 244994 w 489989"/>
                  <a:gd name="connsiteY8" fmla="*/ 150121 h 690133"/>
                  <a:gd name="connsiteX9" fmla="*/ 439029 w 489989"/>
                  <a:gd name="connsiteY9" fmla="*/ 87571 h 690133"/>
                  <a:gd name="connsiteX10" fmla="*/ 244994 w 489989"/>
                  <a:gd name="connsiteY10" fmla="*/ 25020 h 690133"/>
                  <a:gd name="connsiteX11" fmla="*/ 244994 w 489989"/>
                  <a:gd name="connsiteY11" fmla="*/ 0 h 690133"/>
                  <a:gd name="connsiteX12" fmla="*/ 485009 w 489989"/>
                  <a:gd name="connsiteY12" fmla="*/ 74828 h 690133"/>
                  <a:gd name="connsiteX13" fmla="*/ 489989 w 489989"/>
                  <a:gd name="connsiteY13" fmla="*/ 93824 h 690133"/>
                  <a:gd name="connsiteX14" fmla="*/ 489989 w 489989"/>
                  <a:gd name="connsiteY14" fmla="*/ 93826 h 690133"/>
                  <a:gd name="connsiteX15" fmla="*/ 489989 w 489989"/>
                  <a:gd name="connsiteY15" fmla="*/ 596308 h 690133"/>
                  <a:gd name="connsiteX16" fmla="*/ 340328 w 489989"/>
                  <a:gd name="connsiteY16" fmla="*/ 682803 h 690133"/>
                  <a:gd name="connsiteX17" fmla="*/ 244995 w 489989"/>
                  <a:gd name="connsiteY17" fmla="*/ 690133 h 690133"/>
                  <a:gd name="connsiteX18" fmla="*/ 244994 w 489989"/>
                  <a:gd name="connsiteY18" fmla="*/ 690133 h 690133"/>
                  <a:gd name="connsiteX19" fmla="*/ 241074 w 489989"/>
                  <a:gd name="connsiteY19" fmla="*/ 690133 h 690133"/>
                  <a:gd name="connsiteX20" fmla="*/ 241074 w 489989"/>
                  <a:gd name="connsiteY20" fmla="*/ 689831 h 690133"/>
                  <a:gd name="connsiteX21" fmla="*/ 149661 w 489989"/>
                  <a:gd name="connsiteY21" fmla="*/ 682803 h 690133"/>
                  <a:gd name="connsiteX22" fmla="*/ 0 w 489989"/>
                  <a:gd name="connsiteY22" fmla="*/ 596308 h 690133"/>
                  <a:gd name="connsiteX23" fmla="*/ 0 w 489989"/>
                  <a:gd name="connsiteY23" fmla="*/ 93826 h 690133"/>
                  <a:gd name="connsiteX24" fmla="*/ 0 w 489989"/>
                  <a:gd name="connsiteY24" fmla="*/ 93824 h 690133"/>
                  <a:gd name="connsiteX25" fmla="*/ 4980 w 489989"/>
                  <a:gd name="connsiteY25" fmla="*/ 74828 h 690133"/>
                  <a:gd name="connsiteX26" fmla="*/ 244994 w 489989"/>
                  <a:gd name="connsiteY26" fmla="*/ 0 h 690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89989" h="690133">
                    <a:moveTo>
                      <a:pt x="391991" y="214754"/>
                    </a:moveTo>
                    <a:lnTo>
                      <a:pt x="119557" y="452444"/>
                    </a:lnTo>
                    <a:lnTo>
                      <a:pt x="211675" y="452444"/>
                    </a:lnTo>
                    <a:lnTo>
                      <a:pt x="105837" y="638009"/>
                    </a:lnTo>
                    <a:lnTo>
                      <a:pt x="378272" y="398234"/>
                    </a:lnTo>
                    <a:lnTo>
                      <a:pt x="286154" y="398234"/>
                    </a:lnTo>
                    <a:close/>
                    <a:moveTo>
                      <a:pt x="244994" y="25020"/>
                    </a:moveTo>
                    <a:cubicBezTo>
                      <a:pt x="139156" y="25020"/>
                      <a:pt x="50958" y="54211"/>
                      <a:pt x="50958" y="87571"/>
                    </a:cubicBezTo>
                    <a:cubicBezTo>
                      <a:pt x="50958" y="123016"/>
                      <a:pt x="139156" y="150121"/>
                      <a:pt x="244994" y="150121"/>
                    </a:cubicBezTo>
                    <a:cubicBezTo>
                      <a:pt x="350831" y="150121"/>
                      <a:pt x="439029" y="120931"/>
                      <a:pt x="439029" y="87571"/>
                    </a:cubicBezTo>
                    <a:cubicBezTo>
                      <a:pt x="439029" y="54211"/>
                      <a:pt x="350831" y="25020"/>
                      <a:pt x="244994" y="25020"/>
                    </a:cubicBezTo>
                    <a:close/>
                    <a:moveTo>
                      <a:pt x="244994" y="0"/>
                    </a:moveTo>
                    <a:cubicBezTo>
                      <a:pt x="363327" y="0"/>
                      <a:pt x="462152" y="31927"/>
                      <a:pt x="485009" y="74828"/>
                    </a:cubicBezTo>
                    <a:lnTo>
                      <a:pt x="489989" y="93824"/>
                    </a:lnTo>
                    <a:lnTo>
                      <a:pt x="489989" y="93826"/>
                    </a:lnTo>
                    <a:lnTo>
                      <a:pt x="489989" y="596308"/>
                    </a:lnTo>
                    <a:cubicBezTo>
                      <a:pt x="489989" y="635402"/>
                      <a:pt x="428251" y="668631"/>
                      <a:pt x="340328" y="682803"/>
                    </a:cubicBezTo>
                    <a:lnTo>
                      <a:pt x="244995" y="690133"/>
                    </a:lnTo>
                    <a:lnTo>
                      <a:pt x="244994" y="690133"/>
                    </a:lnTo>
                    <a:lnTo>
                      <a:pt x="241074" y="690133"/>
                    </a:lnTo>
                    <a:lnTo>
                      <a:pt x="241074" y="689831"/>
                    </a:lnTo>
                    <a:lnTo>
                      <a:pt x="149661" y="682803"/>
                    </a:lnTo>
                    <a:cubicBezTo>
                      <a:pt x="61739" y="668631"/>
                      <a:pt x="0" y="635402"/>
                      <a:pt x="0" y="596308"/>
                    </a:cubicBezTo>
                    <a:lnTo>
                      <a:pt x="0" y="93826"/>
                    </a:lnTo>
                    <a:lnTo>
                      <a:pt x="0" y="93824"/>
                    </a:lnTo>
                    <a:lnTo>
                      <a:pt x="4980" y="74828"/>
                    </a:lnTo>
                    <a:cubicBezTo>
                      <a:pt x="27838" y="31927"/>
                      <a:pt x="126663" y="0"/>
                      <a:pt x="244994" y="0"/>
                    </a:cubicBezTo>
                    <a:close/>
                  </a:path>
                </a:pathLst>
              </a:custGeom>
              <a:solidFill>
                <a:srgbClr val="797979"/>
              </a:solidFill>
              <a:ln w="3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40" name="Hexagon 139">
            <a:extLst>
              <a:ext uri="{FF2B5EF4-FFF2-40B4-BE49-F238E27FC236}">
                <a16:creationId xmlns:a16="http://schemas.microsoft.com/office/drawing/2014/main" id="{8B36D2B3-3EE5-460F-8AC7-74B1944222F5}"/>
              </a:ext>
            </a:extLst>
          </p:cNvPr>
          <p:cNvSpPr/>
          <p:nvPr/>
        </p:nvSpPr>
        <p:spPr>
          <a:xfrm>
            <a:off x="3554094" y="3552349"/>
            <a:ext cx="723549" cy="62099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28" name="Group 127">
            <a:extLst>
              <a:ext uri="{FF2B5EF4-FFF2-40B4-BE49-F238E27FC236}">
                <a16:creationId xmlns:a16="http://schemas.microsoft.com/office/drawing/2014/main" id="{4CE9B219-6EC4-43A3-BF1F-950A149E16B6}"/>
              </a:ext>
            </a:extLst>
          </p:cNvPr>
          <p:cNvGrpSpPr>
            <a:grpSpLocks noChangeAspect="1"/>
          </p:cNvGrpSpPr>
          <p:nvPr/>
        </p:nvGrpSpPr>
        <p:grpSpPr>
          <a:xfrm>
            <a:off x="4452874" y="3849982"/>
            <a:ext cx="720359" cy="620999"/>
            <a:chOff x="609937" y="2683669"/>
            <a:chExt cx="791685" cy="682487"/>
          </a:xfrm>
        </p:grpSpPr>
        <p:sp>
          <p:nvSpPr>
            <p:cNvPr id="129" name="Hexagon 128">
              <a:extLst>
                <a:ext uri="{FF2B5EF4-FFF2-40B4-BE49-F238E27FC236}">
                  <a16:creationId xmlns:a16="http://schemas.microsoft.com/office/drawing/2014/main" id="{F7115E8A-DF0B-4B00-8C95-A2F8145FF144}"/>
                </a:ext>
              </a:extLst>
            </p:cNvPr>
            <p:cNvSpPr/>
            <p:nvPr/>
          </p:nvSpPr>
          <p:spPr>
            <a:xfrm>
              <a:off x="609937" y="2683669"/>
              <a:ext cx="791685" cy="682487"/>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30" name="Group 129">
              <a:extLst>
                <a:ext uri="{FF2B5EF4-FFF2-40B4-BE49-F238E27FC236}">
                  <a16:creationId xmlns:a16="http://schemas.microsoft.com/office/drawing/2014/main" id="{894E32DC-9648-4FD1-A3ED-0C7FB051DBFD}"/>
                </a:ext>
              </a:extLst>
            </p:cNvPr>
            <p:cNvGrpSpPr/>
            <p:nvPr/>
          </p:nvGrpSpPr>
          <p:grpSpPr>
            <a:xfrm>
              <a:off x="812654" y="2833099"/>
              <a:ext cx="386251" cy="383627"/>
              <a:chOff x="8369454" y="1749836"/>
              <a:chExt cx="1062388" cy="1055171"/>
            </a:xfrm>
            <a:solidFill>
              <a:srgbClr val="797979"/>
            </a:solidFill>
          </p:grpSpPr>
          <p:sp>
            <p:nvSpPr>
              <p:cNvPr id="131" name="Freeform: Shape 130">
                <a:extLst>
                  <a:ext uri="{FF2B5EF4-FFF2-40B4-BE49-F238E27FC236}">
                    <a16:creationId xmlns:a16="http://schemas.microsoft.com/office/drawing/2014/main" id="{06143991-CC06-4232-A9FF-1A19DA125961}"/>
                  </a:ext>
                </a:extLst>
              </p:cNvPr>
              <p:cNvSpPr/>
              <p:nvPr/>
            </p:nvSpPr>
            <p:spPr>
              <a:xfrm>
                <a:off x="8369454" y="1749836"/>
                <a:ext cx="790575" cy="790575"/>
              </a:xfrm>
              <a:custGeom>
                <a:avLst/>
                <a:gdLst>
                  <a:gd name="connsiteX0" fmla="*/ 529233 w 790575"/>
                  <a:gd name="connsiteY0" fmla="*/ 7144 h 790575"/>
                  <a:gd name="connsiteX1" fmla="*/ 278904 w 790575"/>
                  <a:gd name="connsiteY1" fmla="*/ 122932 h 790575"/>
                  <a:gd name="connsiteX2" fmla="*/ 279202 w 790575"/>
                  <a:gd name="connsiteY2" fmla="*/ 242888 h 790575"/>
                  <a:gd name="connsiteX3" fmla="*/ 533995 w 790575"/>
                  <a:gd name="connsiteY3" fmla="*/ 242888 h 790575"/>
                  <a:gd name="connsiteX4" fmla="*/ 533995 w 790575"/>
                  <a:gd name="connsiteY4" fmla="*/ 278903 h 790575"/>
                  <a:gd name="connsiteX5" fmla="*/ 177998 w 790575"/>
                  <a:gd name="connsiteY5" fmla="*/ 278903 h 790575"/>
                  <a:gd name="connsiteX6" fmla="*/ 7144 w 790575"/>
                  <a:gd name="connsiteY6" fmla="*/ 528935 h 790575"/>
                  <a:gd name="connsiteX7" fmla="*/ 156270 w 790575"/>
                  <a:gd name="connsiteY7" fmla="*/ 788786 h 790575"/>
                  <a:gd name="connsiteX8" fmla="*/ 245269 w 790575"/>
                  <a:gd name="connsiteY8" fmla="*/ 788786 h 790575"/>
                  <a:gd name="connsiteX9" fmla="*/ 245269 w 790575"/>
                  <a:gd name="connsiteY9" fmla="*/ 663771 h 790575"/>
                  <a:gd name="connsiteX10" fmla="*/ 392014 w 790575"/>
                  <a:gd name="connsiteY10" fmla="*/ 514647 h 790575"/>
                  <a:gd name="connsiteX11" fmla="*/ 644723 w 790575"/>
                  <a:gd name="connsiteY11" fmla="*/ 514647 h 790575"/>
                  <a:gd name="connsiteX12" fmla="*/ 786703 w 790575"/>
                  <a:gd name="connsiteY12" fmla="*/ 377430 h 790575"/>
                  <a:gd name="connsiteX13" fmla="*/ 786703 w 790575"/>
                  <a:gd name="connsiteY13" fmla="*/ 146744 h 790575"/>
                  <a:gd name="connsiteX14" fmla="*/ 529233 w 790575"/>
                  <a:gd name="connsiteY14" fmla="*/ 7144 h 790575"/>
                  <a:gd name="connsiteX15" fmla="*/ 388739 w 790575"/>
                  <a:gd name="connsiteY15" fmla="*/ 87808 h 790575"/>
                  <a:gd name="connsiteX16" fmla="*/ 434578 w 790575"/>
                  <a:gd name="connsiteY16" fmla="*/ 133647 h 790575"/>
                  <a:gd name="connsiteX17" fmla="*/ 388739 w 790575"/>
                  <a:gd name="connsiteY17" fmla="*/ 179486 h 790575"/>
                  <a:gd name="connsiteX18" fmla="*/ 342900 w 790575"/>
                  <a:gd name="connsiteY18" fmla="*/ 133647 h 790575"/>
                  <a:gd name="connsiteX19" fmla="*/ 388739 w 790575"/>
                  <a:gd name="connsiteY19" fmla="*/ 87808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0575" h="790575">
                    <a:moveTo>
                      <a:pt x="529233" y="7144"/>
                    </a:moveTo>
                    <a:cubicBezTo>
                      <a:pt x="262231" y="7144"/>
                      <a:pt x="278904" y="122932"/>
                      <a:pt x="278904" y="122932"/>
                    </a:cubicBezTo>
                    <a:lnTo>
                      <a:pt x="279202" y="242888"/>
                    </a:lnTo>
                    <a:lnTo>
                      <a:pt x="533995" y="242888"/>
                    </a:lnTo>
                    <a:lnTo>
                      <a:pt x="533995" y="278903"/>
                    </a:lnTo>
                    <a:lnTo>
                      <a:pt x="177998" y="278903"/>
                    </a:lnTo>
                    <a:cubicBezTo>
                      <a:pt x="177998" y="278903"/>
                      <a:pt x="7144" y="259527"/>
                      <a:pt x="7144" y="528935"/>
                    </a:cubicBezTo>
                    <a:cubicBezTo>
                      <a:pt x="7144" y="798340"/>
                      <a:pt x="156270" y="788786"/>
                      <a:pt x="156270" y="788786"/>
                    </a:cubicBezTo>
                    <a:lnTo>
                      <a:pt x="245269" y="788786"/>
                    </a:lnTo>
                    <a:lnTo>
                      <a:pt x="245269" y="663771"/>
                    </a:lnTo>
                    <a:cubicBezTo>
                      <a:pt x="245269" y="663771"/>
                      <a:pt x="240471" y="514647"/>
                      <a:pt x="392014" y="514647"/>
                    </a:cubicBezTo>
                    <a:cubicBezTo>
                      <a:pt x="543558" y="514647"/>
                      <a:pt x="644723" y="514647"/>
                      <a:pt x="644723" y="514647"/>
                    </a:cubicBezTo>
                    <a:cubicBezTo>
                      <a:pt x="644723" y="514647"/>
                      <a:pt x="786703" y="516943"/>
                      <a:pt x="786703" y="377430"/>
                    </a:cubicBezTo>
                    <a:cubicBezTo>
                      <a:pt x="786703" y="237913"/>
                      <a:pt x="786703" y="146744"/>
                      <a:pt x="786703" y="146744"/>
                    </a:cubicBezTo>
                    <a:cubicBezTo>
                      <a:pt x="786703" y="146744"/>
                      <a:pt x="808258" y="7144"/>
                      <a:pt x="529233" y="7144"/>
                    </a:cubicBezTo>
                    <a:close/>
                    <a:moveTo>
                      <a:pt x="388739" y="87808"/>
                    </a:moveTo>
                    <a:cubicBezTo>
                      <a:pt x="414089" y="87808"/>
                      <a:pt x="434578" y="108297"/>
                      <a:pt x="434578" y="133647"/>
                    </a:cubicBezTo>
                    <a:cubicBezTo>
                      <a:pt x="434578" y="158997"/>
                      <a:pt x="414089" y="179486"/>
                      <a:pt x="388739" y="179486"/>
                    </a:cubicBezTo>
                    <a:cubicBezTo>
                      <a:pt x="363389" y="179486"/>
                      <a:pt x="342900" y="158997"/>
                      <a:pt x="342900" y="133647"/>
                    </a:cubicBezTo>
                    <a:cubicBezTo>
                      <a:pt x="342900" y="108297"/>
                      <a:pt x="363389" y="87808"/>
                      <a:pt x="388739" y="8780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EC79F0FE-FF1A-4C80-820D-72015E72A6FC}"/>
                  </a:ext>
                </a:extLst>
              </p:cNvPr>
              <p:cNvSpPr/>
              <p:nvPr/>
            </p:nvSpPr>
            <p:spPr>
              <a:xfrm>
                <a:off x="8641267" y="2014432"/>
                <a:ext cx="790575" cy="790575"/>
              </a:xfrm>
              <a:custGeom>
                <a:avLst/>
                <a:gdLst>
                  <a:gd name="connsiteX0" fmla="*/ 265002 w 790575"/>
                  <a:gd name="connsiteY0" fmla="*/ 788833 h 790575"/>
                  <a:gd name="connsiteX1" fmla="*/ 515329 w 790575"/>
                  <a:gd name="connsiteY1" fmla="*/ 673047 h 790575"/>
                  <a:gd name="connsiteX2" fmla="*/ 515033 w 790575"/>
                  <a:gd name="connsiteY2" fmla="*/ 553089 h 790575"/>
                  <a:gd name="connsiteX3" fmla="*/ 260239 w 790575"/>
                  <a:gd name="connsiteY3" fmla="*/ 553089 h 790575"/>
                  <a:gd name="connsiteX4" fmla="*/ 260239 w 790575"/>
                  <a:gd name="connsiteY4" fmla="*/ 517075 h 790575"/>
                  <a:gd name="connsiteX5" fmla="*/ 616236 w 790575"/>
                  <a:gd name="connsiteY5" fmla="*/ 517075 h 790575"/>
                  <a:gd name="connsiteX6" fmla="*/ 787096 w 790575"/>
                  <a:gd name="connsiteY6" fmla="*/ 267044 h 790575"/>
                  <a:gd name="connsiteX7" fmla="*/ 637963 w 790575"/>
                  <a:gd name="connsiteY7" fmla="*/ 7186 h 790575"/>
                  <a:gd name="connsiteX8" fmla="*/ 548971 w 790575"/>
                  <a:gd name="connsiteY8" fmla="*/ 7186 h 790575"/>
                  <a:gd name="connsiteX9" fmla="*/ 548971 w 790575"/>
                  <a:gd name="connsiteY9" fmla="*/ 132198 h 790575"/>
                  <a:gd name="connsiteX10" fmla="*/ 402219 w 790575"/>
                  <a:gd name="connsiteY10" fmla="*/ 281331 h 790575"/>
                  <a:gd name="connsiteX11" fmla="*/ 149512 w 790575"/>
                  <a:gd name="connsiteY11" fmla="*/ 281331 h 790575"/>
                  <a:gd name="connsiteX12" fmla="*/ 7530 w 790575"/>
                  <a:gd name="connsiteY12" fmla="*/ 418549 h 790575"/>
                  <a:gd name="connsiteX13" fmla="*/ 7530 w 790575"/>
                  <a:gd name="connsiteY13" fmla="*/ 649234 h 790575"/>
                  <a:gd name="connsiteX14" fmla="*/ 265002 w 790575"/>
                  <a:gd name="connsiteY14" fmla="*/ 788833 h 790575"/>
                  <a:gd name="connsiteX15" fmla="*/ 405496 w 790575"/>
                  <a:gd name="connsiteY15" fmla="*/ 708166 h 790575"/>
                  <a:gd name="connsiteX16" fmla="*/ 359661 w 790575"/>
                  <a:gd name="connsiteY16" fmla="*/ 662331 h 790575"/>
                  <a:gd name="connsiteX17" fmla="*/ 405496 w 790575"/>
                  <a:gd name="connsiteY17" fmla="*/ 616488 h 790575"/>
                  <a:gd name="connsiteX18" fmla="*/ 451340 w 790575"/>
                  <a:gd name="connsiteY18" fmla="*/ 662331 h 790575"/>
                  <a:gd name="connsiteX19" fmla="*/ 405496 w 790575"/>
                  <a:gd name="connsiteY19" fmla="*/ 708166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0575" h="790575">
                    <a:moveTo>
                      <a:pt x="265002" y="788833"/>
                    </a:moveTo>
                    <a:cubicBezTo>
                      <a:pt x="532007" y="788833"/>
                      <a:pt x="515329" y="673047"/>
                      <a:pt x="515329" y="673047"/>
                    </a:cubicBezTo>
                    <a:lnTo>
                      <a:pt x="515033" y="553089"/>
                    </a:lnTo>
                    <a:lnTo>
                      <a:pt x="260239" y="553089"/>
                    </a:lnTo>
                    <a:lnTo>
                      <a:pt x="260239" y="517075"/>
                    </a:lnTo>
                    <a:lnTo>
                      <a:pt x="616236" y="517075"/>
                    </a:lnTo>
                    <a:cubicBezTo>
                      <a:pt x="616236" y="517075"/>
                      <a:pt x="787096" y="536449"/>
                      <a:pt x="787096" y="267044"/>
                    </a:cubicBezTo>
                    <a:cubicBezTo>
                      <a:pt x="787096" y="-2368"/>
                      <a:pt x="637963" y="7186"/>
                      <a:pt x="637963" y="7186"/>
                    </a:cubicBezTo>
                    <a:lnTo>
                      <a:pt x="548971" y="7186"/>
                    </a:lnTo>
                    <a:lnTo>
                      <a:pt x="548971" y="132198"/>
                    </a:lnTo>
                    <a:cubicBezTo>
                      <a:pt x="548971" y="132198"/>
                      <a:pt x="553762" y="281331"/>
                      <a:pt x="402219" y="281331"/>
                    </a:cubicBezTo>
                    <a:cubicBezTo>
                      <a:pt x="250680" y="281331"/>
                      <a:pt x="149512" y="281331"/>
                      <a:pt x="149512" y="281331"/>
                    </a:cubicBezTo>
                    <a:cubicBezTo>
                      <a:pt x="149512" y="281331"/>
                      <a:pt x="7530" y="279036"/>
                      <a:pt x="7530" y="418549"/>
                    </a:cubicBezTo>
                    <a:cubicBezTo>
                      <a:pt x="7530" y="558061"/>
                      <a:pt x="7530" y="649234"/>
                      <a:pt x="7530" y="649234"/>
                    </a:cubicBezTo>
                    <a:cubicBezTo>
                      <a:pt x="7530" y="649234"/>
                      <a:pt x="-14026" y="788833"/>
                      <a:pt x="265002" y="788833"/>
                    </a:cubicBezTo>
                    <a:close/>
                    <a:moveTo>
                      <a:pt x="405496" y="708166"/>
                    </a:moveTo>
                    <a:cubicBezTo>
                      <a:pt x="380150" y="708166"/>
                      <a:pt x="359661" y="687678"/>
                      <a:pt x="359661" y="662331"/>
                    </a:cubicBezTo>
                    <a:cubicBezTo>
                      <a:pt x="359661" y="636976"/>
                      <a:pt x="380150" y="616488"/>
                      <a:pt x="405496" y="616488"/>
                    </a:cubicBezTo>
                    <a:cubicBezTo>
                      <a:pt x="430851" y="616488"/>
                      <a:pt x="451340" y="636976"/>
                      <a:pt x="451340" y="662331"/>
                    </a:cubicBezTo>
                    <a:cubicBezTo>
                      <a:pt x="451340" y="687678"/>
                      <a:pt x="430851" y="708166"/>
                      <a:pt x="405496" y="70816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8" name="Group 27">
            <a:extLst>
              <a:ext uri="{FF2B5EF4-FFF2-40B4-BE49-F238E27FC236}">
                <a16:creationId xmlns:a16="http://schemas.microsoft.com/office/drawing/2014/main" id="{8AED3470-B93A-43CD-8069-A2CB586A26C1}"/>
              </a:ext>
            </a:extLst>
          </p:cNvPr>
          <p:cNvGrpSpPr/>
          <p:nvPr/>
        </p:nvGrpSpPr>
        <p:grpSpPr>
          <a:xfrm>
            <a:off x="6414481" y="4154273"/>
            <a:ext cx="722483" cy="622830"/>
            <a:chOff x="6414482" y="3823577"/>
            <a:chExt cx="722483" cy="622830"/>
          </a:xfrm>
        </p:grpSpPr>
        <p:sp>
          <p:nvSpPr>
            <p:cNvPr id="72" name="Hexagon 71">
              <a:extLst>
                <a:ext uri="{FF2B5EF4-FFF2-40B4-BE49-F238E27FC236}">
                  <a16:creationId xmlns:a16="http://schemas.microsoft.com/office/drawing/2014/main" id="{3223D557-8538-473E-B460-8E3BAFD0037B}"/>
                </a:ext>
              </a:extLst>
            </p:cNvPr>
            <p:cNvSpPr/>
            <p:nvPr/>
          </p:nvSpPr>
          <p:spPr>
            <a:xfrm>
              <a:off x="6414482" y="3823577"/>
              <a:ext cx="722483" cy="622830"/>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144" name="Graphic 143">
              <a:extLst>
                <a:ext uri="{FF2B5EF4-FFF2-40B4-BE49-F238E27FC236}">
                  <a16:creationId xmlns:a16="http://schemas.microsoft.com/office/drawing/2014/main" id="{561D65B2-42BB-46B1-9A4F-EA95D86F43CF}"/>
                </a:ext>
              </a:extLst>
            </p:cNvPr>
            <p:cNvPicPr>
              <a:picLocks noChangeAspect="1"/>
            </p:cNvPicPr>
            <p:nvPr/>
          </p:nvPicPr>
          <p:blipFill>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606517" y="3943974"/>
              <a:ext cx="338413" cy="382036"/>
            </a:xfrm>
            <a:prstGeom prst="rect">
              <a:avLst/>
            </a:prstGeom>
          </p:spPr>
        </p:pic>
      </p:grpSp>
      <p:sp>
        <p:nvSpPr>
          <p:cNvPr id="146" name="Hexagon 145">
            <a:extLst>
              <a:ext uri="{FF2B5EF4-FFF2-40B4-BE49-F238E27FC236}">
                <a16:creationId xmlns:a16="http://schemas.microsoft.com/office/drawing/2014/main" id="{AD06C680-8D77-423D-9D48-FD05B3794C76}"/>
              </a:ext>
            </a:extLst>
          </p:cNvPr>
          <p:cNvSpPr/>
          <p:nvPr/>
        </p:nvSpPr>
        <p:spPr>
          <a:xfrm>
            <a:off x="3669236" y="3076165"/>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Hexagon 148">
            <a:extLst>
              <a:ext uri="{FF2B5EF4-FFF2-40B4-BE49-F238E27FC236}">
                <a16:creationId xmlns:a16="http://schemas.microsoft.com/office/drawing/2014/main" id="{BA9699C8-7A33-4D75-99DA-D02FB4391509}"/>
              </a:ext>
            </a:extLst>
          </p:cNvPr>
          <p:cNvSpPr/>
          <p:nvPr/>
        </p:nvSpPr>
        <p:spPr>
          <a:xfrm>
            <a:off x="7917546" y="3574935"/>
            <a:ext cx="720359" cy="62099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itle 5">
            <a:extLst>
              <a:ext uri="{FF2B5EF4-FFF2-40B4-BE49-F238E27FC236}">
                <a16:creationId xmlns:a16="http://schemas.microsoft.com/office/drawing/2014/main" id="{9A9C0538-CA12-495F-A79A-EC9C8B1E9616}"/>
              </a:ext>
            </a:extLst>
          </p:cNvPr>
          <p:cNvSpPr>
            <a:spLocks noGrp="1"/>
          </p:cNvSpPr>
          <p:nvPr>
            <p:ph type="title"/>
          </p:nvPr>
        </p:nvSpPr>
        <p:spPr/>
        <p:txBody>
          <a:bodyPr>
            <a:normAutofit fontScale="90000"/>
          </a:bodyPr>
          <a:lstStyle/>
          <a:p>
            <a:r>
              <a:rPr lang="en-US"/>
              <a:t>Azure Service Fabric Mesh</a:t>
            </a:r>
            <a:br>
              <a:rPr lang="en-US"/>
            </a:br>
            <a:endParaRPr lang="en-US"/>
          </a:p>
        </p:txBody>
      </p:sp>
      <p:sp>
        <p:nvSpPr>
          <p:cNvPr id="154" name="Content Placeholder 6">
            <a:extLst>
              <a:ext uri="{FF2B5EF4-FFF2-40B4-BE49-F238E27FC236}">
                <a16:creationId xmlns:a16="http://schemas.microsoft.com/office/drawing/2014/main" id="{DC5B7B22-FD71-4EEE-92DC-49746691B48B}"/>
              </a:ext>
            </a:extLst>
          </p:cNvPr>
          <p:cNvSpPr>
            <a:spLocks noGrp="1"/>
          </p:cNvSpPr>
          <p:nvPr>
            <p:ph type="subTitle" idx="27"/>
          </p:nvPr>
        </p:nvSpPr>
        <p:spPr>
          <a:xfrm>
            <a:off x="457200" y="1051560"/>
            <a:ext cx="11277600" cy="369332"/>
          </a:xfrm>
        </p:spPr>
        <p:txBody>
          <a:bodyPr/>
          <a:lstStyle/>
          <a:p>
            <a:r>
              <a:rPr lang="en-US">
                <a:solidFill>
                  <a:schemeClr val="bg2">
                    <a:lumMod val="50000"/>
                  </a:schemeClr>
                </a:solidFill>
              </a:rPr>
              <a:t>A Serverless microservices platform for business critical applications</a:t>
            </a:r>
          </a:p>
        </p:txBody>
      </p:sp>
      <p:grpSp>
        <p:nvGrpSpPr>
          <p:cNvPr id="15" name="Group 14">
            <a:extLst>
              <a:ext uri="{FF2B5EF4-FFF2-40B4-BE49-F238E27FC236}">
                <a16:creationId xmlns:a16="http://schemas.microsoft.com/office/drawing/2014/main" id="{1297E7CE-5C05-4474-A6F8-5FAC7445E7F4}"/>
              </a:ext>
            </a:extLst>
          </p:cNvPr>
          <p:cNvGrpSpPr/>
          <p:nvPr/>
        </p:nvGrpSpPr>
        <p:grpSpPr>
          <a:xfrm>
            <a:off x="5516948" y="3950588"/>
            <a:ext cx="723549" cy="620999"/>
            <a:chOff x="5516949" y="3619892"/>
            <a:chExt cx="723549" cy="620999"/>
          </a:xfrm>
        </p:grpSpPr>
        <p:sp>
          <p:nvSpPr>
            <p:cNvPr id="137" name="Hexagon 136">
              <a:extLst>
                <a:ext uri="{FF2B5EF4-FFF2-40B4-BE49-F238E27FC236}">
                  <a16:creationId xmlns:a16="http://schemas.microsoft.com/office/drawing/2014/main" id="{F892CCA8-6E27-4BAF-8C84-26B68EBF5728}"/>
                </a:ext>
              </a:extLst>
            </p:cNvPr>
            <p:cNvSpPr/>
            <p:nvPr/>
          </p:nvSpPr>
          <p:spPr>
            <a:xfrm>
              <a:off x="5516949" y="3619892"/>
              <a:ext cx="723549" cy="62099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8" name="Intelligence" title="Icon of circles connected by crossing lines">
              <a:extLst>
                <a:ext uri="{FF2B5EF4-FFF2-40B4-BE49-F238E27FC236}">
                  <a16:creationId xmlns:a16="http://schemas.microsoft.com/office/drawing/2014/main" id="{882DE960-8A06-4F41-A3E4-1A4098D587B5}"/>
                </a:ext>
              </a:extLst>
            </p:cNvPr>
            <p:cNvSpPr>
              <a:spLocks noChangeAspect="1" noEditPoints="1"/>
            </p:cNvSpPr>
            <p:nvPr/>
          </p:nvSpPr>
          <p:spPr bwMode="auto">
            <a:xfrm>
              <a:off x="5674319" y="3733977"/>
              <a:ext cx="408808" cy="392829"/>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2700" cap="sq">
              <a:solidFill>
                <a:srgbClr val="79797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8CCAFD"/>
                </a:soli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B116A662-C3BA-489B-BA3B-8095168100EC}"/>
              </a:ext>
            </a:extLst>
          </p:cNvPr>
          <p:cNvGrpSpPr/>
          <p:nvPr/>
        </p:nvGrpSpPr>
        <p:grpSpPr>
          <a:xfrm>
            <a:off x="6178513" y="3617398"/>
            <a:ext cx="493265" cy="425229"/>
            <a:chOff x="6178514" y="3286702"/>
            <a:chExt cx="493265" cy="425229"/>
          </a:xfrm>
        </p:grpSpPr>
        <p:sp>
          <p:nvSpPr>
            <p:cNvPr id="52" name="Hexagon 51">
              <a:extLst>
                <a:ext uri="{FF2B5EF4-FFF2-40B4-BE49-F238E27FC236}">
                  <a16:creationId xmlns:a16="http://schemas.microsoft.com/office/drawing/2014/main" id="{32F05345-C724-4FB7-85A7-5040D0697930}"/>
                </a:ext>
              </a:extLst>
            </p:cNvPr>
            <p:cNvSpPr/>
            <p:nvPr/>
          </p:nvSpPr>
          <p:spPr>
            <a:xfrm>
              <a:off x="6178514" y="3286702"/>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0" name="Freeform 92">
              <a:extLst>
                <a:ext uri="{FF2B5EF4-FFF2-40B4-BE49-F238E27FC236}">
                  <a16:creationId xmlns:a16="http://schemas.microsoft.com/office/drawing/2014/main" id="{634739D0-A8CF-4A44-A04D-6B623CBEFF29}"/>
                </a:ext>
              </a:extLst>
            </p:cNvPr>
            <p:cNvSpPr>
              <a:spLocks noChangeAspect="1" noEditPoints="1"/>
            </p:cNvSpPr>
            <p:nvPr/>
          </p:nvSpPr>
          <p:spPr bwMode="black">
            <a:xfrm>
              <a:off x="6330273" y="3370052"/>
              <a:ext cx="189746" cy="258528"/>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797979"/>
            </a:solidFill>
            <a:ln>
              <a:noFill/>
            </a:ln>
            <a:extLst/>
          </p:spPr>
          <p:txBody>
            <a:bodyPr vert="horz" wrap="square" lIns="69953" tIns="34976" rIns="69953" bIns="3497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 name="Group 19">
            <a:extLst>
              <a:ext uri="{FF2B5EF4-FFF2-40B4-BE49-F238E27FC236}">
                <a16:creationId xmlns:a16="http://schemas.microsoft.com/office/drawing/2014/main" id="{C75531C4-9DC3-403F-87CF-D8A573C0A6F2}"/>
              </a:ext>
            </a:extLst>
          </p:cNvPr>
          <p:cNvGrpSpPr/>
          <p:nvPr/>
        </p:nvGrpSpPr>
        <p:grpSpPr>
          <a:xfrm>
            <a:off x="4641901" y="3361025"/>
            <a:ext cx="493265" cy="425229"/>
            <a:chOff x="4641902" y="3030329"/>
            <a:chExt cx="493265" cy="425229"/>
          </a:xfrm>
        </p:grpSpPr>
        <p:sp>
          <p:nvSpPr>
            <p:cNvPr id="92" name="Hexagon 91">
              <a:extLst>
                <a:ext uri="{FF2B5EF4-FFF2-40B4-BE49-F238E27FC236}">
                  <a16:creationId xmlns:a16="http://schemas.microsoft.com/office/drawing/2014/main" id="{E468B4EC-D350-4A58-91D6-8B975E75FE00}"/>
                </a:ext>
              </a:extLst>
            </p:cNvPr>
            <p:cNvSpPr/>
            <p:nvPr/>
          </p:nvSpPr>
          <p:spPr>
            <a:xfrm>
              <a:off x="4641902" y="3030329"/>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359FA461-281C-4095-AB96-426DB8CF1FFD}"/>
                </a:ext>
              </a:extLst>
            </p:cNvPr>
            <p:cNvSpPr/>
            <p:nvPr/>
          </p:nvSpPr>
          <p:spPr>
            <a:xfrm>
              <a:off x="4799060" y="3124639"/>
              <a:ext cx="178948" cy="236609"/>
            </a:xfrm>
            <a:custGeom>
              <a:avLst/>
              <a:gdLst>
                <a:gd name="connsiteX0" fmla="*/ 888688 w 888689"/>
                <a:gd name="connsiteY0" fmla="*/ 1016472 h 1175041"/>
                <a:gd name="connsiteX1" fmla="*/ 882028 w 888689"/>
                <a:gd name="connsiteY1" fmla="*/ 1047176 h 1175041"/>
                <a:gd name="connsiteX2" fmla="*/ 845422 w 888689"/>
                <a:gd name="connsiteY2" fmla="*/ 1091758 h 1175041"/>
                <a:gd name="connsiteX3" fmla="*/ 761005 w 888689"/>
                <a:gd name="connsiteY3" fmla="*/ 1136179 h 1175041"/>
                <a:gd name="connsiteX4" fmla="*/ 652702 w 888689"/>
                <a:gd name="connsiteY4" fmla="*/ 1163414 h 1175041"/>
                <a:gd name="connsiteX5" fmla="*/ 471227 w 888689"/>
                <a:gd name="connsiteY5" fmla="*/ 1174380 h 1175041"/>
                <a:gd name="connsiteX6" fmla="*/ 328233 w 888689"/>
                <a:gd name="connsiteY6" fmla="*/ 1159347 h 1175041"/>
                <a:gd name="connsiteX7" fmla="*/ 150108 w 888689"/>
                <a:gd name="connsiteY7" fmla="*/ 1107947 h 1175041"/>
                <a:gd name="connsiteX8" fmla="*/ 149430 w 888689"/>
                <a:gd name="connsiteY8" fmla="*/ 1107668 h 1175041"/>
                <a:gd name="connsiteX9" fmla="*/ 152301 w 888689"/>
                <a:gd name="connsiteY9" fmla="*/ 1107389 h 1175041"/>
                <a:gd name="connsiteX10" fmla="*/ 155570 w 888689"/>
                <a:gd name="connsiteY10" fmla="*/ 1108146 h 1175041"/>
                <a:gd name="connsiteX11" fmla="*/ 278149 w 888689"/>
                <a:gd name="connsiteY11" fmla="*/ 1130557 h 1175041"/>
                <a:gd name="connsiteX12" fmla="*/ 385814 w 888689"/>
                <a:gd name="connsiteY12" fmla="*/ 1140725 h 1175041"/>
                <a:gd name="connsiteX13" fmla="*/ 487935 w 888689"/>
                <a:gd name="connsiteY13" fmla="*/ 1141881 h 1175041"/>
                <a:gd name="connsiteX14" fmla="*/ 563301 w 888689"/>
                <a:gd name="connsiteY14" fmla="*/ 1137057 h 1175041"/>
                <a:gd name="connsiteX15" fmla="*/ 776317 w 888689"/>
                <a:gd name="connsiteY15" fmla="*/ 1087092 h 1175041"/>
                <a:gd name="connsiteX16" fmla="*/ 870145 w 888689"/>
                <a:gd name="connsiteY16" fmla="*/ 1032940 h 1175041"/>
                <a:gd name="connsiteX17" fmla="*/ 888688 w 888689"/>
                <a:gd name="connsiteY17" fmla="*/ 1016472 h 1175041"/>
                <a:gd name="connsiteX18" fmla="*/ 763159 w 888689"/>
                <a:gd name="connsiteY18" fmla="*/ 914948 h 1175041"/>
                <a:gd name="connsiteX19" fmla="*/ 764036 w 888689"/>
                <a:gd name="connsiteY19" fmla="*/ 914948 h 1175041"/>
                <a:gd name="connsiteX20" fmla="*/ 763518 w 888689"/>
                <a:gd name="connsiteY20" fmla="*/ 915706 h 1175041"/>
                <a:gd name="connsiteX21" fmla="*/ 143050 w 888689"/>
                <a:gd name="connsiteY21" fmla="*/ 907770 h 1175041"/>
                <a:gd name="connsiteX22" fmla="*/ 159798 w 888689"/>
                <a:gd name="connsiteY22" fmla="*/ 909365 h 1175041"/>
                <a:gd name="connsiteX23" fmla="*/ 168809 w 888689"/>
                <a:gd name="connsiteY23" fmla="*/ 912475 h 1175041"/>
                <a:gd name="connsiteX24" fmla="*/ 204937 w 888689"/>
                <a:gd name="connsiteY24" fmla="*/ 933291 h 1175041"/>
                <a:gd name="connsiteX25" fmla="*/ 185478 w 888689"/>
                <a:gd name="connsiteY25" fmla="*/ 931696 h 1175041"/>
                <a:gd name="connsiteX26" fmla="*/ 122075 w 888689"/>
                <a:gd name="connsiteY26" fmla="*/ 945652 h 1175041"/>
                <a:gd name="connsiteX27" fmla="*/ 108677 w 888689"/>
                <a:gd name="connsiteY27" fmla="*/ 956777 h 1175041"/>
                <a:gd name="connsiteX28" fmla="*/ 107799 w 888689"/>
                <a:gd name="connsiteY28" fmla="*/ 976715 h 1175041"/>
                <a:gd name="connsiteX29" fmla="*/ 128614 w 888689"/>
                <a:gd name="connsiteY29" fmla="*/ 994300 h 1175041"/>
                <a:gd name="connsiteX30" fmla="*/ 184799 w 888689"/>
                <a:gd name="connsiteY30" fmla="*/ 1013720 h 1175041"/>
                <a:gd name="connsiteX31" fmla="*/ 294299 w 888689"/>
                <a:gd name="connsiteY31" fmla="*/ 1030348 h 1175041"/>
                <a:gd name="connsiteX32" fmla="*/ 463970 w 888689"/>
                <a:gd name="connsiteY32" fmla="*/ 1034854 h 1175041"/>
                <a:gd name="connsiteX33" fmla="*/ 568724 w 888689"/>
                <a:gd name="connsiteY33" fmla="*/ 1027158 h 1175041"/>
                <a:gd name="connsiteX34" fmla="*/ 687554 w 888689"/>
                <a:gd name="connsiteY34" fmla="*/ 1002515 h 1175041"/>
                <a:gd name="connsiteX35" fmla="*/ 740150 w 888689"/>
                <a:gd name="connsiteY35" fmla="*/ 977114 h 1175041"/>
                <a:gd name="connsiteX36" fmla="*/ 760088 w 888689"/>
                <a:gd name="connsiteY36" fmla="*/ 957176 h 1175041"/>
                <a:gd name="connsiteX37" fmla="*/ 764993 w 888689"/>
                <a:gd name="connsiteY37" fmla="*/ 920291 h 1175041"/>
                <a:gd name="connsiteX38" fmla="*/ 763637 w 888689"/>
                <a:gd name="connsiteY38" fmla="*/ 915665 h 1175041"/>
                <a:gd name="connsiteX39" fmla="*/ 764036 w 888689"/>
                <a:gd name="connsiteY39" fmla="*/ 915027 h 1175041"/>
                <a:gd name="connsiteX40" fmla="*/ 787961 w 888689"/>
                <a:gd name="connsiteY40" fmla="*/ 929702 h 1175041"/>
                <a:gd name="connsiteX41" fmla="*/ 800402 w 888689"/>
                <a:gd name="connsiteY41" fmla="*/ 981979 h 1175041"/>
                <a:gd name="connsiteX42" fmla="*/ 769618 w 888689"/>
                <a:gd name="connsiteY42" fmla="*/ 1016272 h 1175041"/>
                <a:gd name="connsiteX43" fmla="*/ 701231 w 888689"/>
                <a:gd name="connsiteY43" fmla="*/ 1048651 h 1175041"/>
                <a:gd name="connsiteX44" fmla="*/ 605529 w 888689"/>
                <a:gd name="connsiteY44" fmla="*/ 1072058 h 1175041"/>
                <a:gd name="connsiteX45" fmla="*/ 531559 w 888689"/>
                <a:gd name="connsiteY45" fmla="*/ 1082306 h 1175041"/>
                <a:gd name="connsiteX46" fmla="*/ 407666 w 888689"/>
                <a:gd name="connsiteY46" fmla="*/ 1089564 h 1175041"/>
                <a:gd name="connsiteX47" fmla="*/ 313798 w 888689"/>
                <a:gd name="connsiteY47" fmla="*/ 1087929 h 1175041"/>
                <a:gd name="connsiteX48" fmla="*/ 235562 w 888689"/>
                <a:gd name="connsiteY48" fmla="*/ 1081668 h 1175041"/>
                <a:gd name="connsiteX49" fmla="*/ 95438 w 888689"/>
                <a:gd name="connsiteY49" fmla="*/ 1053357 h 1175041"/>
                <a:gd name="connsiteX50" fmla="*/ 33590 w 888689"/>
                <a:gd name="connsiteY50" fmla="*/ 1024487 h 1175041"/>
                <a:gd name="connsiteX51" fmla="*/ 8429 w 888689"/>
                <a:gd name="connsiteY51" fmla="*/ 999764 h 1175041"/>
                <a:gd name="connsiteX52" fmla="*/ 15088 w 888689"/>
                <a:gd name="connsiteY52" fmla="*/ 942502 h 1175041"/>
                <a:gd name="connsiteX53" fmla="*/ 68602 w 888689"/>
                <a:gd name="connsiteY53" fmla="*/ 914230 h 1175041"/>
                <a:gd name="connsiteX54" fmla="*/ 143050 w 888689"/>
                <a:gd name="connsiteY54" fmla="*/ 907770 h 1175041"/>
                <a:gd name="connsiteX55" fmla="*/ 290391 w 888689"/>
                <a:gd name="connsiteY55" fmla="*/ 843530 h 1175041"/>
                <a:gd name="connsiteX56" fmla="*/ 283852 w 888689"/>
                <a:gd name="connsiteY56" fmla="*/ 854735 h 1175041"/>
                <a:gd name="connsiteX57" fmla="*/ 289354 w 888689"/>
                <a:gd name="connsiteY57" fmla="*/ 868771 h 1175041"/>
                <a:gd name="connsiteX58" fmla="*/ 315513 w 888689"/>
                <a:gd name="connsiteY58" fmla="*/ 878860 h 1175041"/>
                <a:gd name="connsiteX59" fmla="*/ 390758 w 888689"/>
                <a:gd name="connsiteY59" fmla="*/ 882847 h 1175041"/>
                <a:gd name="connsiteX60" fmla="*/ 456554 w 888689"/>
                <a:gd name="connsiteY60" fmla="*/ 876428 h 1175041"/>
                <a:gd name="connsiteX61" fmla="*/ 537581 w 888689"/>
                <a:gd name="connsiteY61" fmla="*/ 855613 h 1175041"/>
                <a:gd name="connsiteX62" fmla="*/ 542047 w 888689"/>
                <a:gd name="connsiteY62" fmla="*/ 855613 h 1175041"/>
                <a:gd name="connsiteX63" fmla="*/ 611312 w 888689"/>
                <a:gd name="connsiteY63" fmla="*/ 901908 h 1175041"/>
                <a:gd name="connsiteX64" fmla="*/ 612109 w 888689"/>
                <a:gd name="connsiteY64" fmla="*/ 902905 h 1175041"/>
                <a:gd name="connsiteX65" fmla="*/ 600944 w 888689"/>
                <a:gd name="connsiteY65" fmla="*/ 909206 h 1175041"/>
                <a:gd name="connsiteX66" fmla="*/ 518441 w 888689"/>
                <a:gd name="connsiteY66" fmla="*/ 938634 h 1175041"/>
                <a:gd name="connsiteX67" fmla="*/ 433625 w 888689"/>
                <a:gd name="connsiteY67" fmla="*/ 951275 h 1175041"/>
                <a:gd name="connsiteX68" fmla="*/ 345898 w 888689"/>
                <a:gd name="connsiteY68" fmla="*/ 952312 h 1175041"/>
                <a:gd name="connsiteX69" fmla="*/ 271211 w 888689"/>
                <a:gd name="connsiteY69" fmla="*/ 941665 h 1175041"/>
                <a:gd name="connsiteX70" fmla="*/ 227866 w 888689"/>
                <a:gd name="connsiteY70" fmla="*/ 923601 h 1175041"/>
                <a:gd name="connsiteX71" fmla="*/ 211916 w 888689"/>
                <a:gd name="connsiteY71" fmla="*/ 903025 h 1175041"/>
                <a:gd name="connsiteX72" fmla="*/ 220649 w 888689"/>
                <a:gd name="connsiteY72" fmla="*/ 873716 h 1175041"/>
                <a:gd name="connsiteX73" fmla="*/ 270772 w 888689"/>
                <a:gd name="connsiteY73" fmla="*/ 845205 h 1175041"/>
                <a:gd name="connsiteX74" fmla="*/ 290391 w 888689"/>
                <a:gd name="connsiteY74" fmla="*/ 843530 h 1175041"/>
                <a:gd name="connsiteX75" fmla="*/ 250675 w 888689"/>
                <a:gd name="connsiteY75" fmla="*/ 720394 h 1175041"/>
                <a:gd name="connsiteX76" fmla="*/ 253306 w 888689"/>
                <a:gd name="connsiteY76" fmla="*/ 720394 h 1175041"/>
                <a:gd name="connsiteX77" fmla="*/ 257613 w 888689"/>
                <a:gd name="connsiteY77" fmla="*/ 720394 h 1175041"/>
                <a:gd name="connsiteX78" fmla="*/ 250954 w 888689"/>
                <a:gd name="connsiteY78" fmla="*/ 727252 h 1175041"/>
                <a:gd name="connsiteX79" fmla="*/ 254543 w 888689"/>
                <a:gd name="connsiteY79" fmla="*/ 754886 h 1175041"/>
                <a:gd name="connsiteX80" fmla="*/ 284888 w 888689"/>
                <a:gd name="connsiteY80" fmla="*/ 766849 h 1175041"/>
                <a:gd name="connsiteX81" fmla="*/ 350963 w 888689"/>
                <a:gd name="connsiteY81" fmla="*/ 774863 h 1175041"/>
                <a:gd name="connsiteX82" fmla="*/ 436536 w 888689"/>
                <a:gd name="connsiteY82" fmla="*/ 773269 h 1175041"/>
                <a:gd name="connsiteX83" fmla="*/ 560151 w 888689"/>
                <a:gd name="connsiteY83" fmla="*/ 750619 h 1175041"/>
                <a:gd name="connsiteX84" fmla="*/ 564657 w 888689"/>
                <a:gd name="connsiteY84" fmla="*/ 751018 h 1175041"/>
                <a:gd name="connsiteX85" fmla="*/ 629017 w 888689"/>
                <a:gd name="connsiteY85" fmla="*/ 791332 h 1175041"/>
                <a:gd name="connsiteX86" fmla="*/ 630532 w 888689"/>
                <a:gd name="connsiteY86" fmla="*/ 792449 h 1175041"/>
                <a:gd name="connsiteX87" fmla="*/ 574706 w 888689"/>
                <a:gd name="connsiteY87" fmla="*/ 811549 h 1175041"/>
                <a:gd name="connsiteX88" fmla="*/ 485304 w 888689"/>
                <a:gd name="connsiteY88" fmla="*/ 830051 h 1175041"/>
                <a:gd name="connsiteX89" fmla="*/ 352119 w 888689"/>
                <a:gd name="connsiteY89" fmla="*/ 836073 h 1175041"/>
                <a:gd name="connsiteX90" fmla="*/ 227427 w 888689"/>
                <a:gd name="connsiteY90" fmla="*/ 816773 h 1175041"/>
                <a:gd name="connsiteX91" fmla="*/ 185836 w 888689"/>
                <a:gd name="connsiteY91" fmla="*/ 798032 h 1175041"/>
                <a:gd name="connsiteX92" fmla="*/ 171043 w 888689"/>
                <a:gd name="connsiteY92" fmla="*/ 780765 h 1175041"/>
                <a:gd name="connsiteX93" fmla="*/ 175788 w 888689"/>
                <a:gd name="connsiteY93" fmla="*/ 759352 h 1175041"/>
                <a:gd name="connsiteX94" fmla="*/ 202824 w 888689"/>
                <a:gd name="connsiteY94" fmla="*/ 736344 h 1175041"/>
                <a:gd name="connsiteX95" fmla="*/ 250675 w 888689"/>
                <a:gd name="connsiteY95" fmla="*/ 720394 h 1175041"/>
                <a:gd name="connsiteX96" fmla="*/ 469434 w 888689"/>
                <a:gd name="connsiteY96" fmla="*/ 634317 h 1175041"/>
                <a:gd name="connsiteX97" fmla="*/ 469434 w 888689"/>
                <a:gd name="connsiteY97" fmla="*/ 634740 h 1175041"/>
                <a:gd name="connsiteX98" fmla="*/ 468955 w 888689"/>
                <a:gd name="connsiteY98" fmla="*/ 634541 h 1175041"/>
                <a:gd name="connsiteX99" fmla="*/ 469434 w 888689"/>
                <a:gd name="connsiteY99" fmla="*/ 634182 h 1175041"/>
                <a:gd name="connsiteX100" fmla="*/ 469553 w 888689"/>
                <a:gd name="connsiteY100" fmla="*/ 634262 h 1175041"/>
                <a:gd name="connsiteX101" fmla="*/ 469434 w 888689"/>
                <a:gd name="connsiteY101" fmla="*/ 634317 h 1175041"/>
                <a:gd name="connsiteX102" fmla="*/ 469687 w 888689"/>
                <a:gd name="connsiteY102" fmla="*/ 633993 h 1175041"/>
                <a:gd name="connsiteX103" fmla="*/ 469513 w 888689"/>
                <a:gd name="connsiteY103" fmla="*/ 634182 h 1175041"/>
                <a:gd name="connsiteX104" fmla="*/ 469354 w 888689"/>
                <a:gd name="connsiteY104" fmla="*/ 634023 h 1175041"/>
                <a:gd name="connsiteX105" fmla="*/ 311087 w 888689"/>
                <a:gd name="connsiteY105" fmla="*/ 590079 h 1175041"/>
                <a:gd name="connsiteX106" fmla="*/ 297289 w 888689"/>
                <a:gd name="connsiteY106" fmla="*/ 593788 h 1175041"/>
                <a:gd name="connsiteX107" fmla="*/ 230817 w 888689"/>
                <a:gd name="connsiteY107" fmla="*/ 617713 h 1175041"/>
                <a:gd name="connsiteX108" fmla="*/ 214029 w 888689"/>
                <a:gd name="connsiteY108" fmla="*/ 629357 h 1175041"/>
                <a:gd name="connsiteX109" fmla="*/ 217059 w 888689"/>
                <a:gd name="connsiteY109" fmla="*/ 643992 h 1175041"/>
                <a:gd name="connsiteX110" fmla="*/ 245491 w 888689"/>
                <a:gd name="connsiteY110" fmla="*/ 649853 h 1175041"/>
                <a:gd name="connsiteX111" fmla="*/ 418871 w 888689"/>
                <a:gd name="connsiteY111" fmla="*/ 653841 h 1175041"/>
                <a:gd name="connsiteX112" fmla="*/ 517085 w 888689"/>
                <a:gd name="connsiteY112" fmla="*/ 648777 h 1175041"/>
                <a:gd name="connsiteX113" fmla="*/ 610793 w 888689"/>
                <a:gd name="connsiteY113" fmla="*/ 639485 h 1175041"/>
                <a:gd name="connsiteX114" fmla="*/ 668214 w 888689"/>
                <a:gd name="connsiteY114" fmla="*/ 629955 h 1175041"/>
                <a:gd name="connsiteX115" fmla="*/ 669969 w 888689"/>
                <a:gd name="connsiteY115" fmla="*/ 629955 h 1175041"/>
                <a:gd name="connsiteX116" fmla="*/ 661994 w 888689"/>
                <a:gd name="connsiteY116" fmla="*/ 637332 h 1175041"/>
                <a:gd name="connsiteX117" fmla="*/ 600146 w 888689"/>
                <a:gd name="connsiteY117" fmla="*/ 685183 h 1175041"/>
                <a:gd name="connsiteX118" fmla="*/ 588782 w 888689"/>
                <a:gd name="connsiteY118" fmla="*/ 688294 h 1175041"/>
                <a:gd name="connsiteX119" fmla="*/ 492881 w 888689"/>
                <a:gd name="connsiteY119" fmla="*/ 703207 h 1175041"/>
                <a:gd name="connsiteX120" fmla="*/ 394188 w 888689"/>
                <a:gd name="connsiteY120" fmla="*/ 711741 h 1175041"/>
                <a:gd name="connsiteX121" fmla="*/ 284649 w 888689"/>
                <a:gd name="connsiteY121" fmla="*/ 713695 h 1175041"/>
                <a:gd name="connsiteX122" fmla="*/ 182607 w 888689"/>
                <a:gd name="connsiteY122" fmla="*/ 705520 h 1175041"/>
                <a:gd name="connsiteX123" fmla="*/ 114060 w 888689"/>
                <a:gd name="connsiteY123" fmla="*/ 687257 h 1175041"/>
                <a:gd name="connsiteX124" fmla="*/ 92089 w 888689"/>
                <a:gd name="connsiteY124" fmla="*/ 672702 h 1175041"/>
                <a:gd name="connsiteX125" fmla="*/ 89058 w 888689"/>
                <a:gd name="connsiteY125" fmla="*/ 637252 h 1175041"/>
                <a:gd name="connsiteX126" fmla="*/ 110432 w 888689"/>
                <a:gd name="connsiteY126" fmla="*/ 619667 h 1175041"/>
                <a:gd name="connsiteX127" fmla="*/ 162589 w 888689"/>
                <a:gd name="connsiteY127" fmla="*/ 602401 h 1175041"/>
                <a:gd name="connsiteX128" fmla="*/ 256297 w 888689"/>
                <a:gd name="connsiteY128" fmla="*/ 591076 h 1175041"/>
                <a:gd name="connsiteX129" fmla="*/ 311087 w 888689"/>
                <a:gd name="connsiteY129" fmla="*/ 590079 h 1175041"/>
                <a:gd name="connsiteX130" fmla="*/ 760218 w 888689"/>
                <a:gd name="connsiteY130" fmla="*/ 588025 h 1175041"/>
                <a:gd name="connsiteX131" fmla="*/ 790354 w 888689"/>
                <a:gd name="connsiteY131" fmla="*/ 592591 h 1175041"/>
                <a:gd name="connsiteX132" fmla="*/ 843428 w 888689"/>
                <a:gd name="connsiteY132" fmla="*/ 654598 h 1175041"/>
                <a:gd name="connsiteX133" fmla="*/ 798209 w 888689"/>
                <a:gd name="connsiteY133" fmla="*/ 784793 h 1175041"/>
                <a:gd name="connsiteX134" fmla="*/ 695090 w 888689"/>
                <a:gd name="connsiteY134" fmla="*/ 835395 h 1175041"/>
                <a:gd name="connsiteX135" fmla="*/ 663748 w 888689"/>
                <a:gd name="connsiteY135" fmla="*/ 841695 h 1175041"/>
                <a:gd name="connsiteX136" fmla="*/ 664745 w 888689"/>
                <a:gd name="connsiteY136" fmla="*/ 840021 h 1175041"/>
                <a:gd name="connsiteX137" fmla="*/ 742264 w 888689"/>
                <a:gd name="connsiteY137" fmla="*/ 767447 h 1175041"/>
                <a:gd name="connsiteX138" fmla="*/ 778152 w 888689"/>
                <a:gd name="connsiteY138" fmla="*/ 699658 h 1175041"/>
                <a:gd name="connsiteX139" fmla="*/ 777753 w 888689"/>
                <a:gd name="connsiteY139" fmla="*/ 658466 h 1175041"/>
                <a:gd name="connsiteX140" fmla="*/ 738715 w 888689"/>
                <a:gd name="connsiteY140" fmla="*/ 620703 h 1175041"/>
                <a:gd name="connsiteX141" fmla="*/ 686278 w 888689"/>
                <a:gd name="connsiteY141" fmla="*/ 615878 h 1175041"/>
                <a:gd name="connsiteX142" fmla="*/ 730141 w 888689"/>
                <a:gd name="connsiteY142" fmla="*/ 593149 h 1175041"/>
                <a:gd name="connsiteX143" fmla="*/ 760218 w 888689"/>
                <a:gd name="connsiteY143" fmla="*/ 588025 h 1175041"/>
                <a:gd name="connsiteX144" fmla="*/ 704621 w 888689"/>
                <a:gd name="connsiteY144" fmla="*/ 204241 h 1175041"/>
                <a:gd name="connsiteX145" fmla="*/ 700633 w 888689"/>
                <a:gd name="connsiteY145" fmla="*/ 207351 h 1175041"/>
                <a:gd name="connsiteX146" fmla="*/ 594883 w 888689"/>
                <a:gd name="connsiteY146" fmla="*/ 284630 h 1175041"/>
                <a:gd name="connsiteX147" fmla="*/ 541888 w 888689"/>
                <a:gd name="connsiteY147" fmla="*/ 338742 h 1175041"/>
                <a:gd name="connsiteX148" fmla="*/ 528330 w 888689"/>
                <a:gd name="connsiteY148" fmla="*/ 369766 h 1175041"/>
                <a:gd name="connsiteX149" fmla="*/ 534830 w 888689"/>
                <a:gd name="connsiteY149" fmla="*/ 407647 h 1175041"/>
                <a:gd name="connsiteX150" fmla="*/ 558755 w 888689"/>
                <a:gd name="connsiteY150" fmla="*/ 454701 h 1175041"/>
                <a:gd name="connsiteX151" fmla="*/ 578255 w 888689"/>
                <a:gd name="connsiteY151" fmla="*/ 502592 h 1175041"/>
                <a:gd name="connsiteX152" fmla="*/ 564298 w 888689"/>
                <a:gd name="connsiteY152" fmla="*/ 572814 h 1175041"/>
                <a:gd name="connsiteX153" fmla="*/ 504484 w 888689"/>
                <a:gd name="connsiteY153" fmla="*/ 622538 h 1175041"/>
                <a:gd name="connsiteX154" fmla="*/ 473341 w 888689"/>
                <a:gd name="connsiteY154" fmla="*/ 633664 h 1175041"/>
                <a:gd name="connsiteX155" fmla="*/ 469687 w 888689"/>
                <a:gd name="connsiteY155" fmla="*/ 633993 h 1175041"/>
                <a:gd name="connsiteX156" fmla="*/ 489132 w 888689"/>
                <a:gd name="connsiteY156" fmla="*/ 612809 h 1175041"/>
                <a:gd name="connsiteX157" fmla="*/ 510904 w 888689"/>
                <a:gd name="connsiteY157" fmla="*/ 567191 h 1175041"/>
                <a:gd name="connsiteX158" fmla="*/ 504245 w 888689"/>
                <a:gd name="connsiteY158" fmla="*/ 525162 h 1175041"/>
                <a:gd name="connsiteX159" fmla="*/ 476332 w 888689"/>
                <a:gd name="connsiteY159" fmla="*/ 480261 h 1175041"/>
                <a:gd name="connsiteX160" fmla="*/ 449416 w 888689"/>
                <a:gd name="connsiteY160" fmla="*/ 430616 h 1175041"/>
                <a:gd name="connsiteX161" fmla="*/ 448219 w 888689"/>
                <a:gd name="connsiteY161" fmla="*/ 359996 h 1175041"/>
                <a:gd name="connsiteX162" fmla="*/ 508033 w 888689"/>
                <a:gd name="connsiteY162" fmla="*/ 272588 h 1175041"/>
                <a:gd name="connsiteX163" fmla="*/ 607722 w 888689"/>
                <a:gd name="connsiteY163" fmla="*/ 223341 h 1175041"/>
                <a:gd name="connsiteX164" fmla="*/ 697882 w 888689"/>
                <a:gd name="connsiteY164" fmla="*/ 204719 h 1175041"/>
                <a:gd name="connsiteX165" fmla="*/ 704621 w 888689"/>
                <a:gd name="connsiteY165" fmla="*/ 204241 h 1175041"/>
                <a:gd name="connsiteX166" fmla="*/ 519239 w 888689"/>
                <a:gd name="connsiteY166" fmla="*/ 156 h 1175041"/>
                <a:gd name="connsiteX167" fmla="*/ 521153 w 888689"/>
                <a:gd name="connsiteY167" fmla="*/ 1233 h 1175041"/>
                <a:gd name="connsiteX168" fmla="*/ 550940 w 888689"/>
                <a:gd name="connsiteY168" fmla="*/ 80386 h 1175041"/>
                <a:gd name="connsiteX169" fmla="*/ 538977 w 888689"/>
                <a:gd name="connsiteY169" fmla="*/ 160138 h 1175041"/>
                <a:gd name="connsiteX170" fmla="*/ 491246 w 888689"/>
                <a:gd name="connsiteY170" fmla="*/ 235423 h 1175041"/>
                <a:gd name="connsiteX171" fmla="*/ 423098 w 888689"/>
                <a:gd name="connsiteY171" fmla="*/ 308875 h 1175041"/>
                <a:gd name="connsiteX172" fmla="*/ 370581 w 888689"/>
                <a:gd name="connsiteY172" fmla="*/ 371041 h 1175041"/>
                <a:gd name="connsiteX173" fmla="*/ 352597 w 888689"/>
                <a:gd name="connsiteY173" fmla="*/ 411236 h 1175041"/>
                <a:gd name="connsiteX174" fmla="*/ 357223 w 888689"/>
                <a:gd name="connsiteY174" fmla="*/ 454302 h 1175041"/>
                <a:gd name="connsiteX175" fmla="*/ 410178 w 888689"/>
                <a:gd name="connsiteY175" fmla="*/ 567470 h 1175041"/>
                <a:gd name="connsiteX176" fmla="*/ 433585 w 888689"/>
                <a:gd name="connsiteY176" fmla="*/ 607345 h 1175041"/>
                <a:gd name="connsiteX177" fmla="*/ 434702 w 888689"/>
                <a:gd name="connsiteY177" fmla="*/ 611014 h 1175041"/>
                <a:gd name="connsiteX178" fmla="*/ 382624 w 888689"/>
                <a:gd name="connsiteY178" fmla="*/ 569264 h 1175041"/>
                <a:gd name="connsiteX179" fmla="*/ 327236 w 888689"/>
                <a:gd name="connsiteY179" fmla="*/ 513757 h 1175041"/>
                <a:gd name="connsiteX180" fmla="*/ 272526 w 888689"/>
                <a:gd name="connsiteY180" fmla="*/ 426429 h 1175041"/>
                <a:gd name="connsiteX181" fmla="*/ 288796 w 888689"/>
                <a:gd name="connsiteY181" fmla="*/ 315415 h 1175041"/>
                <a:gd name="connsiteX182" fmla="*/ 343585 w 888689"/>
                <a:gd name="connsiteY182" fmla="*/ 257315 h 1175041"/>
                <a:gd name="connsiteX183" fmla="*/ 422540 w 888689"/>
                <a:gd name="connsiteY183" fmla="*/ 190922 h 1175041"/>
                <a:gd name="connsiteX184" fmla="*/ 495991 w 888689"/>
                <a:gd name="connsiteY184" fmla="*/ 117112 h 1175041"/>
                <a:gd name="connsiteX185" fmla="*/ 524502 w 888689"/>
                <a:gd name="connsiteY185" fmla="*/ 56700 h 1175041"/>
                <a:gd name="connsiteX186" fmla="*/ 519239 w 888689"/>
                <a:gd name="connsiteY186" fmla="*/ 156 h 117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888689" h="1175041">
                  <a:moveTo>
                    <a:pt x="888688" y="1016472"/>
                  </a:moveTo>
                  <a:cubicBezTo>
                    <a:pt x="888747" y="1027071"/>
                    <a:pt x="886474" y="1037554"/>
                    <a:pt x="882028" y="1047176"/>
                  </a:cubicBezTo>
                  <a:cubicBezTo>
                    <a:pt x="873678" y="1064821"/>
                    <a:pt x="861105" y="1080133"/>
                    <a:pt x="845422" y="1091758"/>
                  </a:cubicBezTo>
                  <a:cubicBezTo>
                    <a:pt x="820101" y="1111695"/>
                    <a:pt x="791191" y="1125293"/>
                    <a:pt x="761005" y="1136179"/>
                  </a:cubicBezTo>
                  <a:cubicBezTo>
                    <a:pt x="725818" y="1148573"/>
                    <a:pt x="689563" y="1157688"/>
                    <a:pt x="652702" y="1163414"/>
                  </a:cubicBezTo>
                  <a:cubicBezTo>
                    <a:pt x="592717" y="1173000"/>
                    <a:pt x="531930" y="1176673"/>
                    <a:pt x="471227" y="1174380"/>
                  </a:cubicBezTo>
                  <a:cubicBezTo>
                    <a:pt x="423261" y="1172845"/>
                    <a:pt x="375470" y="1167821"/>
                    <a:pt x="328233" y="1159347"/>
                  </a:cubicBezTo>
                  <a:cubicBezTo>
                    <a:pt x="267174" y="1148704"/>
                    <a:pt x="207450" y="1131470"/>
                    <a:pt x="150108" y="1107947"/>
                  </a:cubicBezTo>
                  <a:lnTo>
                    <a:pt x="149430" y="1107668"/>
                  </a:lnTo>
                  <a:cubicBezTo>
                    <a:pt x="150347" y="1106671"/>
                    <a:pt x="151384" y="1107269"/>
                    <a:pt x="152301" y="1107389"/>
                  </a:cubicBezTo>
                  <a:cubicBezTo>
                    <a:pt x="153218" y="1107509"/>
                    <a:pt x="154494" y="1107907"/>
                    <a:pt x="155570" y="1108146"/>
                  </a:cubicBezTo>
                  <a:cubicBezTo>
                    <a:pt x="196084" y="1117557"/>
                    <a:pt x="236917" y="1124934"/>
                    <a:pt x="278149" y="1130557"/>
                  </a:cubicBezTo>
                  <a:cubicBezTo>
                    <a:pt x="313824" y="1135422"/>
                    <a:pt x="349713" y="1138811"/>
                    <a:pt x="385814" y="1140725"/>
                  </a:cubicBezTo>
                  <a:cubicBezTo>
                    <a:pt x="419840" y="1142532"/>
                    <a:pt x="453882" y="1142918"/>
                    <a:pt x="487935" y="1141881"/>
                  </a:cubicBezTo>
                  <a:cubicBezTo>
                    <a:pt x="513097" y="1141044"/>
                    <a:pt x="538259" y="1139648"/>
                    <a:pt x="563301" y="1137057"/>
                  </a:cubicBezTo>
                  <a:cubicBezTo>
                    <a:pt x="636393" y="1129360"/>
                    <a:pt x="708010" y="1115324"/>
                    <a:pt x="776317" y="1087092"/>
                  </a:cubicBezTo>
                  <a:cubicBezTo>
                    <a:pt x="810032" y="1073646"/>
                    <a:pt x="841634" y="1055407"/>
                    <a:pt x="870145" y="1032940"/>
                  </a:cubicBezTo>
                  <a:cubicBezTo>
                    <a:pt x="876621" y="1027792"/>
                    <a:pt x="882810" y="1022294"/>
                    <a:pt x="888688" y="1016472"/>
                  </a:cubicBezTo>
                  <a:close/>
                  <a:moveTo>
                    <a:pt x="763159" y="914948"/>
                  </a:moveTo>
                  <a:lnTo>
                    <a:pt x="764036" y="914948"/>
                  </a:lnTo>
                  <a:lnTo>
                    <a:pt x="763518" y="915706"/>
                  </a:lnTo>
                  <a:close/>
                  <a:moveTo>
                    <a:pt x="143050" y="907770"/>
                  </a:moveTo>
                  <a:cubicBezTo>
                    <a:pt x="148632" y="908169"/>
                    <a:pt x="154215" y="909006"/>
                    <a:pt x="159798" y="909365"/>
                  </a:cubicBezTo>
                  <a:cubicBezTo>
                    <a:pt x="163007" y="909664"/>
                    <a:pt x="166098" y="910733"/>
                    <a:pt x="168809" y="912475"/>
                  </a:cubicBezTo>
                  <a:cubicBezTo>
                    <a:pt x="180772" y="919374"/>
                    <a:pt x="192934" y="926153"/>
                    <a:pt x="204937" y="933291"/>
                  </a:cubicBezTo>
                  <a:cubicBezTo>
                    <a:pt x="198397" y="932653"/>
                    <a:pt x="191977" y="931855"/>
                    <a:pt x="185478" y="931696"/>
                  </a:cubicBezTo>
                  <a:cubicBezTo>
                    <a:pt x="163477" y="930615"/>
                    <a:pt x="141588" y="935436"/>
                    <a:pt x="122075" y="945652"/>
                  </a:cubicBezTo>
                  <a:cubicBezTo>
                    <a:pt x="116843" y="948328"/>
                    <a:pt x="112269" y="952128"/>
                    <a:pt x="108677" y="956777"/>
                  </a:cubicBezTo>
                  <a:cubicBezTo>
                    <a:pt x="103905" y="962460"/>
                    <a:pt x="103545" y="970638"/>
                    <a:pt x="107799" y="976715"/>
                  </a:cubicBezTo>
                  <a:cubicBezTo>
                    <a:pt x="112946" y="984419"/>
                    <a:pt x="120160" y="990512"/>
                    <a:pt x="128614" y="994300"/>
                  </a:cubicBezTo>
                  <a:cubicBezTo>
                    <a:pt x="146438" y="1003141"/>
                    <a:pt x="165320" y="1009669"/>
                    <a:pt x="184799" y="1013720"/>
                  </a:cubicBezTo>
                  <a:cubicBezTo>
                    <a:pt x="220860" y="1021847"/>
                    <a:pt x="257451" y="1027405"/>
                    <a:pt x="294299" y="1030348"/>
                  </a:cubicBezTo>
                  <a:cubicBezTo>
                    <a:pt x="350713" y="1035277"/>
                    <a:pt x="407374" y="1036784"/>
                    <a:pt x="463970" y="1034854"/>
                  </a:cubicBezTo>
                  <a:cubicBezTo>
                    <a:pt x="498981" y="1033778"/>
                    <a:pt x="533912" y="1031385"/>
                    <a:pt x="568724" y="1027158"/>
                  </a:cubicBezTo>
                  <a:cubicBezTo>
                    <a:pt x="608999" y="1022213"/>
                    <a:pt x="648914" y="1015435"/>
                    <a:pt x="687554" y="1002515"/>
                  </a:cubicBezTo>
                  <a:cubicBezTo>
                    <a:pt x="706267" y="996753"/>
                    <a:pt x="724000" y="988187"/>
                    <a:pt x="740150" y="977114"/>
                  </a:cubicBezTo>
                  <a:cubicBezTo>
                    <a:pt x="748030" y="971826"/>
                    <a:pt x="754800" y="965056"/>
                    <a:pt x="760088" y="957176"/>
                  </a:cubicBezTo>
                  <a:cubicBezTo>
                    <a:pt x="767162" y="946234"/>
                    <a:pt x="768964" y="932700"/>
                    <a:pt x="764993" y="920291"/>
                  </a:cubicBezTo>
                  <a:cubicBezTo>
                    <a:pt x="764554" y="918736"/>
                    <a:pt x="764075" y="917221"/>
                    <a:pt x="763637" y="915665"/>
                  </a:cubicBezTo>
                  <a:lnTo>
                    <a:pt x="764036" y="915027"/>
                  </a:lnTo>
                  <a:cubicBezTo>
                    <a:pt x="772497" y="919075"/>
                    <a:pt x="780516" y="923996"/>
                    <a:pt x="787961" y="929702"/>
                  </a:cubicBezTo>
                  <a:cubicBezTo>
                    <a:pt x="805427" y="943778"/>
                    <a:pt x="809534" y="960924"/>
                    <a:pt x="800402" y="981979"/>
                  </a:cubicBezTo>
                  <a:cubicBezTo>
                    <a:pt x="793942" y="996773"/>
                    <a:pt x="782498" y="1007260"/>
                    <a:pt x="769618" y="1016272"/>
                  </a:cubicBezTo>
                  <a:cubicBezTo>
                    <a:pt x="748528" y="1030352"/>
                    <a:pt x="725488" y="1041262"/>
                    <a:pt x="701231" y="1048651"/>
                  </a:cubicBezTo>
                  <a:cubicBezTo>
                    <a:pt x="669956" y="1058828"/>
                    <a:pt x="637968" y="1066651"/>
                    <a:pt x="605529" y="1072058"/>
                  </a:cubicBezTo>
                  <a:cubicBezTo>
                    <a:pt x="580966" y="1076365"/>
                    <a:pt x="556310" y="1079782"/>
                    <a:pt x="531559" y="1082306"/>
                  </a:cubicBezTo>
                  <a:cubicBezTo>
                    <a:pt x="490368" y="1086613"/>
                    <a:pt x="449056" y="1088886"/>
                    <a:pt x="407666" y="1089564"/>
                  </a:cubicBezTo>
                  <a:cubicBezTo>
                    <a:pt x="376363" y="1090082"/>
                    <a:pt x="345060" y="1089564"/>
                    <a:pt x="313798" y="1087929"/>
                  </a:cubicBezTo>
                  <a:cubicBezTo>
                    <a:pt x="287639" y="1086693"/>
                    <a:pt x="261561" y="1084699"/>
                    <a:pt x="235562" y="1081668"/>
                  </a:cubicBezTo>
                  <a:cubicBezTo>
                    <a:pt x="188069" y="1076125"/>
                    <a:pt x="141016" y="1068310"/>
                    <a:pt x="95438" y="1053357"/>
                  </a:cubicBezTo>
                  <a:cubicBezTo>
                    <a:pt x="73544" y="1046749"/>
                    <a:pt x="52714" y="1037028"/>
                    <a:pt x="33590" y="1024487"/>
                  </a:cubicBezTo>
                  <a:cubicBezTo>
                    <a:pt x="23619" y="1018031"/>
                    <a:pt x="15060" y="1009621"/>
                    <a:pt x="8429" y="999764"/>
                  </a:cubicBezTo>
                  <a:cubicBezTo>
                    <a:pt x="-4730" y="979267"/>
                    <a:pt x="-2457" y="959369"/>
                    <a:pt x="15088" y="942502"/>
                  </a:cubicBezTo>
                  <a:cubicBezTo>
                    <a:pt x="30201" y="927947"/>
                    <a:pt x="48743" y="919773"/>
                    <a:pt x="68602" y="914230"/>
                  </a:cubicBezTo>
                  <a:cubicBezTo>
                    <a:pt x="92871" y="907866"/>
                    <a:pt x="118047" y="905681"/>
                    <a:pt x="143050" y="907770"/>
                  </a:cubicBezTo>
                  <a:close/>
                  <a:moveTo>
                    <a:pt x="290391" y="843530"/>
                  </a:moveTo>
                  <a:cubicBezTo>
                    <a:pt x="287405" y="846732"/>
                    <a:pt x="285171" y="850560"/>
                    <a:pt x="283852" y="854735"/>
                  </a:cubicBezTo>
                  <a:cubicBezTo>
                    <a:pt x="282457" y="860111"/>
                    <a:pt x="284678" y="865777"/>
                    <a:pt x="289354" y="868771"/>
                  </a:cubicBezTo>
                  <a:cubicBezTo>
                    <a:pt x="297151" y="874159"/>
                    <a:pt x="306117" y="877616"/>
                    <a:pt x="315513" y="878860"/>
                  </a:cubicBezTo>
                  <a:cubicBezTo>
                    <a:pt x="340358" y="883075"/>
                    <a:pt x="365607" y="884415"/>
                    <a:pt x="390758" y="882847"/>
                  </a:cubicBezTo>
                  <a:cubicBezTo>
                    <a:pt x="412798" y="882006"/>
                    <a:pt x="434765" y="879861"/>
                    <a:pt x="456554" y="876428"/>
                  </a:cubicBezTo>
                  <a:cubicBezTo>
                    <a:pt x="484283" y="872683"/>
                    <a:pt x="511478" y="865697"/>
                    <a:pt x="537581" y="855613"/>
                  </a:cubicBezTo>
                  <a:cubicBezTo>
                    <a:pt x="538929" y="854699"/>
                    <a:pt x="540699" y="854699"/>
                    <a:pt x="542047" y="855613"/>
                  </a:cubicBezTo>
                  <a:cubicBezTo>
                    <a:pt x="565095" y="871084"/>
                    <a:pt x="588184" y="886516"/>
                    <a:pt x="611312" y="901908"/>
                  </a:cubicBezTo>
                  <a:cubicBezTo>
                    <a:pt x="611511" y="901908"/>
                    <a:pt x="611631" y="902267"/>
                    <a:pt x="612109" y="902905"/>
                  </a:cubicBezTo>
                  <a:cubicBezTo>
                    <a:pt x="608360" y="905059"/>
                    <a:pt x="604692" y="907212"/>
                    <a:pt x="600944" y="909206"/>
                  </a:cubicBezTo>
                  <a:cubicBezTo>
                    <a:pt x="574857" y="922600"/>
                    <a:pt x="547115" y="932493"/>
                    <a:pt x="518441" y="938634"/>
                  </a:cubicBezTo>
                  <a:cubicBezTo>
                    <a:pt x="490524" y="944954"/>
                    <a:pt x="462172" y="949181"/>
                    <a:pt x="433625" y="951275"/>
                  </a:cubicBezTo>
                  <a:cubicBezTo>
                    <a:pt x="404440" y="953627"/>
                    <a:pt x="375130" y="953974"/>
                    <a:pt x="345898" y="952312"/>
                  </a:cubicBezTo>
                  <a:cubicBezTo>
                    <a:pt x="320716" y="951195"/>
                    <a:pt x="295702" y="947630"/>
                    <a:pt x="271211" y="941665"/>
                  </a:cubicBezTo>
                  <a:cubicBezTo>
                    <a:pt x="255786" y="938327"/>
                    <a:pt x="241098" y="932206"/>
                    <a:pt x="227866" y="923601"/>
                  </a:cubicBezTo>
                  <a:cubicBezTo>
                    <a:pt x="220110" y="919039"/>
                    <a:pt x="214401" y="911674"/>
                    <a:pt x="211916" y="903025"/>
                  </a:cubicBezTo>
                  <a:cubicBezTo>
                    <a:pt x="209284" y="891660"/>
                    <a:pt x="213909" y="882209"/>
                    <a:pt x="220649" y="873716"/>
                  </a:cubicBezTo>
                  <a:cubicBezTo>
                    <a:pt x="233528" y="857766"/>
                    <a:pt x="250954" y="849232"/>
                    <a:pt x="270772" y="845205"/>
                  </a:cubicBezTo>
                  <a:cubicBezTo>
                    <a:pt x="277232" y="843933"/>
                    <a:pt x="283810" y="843371"/>
                    <a:pt x="290391" y="843530"/>
                  </a:cubicBezTo>
                  <a:close/>
                  <a:moveTo>
                    <a:pt x="250675" y="720394"/>
                  </a:moveTo>
                  <a:cubicBezTo>
                    <a:pt x="251551" y="720334"/>
                    <a:pt x="252430" y="720334"/>
                    <a:pt x="253306" y="720394"/>
                  </a:cubicBezTo>
                  <a:lnTo>
                    <a:pt x="257613" y="720394"/>
                  </a:lnTo>
                  <a:cubicBezTo>
                    <a:pt x="255181" y="722906"/>
                    <a:pt x="252908" y="724939"/>
                    <a:pt x="250954" y="727252"/>
                  </a:cubicBezTo>
                  <a:cubicBezTo>
                    <a:pt x="241942" y="737660"/>
                    <a:pt x="242979" y="747190"/>
                    <a:pt x="254543" y="754886"/>
                  </a:cubicBezTo>
                  <a:cubicBezTo>
                    <a:pt x="263841" y="760696"/>
                    <a:pt x="274127" y="764751"/>
                    <a:pt x="284888" y="766849"/>
                  </a:cubicBezTo>
                  <a:cubicBezTo>
                    <a:pt x="306621" y="771538"/>
                    <a:pt x="328739" y="774222"/>
                    <a:pt x="350963" y="774863"/>
                  </a:cubicBezTo>
                  <a:cubicBezTo>
                    <a:pt x="379491" y="776227"/>
                    <a:pt x="408077" y="775693"/>
                    <a:pt x="436536" y="773269"/>
                  </a:cubicBezTo>
                  <a:cubicBezTo>
                    <a:pt x="478466" y="770438"/>
                    <a:pt x="519940" y="762837"/>
                    <a:pt x="560151" y="750619"/>
                  </a:cubicBezTo>
                  <a:cubicBezTo>
                    <a:pt x="561623" y="749981"/>
                    <a:pt x="563317" y="750133"/>
                    <a:pt x="564657" y="751018"/>
                  </a:cubicBezTo>
                  <a:lnTo>
                    <a:pt x="629017" y="791332"/>
                  </a:lnTo>
                  <a:cubicBezTo>
                    <a:pt x="629615" y="791571"/>
                    <a:pt x="630094" y="791970"/>
                    <a:pt x="630532" y="792449"/>
                  </a:cubicBezTo>
                  <a:cubicBezTo>
                    <a:pt x="612281" y="799818"/>
                    <a:pt x="593647" y="806194"/>
                    <a:pt x="574706" y="811549"/>
                  </a:cubicBezTo>
                  <a:cubicBezTo>
                    <a:pt x="545385" y="819839"/>
                    <a:pt x="515506" y="826020"/>
                    <a:pt x="485304" y="830051"/>
                  </a:cubicBezTo>
                  <a:cubicBezTo>
                    <a:pt x="441185" y="836101"/>
                    <a:pt x="396605" y="838119"/>
                    <a:pt x="352119" y="836073"/>
                  </a:cubicBezTo>
                  <a:cubicBezTo>
                    <a:pt x="309930" y="833999"/>
                    <a:pt x="268061" y="829214"/>
                    <a:pt x="227427" y="816773"/>
                  </a:cubicBezTo>
                  <a:cubicBezTo>
                    <a:pt x="212676" y="812722"/>
                    <a:pt x="198645" y="806397"/>
                    <a:pt x="185836" y="798032"/>
                  </a:cubicBezTo>
                  <a:cubicBezTo>
                    <a:pt x="179110" y="794096"/>
                    <a:pt x="173900" y="788015"/>
                    <a:pt x="171043" y="780765"/>
                  </a:cubicBezTo>
                  <a:cubicBezTo>
                    <a:pt x="168450" y="772790"/>
                    <a:pt x="171362" y="765812"/>
                    <a:pt x="175788" y="759352"/>
                  </a:cubicBezTo>
                  <a:cubicBezTo>
                    <a:pt x="182921" y="749714"/>
                    <a:pt x="192170" y="741843"/>
                    <a:pt x="202824" y="736344"/>
                  </a:cubicBezTo>
                  <a:cubicBezTo>
                    <a:pt x="217538" y="727862"/>
                    <a:pt x="233813" y="722435"/>
                    <a:pt x="250675" y="720394"/>
                  </a:cubicBezTo>
                  <a:close/>
                  <a:moveTo>
                    <a:pt x="469434" y="634317"/>
                  </a:moveTo>
                  <a:lnTo>
                    <a:pt x="469434" y="634740"/>
                  </a:lnTo>
                  <a:lnTo>
                    <a:pt x="468955" y="634541"/>
                  </a:lnTo>
                  <a:close/>
                  <a:moveTo>
                    <a:pt x="469434" y="634182"/>
                  </a:moveTo>
                  <a:lnTo>
                    <a:pt x="469553" y="634262"/>
                  </a:lnTo>
                  <a:lnTo>
                    <a:pt x="469434" y="634317"/>
                  </a:lnTo>
                  <a:close/>
                  <a:moveTo>
                    <a:pt x="469687" y="633993"/>
                  </a:moveTo>
                  <a:lnTo>
                    <a:pt x="469513" y="634182"/>
                  </a:lnTo>
                  <a:lnTo>
                    <a:pt x="469354" y="634023"/>
                  </a:lnTo>
                  <a:close/>
                  <a:moveTo>
                    <a:pt x="311087" y="590079"/>
                  </a:moveTo>
                  <a:cubicBezTo>
                    <a:pt x="306501" y="591315"/>
                    <a:pt x="301875" y="592472"/>
                    <a:pt x="297289" y="593788"/>
                  </a:cubicBezTo>
                  <a:cubicBezTo>
                    <a:pt x="274414" y="599606"/>
                    <a:pt x="252153" y="607621"/>
                    <a:pt x="230817" y="617713"/>
                  </a:cubicBezTo>
                  <a:cubicBezTo>
                    <a:pt x="224523" y="620477"/>
                    <a:pt x="218822" y="624432"/>
                    <a:pt x="214029" y="629357"/>
                  </a:cubicBezTo>
                  <a:cubicBezTo>
                    <a:pt x="206532" y="637811"/>
                    <a:pt x="209483" y="641320"/>
                    <a:pt x="217059" y="643992"/>
                  </a:cubicBezTo>
                  <a:cubicBezTo>
                    <a:pt x="226258" y="647114"/>
                    <a:pt x="235808" y="649084"/>
                    <a:pt x="245491" y="649853"/>
                  </a:cubicBezTo>
                  <a:cubicBezTo>
                    <a:pt x="303151" y="656194"/>
                    <a:pt x="361131" y="655117"/>
                    <a:pt x="418871" y="653841"/>
                  </a:cubicBezTo>
                  <a:cubicBezTo>
                    <a:pt x="451649" y="653003"/>
                    <a:pt x="484387" y="651169"/>
                    <a:pt x="517085" y="648777"/>
                  </a:cubicBezTo>
                  <a:cubicBezTo>
                    <a:pt x="548428" y="646504"/>
                    <a:pt x="579650" y="643513"/>
                    <a:pt x="610793" y="639485"/>
                  </a:cubicBezTo>
                  <a:cubicBezTo>
                    <a:pt x="630053" y="636974"/>
                    <a:pt x="649234" y="634062"/>
                    <a:pt x="668214" y="629955"/>
                  </a:cubicBezTo>
                  <a:lnTo>
                    <a:pt x="669969" y="629955"/>
                  </a:lnTo>
                  <a:cubicBezTo>
                    <a:pt x="667584" y="632695"/>
                    <a:pt x="664909" y="635167"/>
                    <a:pt x="661994" y="637332"/>
                  </a:cubicBezTo>
                  <a:cubicBezTo>
                    <a:pt x="642056" y="654040"/>
                    <a:pt x="621041" y="669472"/>
                    <a:pt x="600146" y="685183"/>
                  </a:cubicBezTo>
                  <a:cubicBezTo>
                    <a:pt x="596645" y="687077"/>
                    <a:pt x="592757" y="688142"/>
                    <a:pt x="588782" y="688294"/>
                  </a:cubicBezTo>
                  <a:cubicBezTo>
                    <a:pt x="556881" y="694514"/>
                    <a:pt x="524981" y="699419"/>
                    <a:pt x="492881" y="703207"/>
                  </a:cubicBezTo>
                  <a:cubicBezTo>
                    <a:pt x="460102" y="707063"/>
                    <a:pt x="427205" y="709907"/>
                    <a:pt x="394188" y="711741"/>
                  </a:cubicBezTo>
                  <a:cubicBezTo>
                    <a:pt x="357715" y="713814"/>
                    <a:pt x="321202" y="714464"/>
                    <a:pt x="284649" y="713695"/>
                  </a:cubicBezTo>
                  <a:cubicBezTo>
                    <a:pt x="250491" y="713248"/>
                    <a:pt x="216401" y="710516"/>
                    <a:pt x="182607" y="705520"/>
                  </a:cubicBezTo>
                  <a:cubicBezTo>
                    <a:pt x="159120" y="701851"/>
                    <a:pt x="135872" y="697106"/>
                    <a:pt x="114060" y="687257"/>
                  </a:cubicBezTo>
                  <a:cubicBezTo>
                    <a:pt x="105859" y="683879"/>
                    <a:pt x="98396" y="678935"/>
                    <a:pt x="92089" y="672702"/>
                  </a:cubicBezTo>
                  <a:cubicBezTo>
                    <a:pt x="82299" y="663331"/>
                    <a:pt x="81001" y="648147"/>
                    <a:pt x="89058" y="637252"/>
                  </a:cubicBezTo>
                  <a:cubicBezTo>
                    <a:pt x="94593" y="629688"/>
                    <a:pt x="101944" y="623643"/>
                    <a:pt x="110432" y="619667"/>
                  </a:cubicBezTo>
                  <a:cubicBezTo>
                    <a:pt x="126917" y="611485"/>
                    <a:pt x="144477" y="605671"/>
                    <a:pt x="162589" y="602401"/>
                  </a:cubicBezTo>
                  <a:cubicBezTo>
                    <a:pt x="193496" y="596276"/>
                    <a:pt x="224821" y="592492"/>
                    <a:pt x="256297" y="591076"/>
                  </a:cubicBezTo>
                  <a:cubicBezTo>
                    <a:pt x="274527" y="589712"/>
                    <a:pt x="292820" y="589377"/>
                    <a:pt x="311087" y="590079"/>
                  </a:cubicBezTo>
                  <a:close/>
                  <a:moveTo>
                    <a:pt x="760218" y="588025"/>
                  </a:moveTo>
                  <a:cubicBezTo>
                    <a:pt x="770276" y="587776"/>
                    <a:pt x="780345" y="589142"/>
                    <a:pt x="790354" y="592591"/>
                  </a:cubicBezTo>
                  <a:cubicBezTo>
                    <a:pt x="820101" y="602799"/>
                    <a:pt x="837726" y="624492"/>
                    <a:pt x="843428" y="654598"/>
                  </a:cubicBezTo>
                  <a:cubicBezTo>
                    <a:pt x="853118" y="706237"/>
                    <a:pt x="837766" y="750061"/>
                    <a:pt x="798209" y="784793"/>
                  </a:cubicBezTo>
                  <a:cubicBezTo>
                    <a:pt x="768462" y="810911"/>
                    <a:pt x="732853" y="825426"/>
                    <a:pt x="695090" y="835395"/>
                  </a:cubicBezTo>
                  <a:cubicBezTo>
                    <a:pt x="684783" y="838131"/>
                    <a:pt x="674315" y="840232"/>
                    <a:pt x="663748" y="841695"/>
                  </a:cubicBezTo>
                  <a:cubicBezTo>
                    <a:pt x="663230" y="840459"/>
                    <a:pt x="664267" y="840380"/>
                    <a:pt x="664745" y="840021"/>
                  </a:cubicBezTo>
                  <a:cubicBezTo>
                    <a:pt x="693751" y="819453"/>
                    <a:pt x="719829" y="795037"/>
                    <a:pt x="742264" y="767447"/>
                  </a:cubicBezTo>
                  <a:cubicBezTo>
                    <a:pt x="758493" y="747110"/>
                    <a:pt x="772051" y="725218"/>
                    <a:pt x="778152" y="699658"/>
                  </a:cubicBezTo>
                  <a:cubicBezTo>
                    <a:pt x="781422" y="685940"/>
                    <a:pt x="783057" y="672064"/>
                    <a:pt x="777753" y="658466"/>
                  </a:cubicBezTo>
                  <a:cubicBezTo>
                    <a:pt x="770535" y="639963"/>
                    <a:pt x="756619" y="628160"/>
                    <a:pt x="738715" y="620703"/>
                  </a:cubicBezTo>
                  <a:cubicBezTo>
                    <a:pt x="722082" y="614005"/>
                    <a:pt x="703851" y="612325"/>
                    <a:pt x="686278" y="615878"/>
                  </a:cubicBezTo>
                  <a:cubicBezTo>
                    <a:pt x="699413" y="605726"/>
                    <a:pt x="714275" y="598026"/>
                    <a:pt x="730141" y="593149"/>
                  </a:cubicBezTo>
                  <a:cubicBezTo>
                    <a:pt x="740110" y="590139"/>
                    <a:pt x="750159" y="588275"/>
                    <a:pt x="760218" y="588025"/>
                  </a:cubicBezTo>
                  <a:close/>
                  <a:moveTo>
                    <a:pt x="704621" y="204241"/>
                  </a:moveTo>
                  <a:cubicBezTo>
                    <a:pt x="703572" y="205595"/>
                    <a:pt x="702200" y="206665"/>
                    <a:pt x="700633" y="207351"/>
                  </a:cubicBezTo>
                  <a:cubicBezTo>
                    <a:pt x="663780" y="230841"/>
                    <a:pt x="628458" y="256652"/>
                    <a:pt x="594883" y="284630"/>
                  </a:cubicBezTo>
                  <a:cubicBezTo>
                    <a:pt x="575060" y="300419"/>
                    <a:pt x="557260" y="318593"/>
                    <a:pt x="541888" y="338742"/>
                  </a:cubicBezTo>
                  <a:cubicBezTo>
                    <a:pt x="534610" y="347644"/>
                    <a:pt x="529917" y="358376"/>
                    <a:pt x="528330" y="369766"/>
                  </a:cubicBezTo>
                  <a:cubicBezTo>
                    <a:pt x="527473" y="382729"/>
                    <a:pt x="529698" y="395711"/>
                    <a:pt x="534830" y="407647"/>
                  </a:cubicBezTo>
                  <a:cubicBezTo>
                    <a:pt x="541290" y="424116"/>
                    <a:pt x="550501" y="439149"/>
                    <a:pt x="558755" y="454701"/>
                  </a:cubicBezTo>
                  <a:cubicBezTo>
                    <a:pt x="567520" y="469647"/>
                    <a:pt x="574087" y="485776"/>
                    <a:pt x="578255" y="502592"/>
                  </a:cubicBezTo>
                  <a:cubicBezTo>
                    <a:pt x="583207" y="526924"/>
                    <a:pt x="578179" y="552225"/>
                    <a:pt x="564298" y="572814"/>
                  </a:cubicBezTo>
                  <a:cubicBezTo>
                    <a:pt x="549783" y="595742"/>
                    <a:pt x="528888" y="611254"/>
                    <a:pt x="504484" y="622538"/>
                  </a:cubicBezTo>
                  <a:cubicBezTo>
                    <a:pt x="494495" y="627260"/>
                    <a:pt x="484064" y="630988"/>
                    <a:pt x="473341" y="633664"/>
                  </a:cubicBezTo>
                  <a:lnTo>
                    <a:pt x="469687" y="633993"/>
                  </a:lnTo>
                  <a:lnTo>
                    <a:pt x="489132" y="612809"/>
                  </a:lnTo>
                  <a:cubicBezTo>
                    <a:pt x="500066" y="599650"/>
                    <a:pt x="507551" y="583971"/>
                    <a:pt x="510904" y="567191"/>
                  </a:cubicBezTo>
                  <a:cubicBezTo>
                    <a:pt x="513086" y="552827"/>
                    <a:pt x="510757" y="538145"/>
                    <a:pt x="504245" y="525162"/>
                  </a:cubicBezTo>
                  <a:cubicBezTo>
                    <a:pt x="496788" y="509012"/>
                    <a:pt x="486181" y="494856"/>
                    <a:pt x="476332" y="480261"/>
                  </a:cubicBezTo>
                  <a:cubicBezTo>
                    <a:pt x="465218" y="464965"/>
                    <a:pt x="456171" y="448273"/>
                    <a:pt x="449416" y="430616"/>
                  </a:cubicBezTo>
                  <a:cubicBezTo>
                    <a:pt x="441441" y="407209"/>
                    <a:pt x="442198" y="383642"/>
                    <a:pt x="448219" y="359996"/>
                  </a:cubicBezTo>
                  <a:cubicBezTo>
                    <a:pt x="457471" y="323629"/>
                    <a:pt x="478645" y="295317"/>
                    <a:pt x="508033" y="272588"/>
                  </a:cubicBezTo>
                  <a:cubicBezTo>
                    <a:pt x="537422" y="249859"/>
                    <a:pt x="571834" y="234466"/>
                    <a:pt x="607722" y="223341"/>
                  </a:cubicBezTo>
                  <a:cubicBezTo>
                    <a:pt x="637131" y="214336"/>
                    <a:pt x="667313" y="208102"/>
                    <a:pt x="697882" y="204719"/>
                  </a:cubicBezTo>
                  <a:cubicBezTo>
                    <a:pt x="699955" y="204480"/>
                    <a:pt x="702069" y="204440"/>
                    <a:pt x="704621" y="204241"/>
                  </a:cubicBezTo>
                  <a:close/>
                  <a:moveTo>
                    <a:pt x="519239" y="156"/>
                  </a:moveTo>
                  <a:cubicBezTo>
                    <a:pt x="520315" y="-362"/>
                    <a:pt x="520714" y="515"/>
                    <a:pt x="521153" y="1233"/>
                  </a:cubicBezTo>
                  <a:cubicBezTo>
                    <a:pt x="536860" y="25066"/>
                    <a:pt x="547036" y="52110"/>
                    <a:pt x="550940" y="80386"/>
                  </a:cubicBezTo>
                  <a:cubicBezTo>
                    <a:pt x="553974" y="107558"/>
                    <a:pt x="549851" y="135051"/>
                    <a:pt x="538977" y="160138"/>
                  </a:cubicBezTo>
                  <a:cubicBezTo>
                    <a:pt x="526931" y="187484"/>
                    <a:pt x="510840" y="212863"/>
                    <a:pt x="491246" y="235423"/>
                  </a:cubicBezTo>
                  <a:cubicBezTo>
                    <a:pt x="469872" y="261143"/>
                    <a:pt x="446146" y="284710"/>
                    <a:pt x="423098" y="308875"/>
                  </a:cubicBezTo>
                  <a:cubicBezTo>
                    <a:pt x="404316" y="328534"/>
                    <a:pt x="385575" y="348192"/>
                    <a:pt x="370581" y="371041"/>
                  </a:cubicBezTo>
                  <a:cubicBezTo>
                    <a:pt x="362139" y="383205"/>
                    <a:pt x="356040" y="396836"/>
                    <a:pt x="352597" y="411236"/>
                  </a:cubicBezTo>
                  <a:cubicBezTo>
                    <a:pt x="349641" y="425723"/>
                    <a:pt x="351257" y="440772"/>
                    <a:pt x="357223" y="454302"/>
                  </a:cubicBezTo>
                  <a:cubicBezTo>
                    <a:pt x="372540" y="493073"/>
                    <a:pt x="390224" y="530868"/>
                    <a:pt x="410178" y="567470"/>
                  </a:cubicBezTo>
                  <a:cubicBezTo>
                    <a:pt x="417675" y="580947"/>
                    <a:pt x="425530" y="594187"/>
                    <a:pt x="433585" y="607345"/>
                  </a:cubicBezTo>
                  <a:cubicBezTo>
                    <a:pt x="434183" y="608263"/>
                    <a:pt x="435300" y="609140"/>
                    <a:pt x="434702" y="611014"/>
                  </a:cubicBezTo>
                  <a:cubicBezTo>
                    <a:pt x="416518" y="597815"/>
                    <a:pt x="399252" y="583938"/>
                    <a:pt x="382624" y="569264"/>
                  </a:cubicBezTo>
                  <a:cubicBezTo>
                    <a:pt x="362898" y="552066"/>
                    <a:pt x="344391" y="533519"/>
                    <a:pt x="327236" y="513757"/>
                  </a:cubicBezTo>
                  <a:cubicBezTo>
                    <a:pt x="304586" y="487439"/>
                    <a:pt x="284689" y="459446"/>
                    <a:pt x="272526" y="426429"/>
                  </a:cubicBezTo>
                  <a:cubicBezTo>
                    <a:pt x="257772" y="386353"/>
                    <a:pt x="263794" y="349628"/>
                    <a:pt x="288796" y="315415"/>
                  </a:cubicBezTo>
                  <a:cubicBezTo>
                    <a:pt x="304967" y="294177"/>
                    <a:pt x="323332" y="274703"/>
                    <a:pt x="343585" y="257315"/>
                  </a:cubicBezTo>
                  <a:cubicBezTo>
                    <a:pt x="369265" y="234427"/>
                    <a:pt x="396381" y="213452"/>
                    <a:pt x="422540" y="190922"/>
                  </a:cubicBezTo>
                  <a:cubicBezTo>
                    <a:pt x="448698" y="168392"/>
                    <a:pt x="474976" y="145184"/>
                    <a:pt x="495991" y="117112"/>
                  </a:cubicBezTo>
                  <a:cubicBezTo>
                    <a:pt x="510035" y="99449"/>
                    <a:pt x="519797" y="78771"/>
                    <a:pt x="524502" y="56700"/>
                  </a:cubicBezTo>
                  <a:cubicBezTo>
                    <a:pt x="528043" y="37729"/>
                    <a:pt x="526221" y="18147"/>
                    <a:pt x="519239" y="156"/>
                  </a:cubicBezTo>
                  <a:close/>
                </a:path>
              </a:pathLst>
            </a:custGeom>
            <a:solidFill>
              <a:srgbClr val="797979"/>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AF1F3801-EC3F-4A82-9067-153D21F277C0}"/>
              </a:ext>
            </a:extLst>
          </p:cNvPr>
          <p:cNvGrpSpPr/>
          <p:nvPr/>
        </p:nvGrpSpPr>
        <p:grpSpPr>
          <a:xfrm>
            <a:off x="4195013" y="3361025"/>
            <a:ext cx="493265" cy="425229"/>
            <a:chOff x="3180259" y="4622049"/>
            <a:chExt cx="791685" cy="682487"/>
          </a:xfrm>
        </p:grpSpPr>
        <p:sp>
          <p:nvSpPr>
            <p:cNvPr id="95" name="Hexagon 94">
              <a:extLst>
                <a:ext uri="{FF2B5EF4-FFF2-40B4-BE49-F238E27FC236}">
                  <a16:creationId xmlns:a16="http://schemas.microsoft.com/office/drawing/2014/main" id="{12ED3900-56FA-4168-AA15-140C5E74DAA9}"/>
                </a:ext>
              </a:extLst>
            </p:cNvPr>
            <p:cNvSpPr/>
            <p:nvPr/>
          </p:nvSpPr>
          <p:spPr>
            <a:xfrm>
              <a:off x="3180259" y="4622049"/>
              <a:ext cx="791685" cy="682487"/>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C392D4DD-24AD-4CFD-8BDE-4EC55F912C5A}"/>
                </a:ext>
              </a:extLst>
            </p:cNvPr>
            <p:cNvSpPr/>
            <p:nvPr/>
          </p:nvSpPr>
          <p:spPr>
            <a:xfrm>
              <a:off x="3346899" y="4800773"/>
              <a:ext cx="458405" cy="325038"/>
            </a:xfrm>
            <a:custGeom>
              <a:avLst/>
              <a:gdLst>
                <a:gd name="connsiteX0" fmla="*/ 186728 w 942360"/>
                <a:gd name="connsiteY0" fmla="*/ 441322 h 668193"/>
                <a:gd name="connsiteX1" fmla="*/ 136255 w 942360"/>
                <a:gd name="connsiteY1" fmla="*/ 491391 h 668193"/>
                <a:gd name="connsiteX2" fmla="*/ 186963 w 942360"/>
                <a:gd name="connsiteY2" fmla="*/ 539928 h 668193"/>
                <a:gd name="connsiteX3" fmla="*/ 237797 w 942360"/>
                <a:gd name="connsiteY3" fmla="*/ 490603 h 668193"/>
                <a:gd name="connsiteX4" fmla="*/ 186728 w 942360"/>
                <a:gd name="connsiteY4" fmla="*/ 441322 h 668193"/>
                <a:gd name="connsiteX5" fmla="*/ 523719 w 942360"/>
                <a:gd name="connsiteY5" fmla="*/ 236684 h 668193"/>
                <a:gd name="connsiteX6" fmla="*/ 620388 w 942360"/>
                <a:gd name="connsiteY6" fmla="*/ 236684 h 668193"/>
                <a:gd name="connsiteX7" fmla="*/ 620388 w 942360"/>
                <a:gd name="connsiteY7" fmla="*/ 333353 h 668193"/>
                <a:gd name="connsiteX8" fmla="*/ 523719 w 942360"/>
                <a:gd name="connsiteY8" fmla="*/ 333353 h 668193"/>
                <a:gd name="connsiteX9" fmla="*/ 405920 w 942360"/>
                <a:gd name="connsiteY9" fmla="*/ 236684 h 668193"/>
                <a:gd name="connsiteX10" fmla="*/ 502589 w 942360"/>
                <a:gd name="connsiteY10" fmla="*/ 236684 h 668193"/>
                <a:gd name="connsiteX11" fmla="*/ 502589 w 942360"/>
                <a:gd name="connsiteY11" fmla="*/ 333353 h 668193"/>
                <a:gd name="connsiteX12" fmla="*/ 405920 w 942360"/>
                <a:gd name="connsiteY12" fmla="*/ 333353 h 668193"/>
                <a:gd name="connsiteX13" fmla="*/ 288100 w 942360"/>
                <a:gd name="connsiteY13" fmla="*/ 236684 h 668193"/>
                <a:gd name="connsiteX14" fmla="*/ 384769 w 942360"/>
                <a:gd name="connsiteY14" fmla="*/ 236684 h 668193"/>
                <a:gd name="connsiteX15" fmla="*/ 384769 w 942360"/>
                <a:gd name="connsiteY15" fmla="*/ 333353 h 668193"/>
                <a:gd name="connsiteX16" fmla="*/ 288100 w 942360"/>
                <a:gd name="connsiteY16" fmla="*/ 333353 h 668193"/>
                <a:gd name="connsiteX17" fmla="*/ 170301 w 942360"/>
                <a:gd name="connsiteY17" fmla="*/ 236684 h 668193"/>
                <a:gd name="connsiteX18" fmla="*/ 266970 w 942360"/>
                <a:gd name="connsiteY18" fmla="*/ 236684 h 668193"/>
                <a:gd name="connsiteX19" fmla="*/ 266970 w 942360"/>
                <a:gd name="connsiteY19" fmla="*/ 333353 h 668193"/>
                <a:gd name="connsiteX20" fmla="*/ 170301 w 942360"/>
                <a:gd name="connsiteY20" fmla="*/ 333353 h 668193"/>
                <a:gd name="connsiteX21" fmla="*/ 52502 w 942360"/>
                <a:gd name="connsiteY21" fmla="*/ 236684 h 668193"/>
                <a:gd name="connsiteX22" fmla="*/ 149171 w 942360"/>
                <a:gd name="connsiteY22" fmla="*/ 236684 h 668193"/>
                <a:gd name="connsiteX23" fmla="*/ 149171 w 942360"/>
                <a:gd name="connsiteY23" fmla="*/ 333353 h 668193"/>
                <a:gd name="connsiteX24" fmla="*/ 52502 w 942360"/>
                <a:gd name="connsiteY24" fmla="*/ 333353 h 668193"/>
                <a:gd name="connsiteX25" fmla="*/ 746016 w 942360"/>
                <a:gd name="connsiteY25" fmla="*/ 172869 h 668193"/>
                <a:gd name="connsiteX26" fmla="*/ 752615 w 942360"/>
                <a:gd name="connsiteY26" fmla="*/ 175571 h 668193"/>
                <a:gd name="connsiteX27" fmla="*/ 817941 w 942360"/>
                <a:gd name="connsiteY27" fmla="*/ 269198 h 668193"/>
                <a:gd name="connsiteX28" fmla="*/ 827580 w 942360"/>
                <a:gd name="connsiteY28" fmla="*/ 272496 h 668193"/>
                <a:gd name="connsiteX29" fmla="*/ 900268 w 942360"/>
                <a:gd name="connsiteY29" fmla="*/ 273049 h 668193"/>
                <a:gd name="connsiteX30" fmla="*/ 938315 w 942360"/>
                <a:gd name="connsiteY30" fmla="*/ 289051 h 668193"/>
                <a:gd name="connsiteX31" fmla="*/ 940762 w 942360"/>
                <a:gd name="connsiteY31" fmla="*/ 298711 h 668193"/>
                <a:gd name="connsiteX32" fmla="*/ 842880 w 942360"/>
                <a:gd name="connsiteY32" fmla="*/ 368421 h 668193"/>
                <a:gd name="connsiteX33" fmla="*/ 808004 w 942360"/>
                <a:gd name="connsiteY33" fmla="*/ 370783 h 668193"/>
                <a:gd name="connsiteX34" fmla="*/ 792024 w 942360"/>
                <a:gd name="connsiteY34" fmla="*/ 381422 h 668193"/>
                <a:gd name="connsiteX35" fmla="*/ 696163 w 942360"/>
                <a:gd name="connsiteY35" fmla="*/ 524479 h 668193"/>
                <a:gd name="connsiteX36" fmla="*/ 442371 w 942360"/>
                <a:gd name="connsiteY36" fmla="*/ 655386 h 668193"/>
                <a:gd name="connsiteX37" fmla="*/ 253161 w 942360"/>
                <a:gd name="connsiteY37" fmla="*/ 663898 h 668193"/>
                <a:gd name="connsiteX38" fmla="*/ 44948 w 942360"/>
                <a:gd name="connsiteY38" fmla="*/ 546013 h 668193"/>
                <a:gd name="connsiteX39" fmla="*/ 2135 w 942360"/>
                <a:gd name="connsiteY39" fmla="*/ 363122 h 668193"/>
                <a:gd name="connsiteX40" fmla="*/ 7285 w 942360"/>
                <a:gd name="connsiteY40" fmla="*/ 358058 h 668193"/>
                <a:gd name="connsiteX41" fmla="*/ 628560 w 942360"/>
                <a:gd name="connsiteY41" fmla="*/ 358058 h 668193"/>
                <a:gd name="connsiteX42" fmla="*/ 725464 w 942360"/>
                <a:gd name="connsiteY42" fmla="*/ 337630 h 668193"/>
                <a:gd name="connsiteX43" fmla="*/ 729145 w 942360"/>
                <a:gd name="connsiteY43" fmla="*/ 324863 h 668193"/>
                <a:gd name="connsiteX44" fmla="*/ 740104 w 942360"/>
                <a:gd name="connsiteY44" fmla="*/ 176869 h 668193"/>
                <a:gd name="connsiteX45" fmla="*/ 746016 w 942360"/>
                <a:gd name="connsiteY45" fmla="*/ 172869 h 668193"/>
                <a:gd name="connsiteX46" fmla="*/ 405920 w 942360"/>
                <a:gd name="connsiteY46" fmla="*/ 117693 h 668193"/>
                <a:gd name="connsiteX47" fmla="*/ 502589 w 942360"/>
                <a:gd name="connsiteY47" fmla="*/ 117693 h 668193"/>
                <a:gd name="connsiteX48" fmla="*/ 502589 w 942360"/>
                <a:gd name="connsiteY48" fmla="*/ 214362 h 668193"/>
                <a:gd name="connsiteX49" fmla="*/ 405920 w 942360"/>
                <a:gd name="connsiteY49" fmla="*/ 214362 h 668193"/>
                <a:gd name="connsiteX50" fmla="*/ 288100 w 942360"/>
                <a:gd name="connsiteY50" fmla="*/ 117693 h 668193"/>
                <a:gd name="connsiteX51" fmla="*/ 384769 w 942360"/>
                <a:gd name="connsiteY51" fmla="*/ 117693 h 668193"/>
                <a:gd name="connsiteX52" fmla="*/ 384769 w 942360"/>
                <a:gd name="connsiteY52" fmla="*/ 214362 h 668193"/>
                <a:gd name="connsiteX53" fmla="*/ 288100 w 942360"/>
                <a:gd name="connsiteY53" fmla="*/ 214362 h 668193"/>
                <a:gd name="connsiteX54" fmla="*/ 170301 w 942360"/>
                <a:gd name="connsiteY54" fmla="*/ 117693 h 668193"/>
                <a:gd name="connsiteX55" fmla="*/ 266970 w 942360"/>
                <a:gd name="connsiteY55" fmla="*/ 117693 h 668193"/>
                <a:gd name="connsiteX56" fmla="*/ 266970 w 942360"/>
                <a:gd name="connsiteY56" fmla="*/ 214362 h 668193"/>
                <a:gd name="connsiteX57" fmla="*/ 170301 w 942360"/>
                <a:gd name="connsiteY57" fmla="*/ 214362 h 668193"/>
                <a:gd name="connsiteX58" fmla="*/ 405920 w 942360"/>
                <a:gd name="connsiteY58" fmla="*/ 0 h 668193"/>
                <a:gd name="connsiteX59" fmla="*/ 502589 w 942360"/>
                <a:gd name="connsiteY59" fmla="*/ 0 h 668193"/>
                <a:gd name="connsiteX60" fmla="*/ 502589 w 942360"/>
                <a:gd name="connsiteY60" fmla="*/ 96669 h 668193"/>
                <a:gd name="connsiteX61" fmla="*/ 405920 w 942360"/>
                <a:gd name="connsiteY61" fmla="*/ 96669 h 66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42360" h="668193">
                  <a:moveTo>
                    <a:pt x="186728" y="441322"/>
                  </a:moveTo>
                  <a:cubicBezTo>
                    <a:pt x="159066" y="441811"/>
                    <a:pt x="135766" y="464856"/>
                    <a:pt x="136255" y="491391"/>
                  </a:cubicBezTo>
                  <a:cubicBezTo>
                    <a:pt x="136745" y="517925"/>
                    <a:pt x="159811" y="539928"/>
                    <a:pt x="186963" y="539928"/>
                  </a:cubicBezTo>
                  <a:cubicBezTo>
                    <a:pt x="215072" y="539928"/>
                    <a:pt x="237819" y="517798"/>
                    <a:pt x="237797" y="490603"/>
                  </a:cubicBezTo>
                  <a:cubicBezTo>
                    <a:pt x="237797" y="463664"/>
                    <a:pt x="214178" y="440854"/>
                    <a:pt x="186728" y="441322"/>
                  </a:cubicBezTo>
                  <a:close/>
                  <a:moveTo>
                    <a:pt x="523719" y="236684"/>
                  </a:moveTo>
                  <a:lnTo>
                    <a:pt x="620388" y="236684"/>
                  </a:lnTo>
                  <a:lnTo>
                    <a:pt x="620388" y="333353"/>
                  </a:lnTo>
                  <a:lnTo>
                    <a:pt x="523719" y="333353"/>
                  </a:lnTo>
                  <a:close/>
                  <a:moveTo>
                    <a:pt x="405920" y="236684"/>
                  </a:moveTo>
                  <a:lnTo>
                    <a:pt x="502589" y="236684"/>
                  </a:lnTo>
                  <a:lnTo>
                    <a:pt x="502589" y="333353"/>
                  </a:lnTo>
                  <a:lnTo>
                    <a:pt x="405920" y="333353"/>
                  </a:lnTo>
                  <a:close/>
                  <a:moveTo>
                    <a:pt x="288100" y="236684"/>
                  </a:moveTo>
                  <a:lnTo>
                    <a:pt x="384769" y="236684"/>
                  </a:lnTo>
                  <a:lnTo>
                    <a:pt x="384769" y="333353"/>
                  </a:lnTo>
                  <a:lnTo>
                    <a:pt x="288100" y="333353"/>
                  </a:lnTo>
                  <a:close/>
                  <a:moveTo>
                    <a:pt x="170301" y="236684"/>
                  </a:moveTo>
                  <a:lnTo>
                    <a:pt x="266970" y="236684"/>
                  </a:lnTo>
                  <a:lnTo>
                    <a:pt x="266970" y="333353"/>
                  </a:lnTo>
                  <a:lnTo>
                    <a:pt x="170301" y="333353"/>
                  </a:lnTo>
                  <a:close/>
                  <a:moveTo>
                    <a:pt x="52502" y="236684"/>
                  </a:moveTo>
                  <a:lnTo>
                    <a:pt x="149171" y="236684"/>
                  </a:lnTo>
                  <a:lnTo>
                    <a:pt x="149171" y="333353"/>
                  </a:lnTo>
                  <a:lnTo>
                    <a:pt x="52502" y="333353"/>
                  </a:lnTo>
                  <a:close/>
                  <a:moveTo>
                    <a:pt x="746016" y="172869"/>
                  </a:moveTo>
                  <a:cubicBezTo>
                    <a:pt x="747870" y="172587"/>
                    <a:pt x="749838" y="173422"/>
                    <a:pt x="752615" y="175571"/>
                  </a:cubicBezTo>
                  <a:cubicBezTo>
                    <a:pt x="784236" y="200021"/>
                    <a:pt x="809813" y="228534"/>
                    <a:pt x="817941" y="269198"/>
                  </a:cubicBezTo>
                  <a:cubicBezTo>
                    <a:pt x="819431" y="276624"/>
                    <a:pt x="824133" y="273262"/>
                    <a:pt x="827580" y="272496"/>
                  </a:cubicBezTo>
                  <a:cubicBezTo>
                    <a:pt x="851536" y="267136"/>
                    <a:pt x="876398" y="267325"/>
                    <a:pt x="900268" y="273049"/>
                  </a:cubicBezTo>
                  <a:cubicBezTo>
                    <a:pt x="913844" y="276284"/>
                    <a:pt x="926122" y="282476"/>
                    <a:pt x="938315" y="289051"/>
                  </a:cubicBezTo>
                  <a:cubicBezTo>
                    <a:pt x="943528" y="291860"/>
                    <a:pt x="942954" y="294115"/>
                    <a:pt x="940762" y="298711"/>
                  </a:cubicBezTo>
                  <a:cubicBezTo>
                    <a:pt x="921079" y="340248"/>
                    <a:pt x="886693" y="360867"/>
                    <a:pt x="842880" y="368421"/>
                  </a:cubicBezTo>
                  <a:cubicBezTo>
                    <a:pt x="831325" y="370421"/>
                    <a:pt x="819473" y="372059"/>
                    <a:pt x="808004" y="370783"/>
                  </a:cubicBezTo>
                  <a:cubicBezTo>
                    <a:pt x="798407" y="369719"/>
                    <a:pt x="795237" y="373932"/>
                    <a:pt x="792024" y="381422"/>
                  </a:cubicBezTo>
                  <a:cubicBezTo>
                    <a:pt x="769400" y="434738"/>
                    <a:pt x="736873" y="483281"/>
                    <a:pt x="696163" y="524479"/>
                  </a:cubicBezTo>
                  <a:cubicBezTo>
                    <a:pt x="625602" y="595295"/>
                    <a:pt x="539594" y="636469"/>
                    <a:pt x="442371" y="655386"/>
                  </a:cubicBezTo>
                  <a:cubicBezTo>
                    <a:pt x="379812" y="667600"/>
                    <a:pt x="316635" y="672409"/>
                    <a:pt x="253161" y="663898"/>
                  </a:cubicBezTo>
                  <a:cubicBezTo>
                    <a:pt x="168110" y="652513"/>
                    <a:pt x="95932" y="617425"/>
                    <a:pt x="44948" y="546013"/>
                  </a:cubicBezTo>
                  <a:cubicBezTo>
                    <a:pt x="5753" y="491114"/>
                    <a:pt x="-5206" y="429150"/>
                    <a:pt x="2135" y="363122"/>
                  </a:cubicBezTo>
                  <a:cubicBezTo>
                    <a:pt x="2518" y="359718"/>
                    <a:pt x="3604" y="357866"/>
                    <a:pt x="7285" y="358058"/>
                  </a:cubicBezTo>
                  <a:cubicBezTo>
                    <a:pt x="10179" y="358079"/>
                    <a:pt x="528550" y="358101"/>
                    <a:pt x="628560" y="358058"/>
                  </a:cubicBezTo>
                  <a:cubicBezTo>
                    <a:pt x="662266" y="358058"/>
                    <a:pt x="694695" y="351972"/>
                    <a:pt x="725464" y="337630"/>
                  </a:cubicBezTo>
                  <a:cubicBezTo>
                    <a:pt x="732635" y="334290"/>
                    <a:pt x="733805" y="331758"/>
                    <a:pt x="729145" y="324863"/>
                  </a:cubicBezTo>
                  <a:cubicBezTo>
                    <a:pt x="703057" y="285689"/>
                    <a:pt x="705057" y="211873"/>
                    <a:pt x="740104" y="176869"/>
                  </a:cubicBezTo>
                  <a:cubicBezTo>
                    <a:pt x="742423" y="174550"/>
                    <a:pt x="744162" y="173151"/>
                    <a:pt x="746016" y="172869"/>
                  </a:cubicBezTo>
                  <a:close/>
                  <a:moveTo>
                    <a:pt x="405920" y="117693"/>
                  </a:moveTo>
                  <a:lnTo>
                    <a:pt x="502589" y="117693"/>
                  </a:lnTo>
                  <a:lnTo>
                    <a:pt x="502589" y="214362"/>
                  </a:lnTo>
                  <a:lnTo>
                    <a:pt x="405920" y="214362"/>
                  </a:lnTo>
                  <a:close/>
                  <a:moveTo>
                    <a:pt x="288100" y="117693"/>
                  </a:moveTo>
                  <a:lnTo>
                    <a:pt x="384769" y="117693"/>
                  </a:lnTo>
                  <a:lnTo>
                    <a:pt x="384769" y="214362"/>
                  </a:lnTo>
                  <a:lnTo>
                    <a:pt x="288100" y="214362"/>
                  </a:lnTo>
                  <a:close/>
                  <a:moveTo>
                    <a:pt x="170301" y="117693"/>
                  </a:moveTo>
                  <a:lnTo>
                    <a:pt x="266970" y="117693"/>
                  </a:lnTo>
                  <a:lnTo>
                    <a:pt x="266970" y="214362"/>
                  </a:lnTo>
                  <a:lnTo>
                    <a:pt x="170301" y="214362"/>
                  </a:lnTo>
                  <a:close/>
                  <a:moveTo>
                    <a:pt x="405920" y="0"/>
                  </a:moveTo>
                  <a:lnTo>
                    <a:pt x="502589" y="0"/>
                  </a:lnTo>
                  <a:lnTo>
                    <a:pt x="502589" y="96669"/>
                  </a:lnTo>
                  <a:lnTo>
                    <a:pt x="405920" y="96669"/>
                  </a:lnTo>
                  <a:close/>
                </a:path>
              </a:pathLst>
            </a:custGeom>
            <a:solidFill>
              <a:srgbClr val="797979"/>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DBAAF00C-5121-4076-A5AC-5866A2D98A00}"/>
              </a:ext>
            </a:extLst>
          </p:cNvPr>
          <p:cNvGrpSpPr/>
          <p:nvPr/>
        </p:nvGrpSpPr>
        <p:grpSpPr>
          <a:xfrm>
            <a:off x="4418457" y="3021405"/>
            <a:ext cx="493265" cy="425229"/>
            <a:chOff x="4418458" y="2690709"/>
            <a:chExt cx="493265" cy="425229"/>
          </a:xfrm>
        </p:grpSpPr>
        <p:sp>
          <p:nvSpPr>
            <p:cNvPr id="98" name="Hexagon 97">
              <a:extLst>
                <a:ext uri="{FF2B5EF4-FFF2-40B4-BE49-F238E27FC236}">
                  <a16:creationId xmlns:a16="http://schemas.microsoft.com/office/drawing/2014/main" id="{0D14B9F1-30E8-4C3A-84F9-195869F00B5B}"/>
                </a:ext>
              </a:extLst>
            </p:cNvPr>
            <p:cNvSpPr/>
            <p:nvPr/>
          </p:nvSpPr>
          <p:spPr>
            <a:xfrm>
              <a:off x="4418458" y="2690709"/>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457C791A-0C8B-40FB-9A60-6EE75C820085}"/>
                </a:ext>
              </a:extLst>
            </p:cNvPr>
            <p:cNvGrpSpPr/>
            <p:nvPr/>
          </p:nvGrpSpPr>
          <p:grpSpPr>
            <a:xfrm>
              <a:off x="4529073" y="2787233"/>
              <a:ext cx="272034" cy="232181"/>
              <a:chOff x="4485861" y="2054748"/>
              <a:chExt cx="3220278" cy="2748504"/>
            </a:xfrm>
          </p:grpSpPr>
          <p:grpSp>
            <p:nvGrpSpPr>
              <p:cNvPr id="119" name="Group 118">
                <a:extLst>
                  <a:ext uri="{FF2B5EF4-FFF2-40B4-BE49-F238E27FC236}">
                    <a16:creationId xmlns:a16="http://schemas.microsoft.com/office/drawing/2014/main" id="{039EAD4D-43FA-4B43-B096-4D7714FA63FE}"/>
                  </a:ext>
                </a:extLst>
              </p:cNvPr>
              <p:cNvGrpSpPr/>
              <p:nvPr/>
            </p:nvGrpSpPr>
            <p:grpSpPr>
              <a:xfrm>
                <a:off x="4485861" y="3307082"/>
                <a:ext cx="3220278" cy="1496170"/>
                <a:chOff x="8040600" y="1481595"/>
                <a:chExt cx="3220278" cy="1496170"/>
              </a:xfrm>
            </p:grpSpPr>
            <p:sp>
              <p:nvSpPr>
                <p:cNvPr id="162" name="Freeform: Shape 161">
                  <a:extLst>
                    <a:ext uri="{FF2B5EF4-FFF2-40B4-BE49-F238E27FC236}">
                      <a16:creationId xmlns:a16="http://schemas.microsoft.com/office/drawing/2014/main" id="{63ADB9C9-ECCA-45A3-916D-33604FB95DCB}"/>
                    </a:ext>
                  </a:extLst>
                </p:cNvPr>
                <p:cNvSpPr/>
                <p:nvPr/>
              </p:nvSpPr>
              <p:spPr>
                <a:xfrm>
                  <a:off x="8040600" y="1481595"/>
                  <a:ext cx="3220278" cy="1496170"/>
                </a:xfrm>
                <a:custGeom>
                  <a:avLst/>
                  <a:gdLst>
                    <a:gd name="connsiteX0" fmla="*/ 1610139 w 3220278"/>
                    <a:gd name="connsiteY0" fmla="*/ 0 h 1496170"/>
                    <a:gd name="connsiteX1" fmla="*/ 3220278 w 3220278"/>
                    <a:gd name="connsiteY1" fmla="*/ 588396 h 1496170"/>
                    <a:gd name="connsiteX2" fmla="*/ 3219482 w 3220278"/>
                    <a:gd name="connsiteY2" fmla="*/ 594157 h 1496170"/>
                    <a:gd name="connsiteX3" fmla="*/ 3219482 w 3220278"/>
                    <a:gd name="connsiteY3" fmla="*/ 902014 h 1496170"/>
                    <a:gd name="connsiteX4" fmla="*/ 3220278 w 3220278"/>
                    <a:gd name="connsiteY4" fmla="*/ 907774 h 1496170"/>
                    <a:gd name="connsiteX5" fmla="*/ 1610139 w 3220278"/>
                    <a:gd name="connsiteY5" fmla="*/ 1496170 h 1496170"/>
                    <a:gd name="connsiteX6" fmla="*/ 0 w 3220278"/>
                    <a:gd name="connsiteY6" fmla="*/ 907774 h 1496170"/>
                    <a:gd name="connsiteX7" fmla="*/ 794 w 3220278"/>
                    <a:gd name="connsiteY7" fmla="*/ 902028 h 1496170"/>
                    <a:gd name="connsiteX8" fmla="*/ 794 w 3220278"/>
                    <a:gd name="connsiteY8" fmla="*/ 594142 h 1496170"/>
                    <a:gd name="connsiteX9" fmla="*/ 0 w 3220278"/>
                    <a:gd name="connsiteY9" fmla="*/ 588396 h 1496170"/>
                    <a:gd name="connsiteX10" fmla="*/ 1610139 w 3220278"/>
                    <a:gd name="connsiteY10" fmla="*/ 0 h 149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20278" h="1496170">
                      <a:moveTo>
                        <a:pt x="1610139" y="0"/>
                      </a:moveTo>
                      <a:cubicBezTo>
                        <a:pt x="2499394" y="0"/>
                        <a:pt x="3220278" y="263434"/>
                        <a:pt x="3220278" y="588396"/>
                      </a:cubicBezTo>
                      <a:lnTo>
                        <a:pt x="3219482" y="594157"/>
                      </a:lnTo>
                      <a:lnTo>
                        <a:pt x="3219482" y="902014"/>
                      </a:lnTo>
                      <a:lnTo>
                        <a:pt x="3220278" y="907774"/>
                      </a:lnTo>
                      <a:cubicBezTo>
                        <a:pt x="3220278" y="1232736"/>
                        <a:pt x="2499394" y="1496170"/>
                        <a:pt x="1610139" y="1496170"/>
                      </a:cubicBezTo>
                      <a:cubicBezTo>
                        <a:pt x="720884" y="1496170"/>
                        <a:pt x="0" y="1232736"/>
                        <a:pt x="0" y="907774"/>
                      </a:cubicBezTo>
                      <a:lnTo>
                        <a:pt x="794" y="902028"/>
                      </a:lnTo>
                      <a:lnTo>
                        <a:pt x="794" y="594142"/>
                      </a:lnTo>
                      <a:lnTo>
                        <a:pt x="0" y="588396"/>
                      </a:lnTo>
                      <a:cubicBezTo>
                        <a:pt x="0" y="263434"/>
                        <a:pt x="720884" y="0"/>
                        <a:pt x="1610139" y="0"/>
                      </a:cubicBezTo>
                      <a:close/>
                    </a:path>
                  </a:pathLst>
                </a:cu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 name="Oval 162">
                  <a:extLst>
                    <a:ext uri="{FF2B5EF4-FFF2-40B4-BE49-F238E27FC236}">
                      <a16:creationId xmlns:a16="http://schemas.microsoft.com/office/drawing/2014/main" id="{EB4629AE-3853-4D13-ACDA-41607B5A4B5D}"/>
                    </a:ext>
                  </a:extLst>
                </p:cNvPr>
                <p:cNvSpPr/>
                <p:nvPr/>
              </p:nvSpPr>
              <p:spPr>
                <a:xfrm>
                  <a:off x="8040601" y="1481595"/>
                  <a:ext cx="3220277" cy="1176792"/>
                </a:xfrm>
                <a:prstGeom prst="ellipse">
                  <a:avLst/>
                </a:prstGeom>
                <a:solidFill>
                  <a:srgbClr val="A3A3A3"/>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 name="Oval 164">
                  <a:extLst>
                    <a:ext uri="{FF2B5EF4-FFF2-40B4-BE49-F238E27FC236}">
                      <a16:creationId xmlns:a16="http://schemas.microsoft.com/office/drawing/2014/main" id="{68031F1A-1AAE-4BF8-B2CF-8AD7EF56303D}"/>
                    </a:ext>
                  </a:extLst>
                </p:cNvPr>
                <p:cNvSpPr/>
                <p:nvPr/>
              </p:nvSpPr>
              <p:spPr>
                <a:xfrm>
                  <a:off x="9123201" y="1909218"/>
                  <a:ext cx="1055077" cy="321547"/>
                </a:xfrm>
                <a:prstGeom prst="ellipse">
                  <a:avLst/>
                </a:pr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0" name="Group 119">
                <a:extLst>
                  <a:ext uri="{FF2B5EF4-FFF2-40B4-BE49-F238E27FC236}">
                    <a16:creationId xmlns:a16="http://schemas.microsoft.com/office/drawing/2014/main" id="{340B1842-3DDA-4C3B-9201-A31EFF6E10CD}"/>
                  </a:ext>
                </a:extLst>
              </p:cNvPr>
              <p:cNvGrpSpPr/>
              <p:nvPr/>
            </p:nvGrpSpPr>
            <p:grpSpPr>
              <a:xfrm>
                <a:off x="4485861" y="2054748"/>
                <a:ext cx="3220278" cy="1496170"/>
                <a:chOff x="8040600" y="1481595"/>
                <a:chExt cx="3220278" cy="1496170"/>
              </a:xfrm>
            </p:grpSpPr>
            <p:sp>
              <p:nvSpPr>
                <p:cNvPr id="156" name="Freeform: Shape 155">
                  <a:extLst>
                    <a:ext uri="{FF2B5EF4-FFF2-40B4-BE49-F238E27FC236}">
                      <a16:creationId xmlns:a16="http://schemas.microsoft.com/office/drawing/2014/main" id="{B9264D31-0AEF-4D2F-86E5-15BCDCEF1F17}"/>
                    </a:ext>
                  </a:extLst>
                </p:cNvPr>
                <p:cNvSpPr/>
                <p:nvPr/>
              </p:nvSpPr>
              <p:spPr>
                <a:xfrm>
                  <a:off x="8040600" y="1481595"/>
                  <a:ext cx="3220278" cy="1496170"/>
                </a:xfrm>
                <a:custGeom>
                  <a:avLst/>
                  <a:gdLst>
                    <a:gd name="connsiteX0" fmla="*/ 1610139 w 3220278"/>
                    <a:gd name="connsiteY0" fmla="*/ 0 h 1496170"/>
                    <a:gd name="connsiteX1" fmla="*/ 3220278 w 3220278"/>
                    <a:gd name="connsiteY1" fmla="*/ 588396 h 1496170"/>
                    <a:gd name="connsiteX2" fmla="*/ 3219482 w 3220278"/>
                    <a:gd name="connsiteY2" fmla="*/ 594157 h 1496170"/>
                    <a:gd name="connsiteX3" fmla="*/ 3219482 w 3220278"/>
                    <a:gd name="connsiteY3" fmla="*/ 902014 h 1496170"/>
                    <a:gd name="connsiteX4" fmla="*/ 3220278 w 3220278"/>
                    <a:gd name="connsiteY4" fmla="*/ 907774 h 1496170"/>
                    <a:gd name="connsiteX5" fmla="*/ 1610139 w 3220278"/>
                    <a:gd name="connsiteY5" fmla="*/ 1496170 h 1496170"/>
                    <a:gd name="connsiteX6" fmla="*/ 0 w 3220278"/>
                    <a:gd name="connsiteY6" fmla="*/ 907774 h 1496170"/>
                    <a:gd name="connsiteX7" fmla="*/ 794 w 3220278"/>
                    <a:gd name="connsiteY7" fmla="*/ 902028 h 1496170"/>
                    <a:gd name="connsiteX8" fmla="*/ 794 w 3220278"/>
                    <a:gd name="connsiteY8" fmla="*/ 594142 h 1496170"/>
                    <a:gd name="connsiteX9" fmla="*/ 0 w 3220278"/>
                    <a:gd name="connsiteY9" fmla="*/ 588396 h 1496170"/>
                    <a:gd name="connsiteX10" fmla="*/ 1610139 w 3220278"/>
                    <a:gd name="connsiteY10" fmla="*/ 0 h 149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20278" h="1496170">
                      <a:moveTo>
                        <a:pt x="1610139" y="0"/>
                      </a:moveTo>
                      <a:cubicBezTo>
                        <a:pt x="2499394" y="0"/>
                        <a:pt x="3220278" y="263434"/>
                        <a:pt x="3220278" y="588396"/>
                      </a:cubicBezTo>
                      <a:lnTo>
                        <a:pt x="3219482" y="594157"/>
                      </a:lnTo>
                      <a:lnTo>
                        <a:pt x="3219482" y="902014"/>
                      </a:lnTo>
                      <a:lnTo>
                        <a:pt x="3220278" y="907774"/>
                      </a:lnTo>
                      <a:cubicBezTo>
                        <a:pt x="3220278" y="1232736"/>
                        <a:pt x="2499394" y="1496170"/>
                        <a:pt x="1610139" y="1496170"/>
                      </a:cubicBezTo>
                      <a:cubicBezTo>
                        <a:pt x="720884" y="1496170"/>
                        <a:pt x="0" y="1232736"/>
                        <a:pt x="0" y="907774"/>
                      </a:cubicBezTo>
                      <a:lnTo>
                        <a:pt x="794" y="902028"/>
                      </a:lnTo>
                      <a:lnTo>
                        <a:pt x="794" y="594142"/>
                      </a:lnTo>
                      <a:lnTo>
                        <a:pt x="0" y="588396"/>
                      </a:lnTo>
                      <a:cubicBezTo>
                        <a:pt x="0" y="263434"/>
                        <a:pt x="720884" y="0"/>
                        <a:pt x="1610139" y="0"/>
                      </a:cubicBezTo>
                      <a:close/>
                    </a:path>
                  </a:pathLst>
                </a:cu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 name="Oval 157">
                  <a:extLst>
                    <a:ext uri="{FF2B5EF4-FFF2-40B4-BE49-F238E27FC236}">
                      <a16:creationId xmlns:a16="http://schemas.microsoft.com/office/drawing/2014/main" id="{C6DB41DD-E737-4572-A6BA-5F2BC113C36B}"/>
                    </a:ext>
                  </a:extLst>
                </p:cNvPr>
                <p:cNvSpPr/>
                <p:nvPr/>
              </p:nvSpPr>
              <p:spPr>
                <a:xfrm>
                  <a:off x="8040601" y="1481595"/>
                  <a:ext cx="3220277" cy="1176792"/>
                </a:xfrm>
                <a:prstGeom prst="ellipse">
                  <a:avLst/>
                </a:prstGeom>
                <a:solidFill>
                  <a:srgbClr val="A3A3A3"/>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 name="Oval 160">
                  <a:extLst>
                    <a:ext uri="{FF2B5EF4-FFF2-40B4-BE49-F238E27FC236}">
                      <a16:creationId xmlns:a16="http://schemas.microsoft.com/office/drawing/2014/main" id="{62B550EC-EF51-49B7-ACCB-D7987DAC4B5B}"/>
                    </a:ext>
                  </a:extLst>
                </p:cNvPr>
                <p:cNvSpPr/>
                <p:nvPr/>
              </p:nvSpPr>
              <p:spPr>
                <a:xfrm>
                  <a:off x="9123201" y="1909218"/>
                  <a:ext cx="1055077" cy="321547"/>
                </a:xfrm>
                <a:prstGeom prst="ellipse">
                  <a:avLst/>
                </a:pr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24" name="Group 23">
            <a:extLst>
              <a:ext uri="{FF2B5EF4-FFF2-40B4-BE49-F238E27FC236}">
                <a16:creationId xmlns:a16="http://schemas.microsoft.com/office/drawing/2014/main" id="{D78CC750-CB61-4545-A699-ECE02FF4B18E}"/>
              </a:ext>
            </a:extLst>
          </p:cNvPr>
          <p:cNvGrpSpPr/>
          <p:nvPr/>
        </p:nvGrpSpPr>
        <p:grpSpPr>
          <a:xfrm>
            <a:off x="6612181" y="3279230"/>
            <a:ext cx="720359" cy="620999"/>
            <a:chOff x="6612182" y="2948534"/>
            <a:chExt cx="720359" cy="620999"/>
          </a:xfrm>
        </p:grpSpPr>
        <p:sp>
          <p:nvSpPr>
            <p:cNvPr id="143" name="Hexagon 142">
              <a:extLst>
                <a:ext uri="{FF2B5EF4-FFF2-40B4-BE49-F238E27FC236}">
                  <a16:creationId xmlns:a16="http://schemas.microsoft.com/office/drawing/2014/main" id="{7167D7E9-1006-4058-953C-85ED783B81FB}"/>
                </a:ext>
              </a:extLst>
            </p:cNvPr>
            <p:cNvSpPr/>
            <p:nvPr/>
          </p:nvSpPr>
          <p:spPr>
            <a:xfrm>
              <a:off x="6612182" y="2948534"/>
              <a:ext cx="720359" cy="62099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8FD2CBF2-805F-419A-885B-DBD041A0FB29}"/>
                </a:ext>
              </a:extLst>
            </p:cNvPr>
            <p:cNvSpPr txBox="1"/>
            <p:nvPr/>
          </p:nvSpPr>
          <p:spPr>
            <a:xfrm>
              <a:off x="6698041" y="3120534"/>
              <a:ext cx="548640" cy="276999"/>
            </a:xfrm>
            <a:prstGeom prst="rect">
              <a:avLst/>
            </a:prstGeom>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97979"/>
                  </a:solidFill>
                  <a:effectLst/>
                  <a:uLnTx/>
                  <a:uFillTx/>
                  <a:latin typeface="Segoe UI Semibold" panose="020B0702040204020203" pitchFamily="34" charset="0"/>
                  <a:ea typeface="+mn-ea"/>
                  <a:cs typeface="Segoe UI Semibold" panose="020B0702040204020203" pitchFamily="34" charset="0"/>
                </a:rPr>
                <a:t>.NET</a:t>
              </a:r>
            </a:p>
          </p:txBody>
        </p:sp>
      </p:grpSp>
      <p:grpSp>
        <p:nvGrpSpPr>
          <p:cNvPr id="25" name="Group 24">
            <a:extLst>
              <a:ext uri="{FF2B5EF4-FFF2-40B4-BE49-F238E27FC236}">
                <a16:creationId xmlns:a16="http://schemas.microsoft.com/office/drawing/2014/main" id="{C04D17E1-B898-46CE-9158-85FD672E1C42}"/>
              </a:ext>
            </a:extLst>
          </p:cNvPr>
          <p:cNvGrpSpPr/>
          <p:nvPr/>
        </p:nvGrpSpPr>
        <p:grpSpPr>
          <a:xfrm>
            <a:off x="7270799" y="3138665"/>
            <a:ext cx="493265" cy="425229"/>
            <a:chOff x="7270800" y="2807969"/>
            <a:chExt cx="493265" cy="425229"/>
          </a:xfrm>
        </p:grpSpPr>
        <p:sp>
          <p:nvSpPr>
            <p:cNvPr id="47" name="Hexagon 46">
              <a:extLst>
                <a:ext uri="{FF2B5EF4-FFF2-40B4-BE49-F238E27FC236}">
                  <a16:creationId xmlns:a16="http://schemas.microsoft.com/office/drawing/2014/main" id="{4BDF521B-3417-4285-A5E0-45F151F140EE}"/>
                </a:ext>
              </a:extLst>
            </p:cNvPr>
            <p:cNvSpPr/>
            <p:nvPr/>
          </p:nvSpPr>
          <p:spPr>
            <a:xfrm>
              <a:off x="7270800" y="2807969"/>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72" name="Group 171">
              <a:extLst>
                <a:ext uri="{FF2B5EF4-FFF2-40B4-BE49-F238E27FC236}">
                  <a16:creationId xmlns:a16="http://schemas.microsoft.com/office/drawing/2014/main" id="{BAA754D2-D3AF-4DD4-9970-EE9A8AC1804D}"/>
                </a:ext>
              </a:extLst>
            </p:cNvPr>
            <p:cNvGrpSpPr/>
            <p:nvPr/>
          </p:nvGrpSpPr>
          <p:grpSpPr>
            <a:xfrm>
              <a:off x="7386024" y="2917165"/>
              <a:ext cx="262816" cy="206836"/>
              <a:chOff x="1200453" y="4307032"/>
              <a:chExt cx="421817" cy="331969"/>
            </a:xfrm>
          </p:grpSpPr>
          <p:sp>
            <p:nvSpPr>
              <p:cNvPr id="175" name="TextBox 174">
                <a:extLst>
                  <a:ext uri="{FF2B5EF4-FFF2-40B4-BE49-F238E27FC236}">
                    <a16:creationId xmlns:a16="http://schemas.microsoft.com/office/drawing/2014/main" id="{03DEAA99-5A83-4A49-8F52-64F628F0ABF5}"/>
                  </a:ext>
                </a:extLst>
              </p:cNvPr>
              <p:cNvSpPr txBox="1"/>
              <p:nvPr/>
            </p:nvSpPr>
            <p:spPr>
              <a:xfrm>
                <a:off x="1239230" y="4359730"/>
                <a:ext cx="344265" cy="197592"/>
              </a:xfrm>
              <a:prstGeom prst="rect">
                <a:avLst/>
              </a:prstGeom>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97979"/>
                    </a:solidFill>
                    <a:effectLst/>
                    <a:uLnTx/>
                    <a:uFillTx/>
                    <a:latin typeface="Showcard Gothic" panose="04020904020102020604" pitchFamily="82" charset="0"/>
                    <a:ea typeface="+mn-ea"/>
                    <a:cs typeface="Shruti" panose="020B0502040204020203" pitchFamily="34" charset="0"/>
                  </a:rPr>
                  <a:t>&lt;/&gt;</a:t>
                </a:r>
              </a:p>
            </p:txBody>
          </p:sp>
          <p:sp>
            <p:nvSpPr>
              <p:cNvPr id="176" name="Freeform 127">
                <a:extLst>
                  <a:ext uri="{FF2B5EF4-FFF2-40B4-BE49-F238E27FC236}">
                    <a16:creationId xmlns:a16="http://schemas.microsoft.com/office/drawing/2014/main" id="{C4D99701-85EE-451D-B1FC-746CFC5BE12E}"/>
                  </a:ext>
                </a:extLst>
              </p:cNvPr>
              <p:cNvSpPr>
                <a:spLocks noChangeAspect="1"/>
              </p:cNvSpPr>
              <p:nvPr/>
            </p:nvSpPr>
            <p:spPr bwMode="black">
              <a:xfrm>
                <a:off x="1200453" y="4307032"/>
                <a:ext cx="421817" cy="331969"/>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rgbClr val="797979"/>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7" name="Group 26">
            <a:extLst>
              <a:ext uri="{FF2B5EF4-FFF2-40B4-BE49-F238E27FC236}">
                <a16:creationId xmlns:a16="http://schemas.microsoft.com/office/drawing/2014/main" id="{DB4ABDCA-BDDE-46A5-A9E3-21C98A7A49B0}"/>
              </a:ext>
            </a:extLst>
          </p:cNvPr>
          <p:cNvGrpSpPr/>
          <p:nvPr/>
        </p:nvGrpSpPr>
        <p:grpSpPr>
          <a:xfrm>
            <a:off x="7053552" y="3957018"/>
            <a:ext cx="493265" cy="425229"/>
            <a:chOff x="7053553" y="3626322"/>
            <a:chExt cx="493265" cy="425229"/>
          </a:xfrm>
        </p:grpSpPr>
        <p:sp>
          <p:nvSpPr>
            <p:cNvPr id="108" name="Hexagon 107">
              <a:extLst>
                <a:ext uri="{FF2B5EF4-FFF2-40B4-BE49-F238E27FC236}">
                  <a16:creationId xmlns:a16="http://schemas.microsoft.com/office/drawing/2014/main" id="{D03AEF14-74F7-4B58-BBCC-614E76B7AA55}"/>
                </a:ext>
              </a:extLst>
            </p:cNvPr>
            <p:cNvSpPr/>
            <p:nvPr/>
          </p:nvSpPr>
          <p:spPr>
            <a:xfrm>
              <a:off x="7053553" y="3626322"/>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7" name="Freeform 5">
              <a:extLst>
                <a:ext uri="{FF2B5EF4-FFF2-40B4-BE49-F238E27FC236}">
                  <a16:creationId xmlns:a16="http://schemas.microsoft.com/office/drawing/2014/main" id="{9EBEBB66-72FB-40E0-B693-BB5B2B164631}"/>
                </a:ext>
              </a:extLst>
            </p:cNvPr>
            <p:cNvSpPr>
              <a:spLocks noEditPoints="1"/>
            </p:cNvSpPr>
            <p:nvPr/>
          </p:nvSpPr>
          <p:spPr bwMode="black">
            <a:xfrm>
              <a:off x="7183114" y="3748084"/>
              <a:ext cx="234142" cy="181704"/>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797979"/>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0" name="Group 109">
            <a:extLst>
              <a:ext uri="{FF2B5EF4-FFF2-40B4-BE49-F238E27FC236}">
                <a16:creationId xmlns:a16="http://schemas.microsoft.com/office/drawing/2014/main" id="{76CC4963-CE8A-46CA-9206-C3DFFB7821D3}"/>
              </a:ext>
            </a:extLst>
          </p:cNvPr>
          <p:cNvGrpSpPr/>
          <p:nvPr/>
        </p:nvGrpSpPr>
        <p:grpSpPr>
          <a:xfrm>
            <a:off x="7276997" y="3617398"/>
            <a:ext cx="493265" cy="425229"/>
            <a:chOff x="8516643" y="4170132"/>
            <a:chExt cx="791685" cy="682487"/>
          </a:xfrm>
        </p:grpSpPr>
        <p:sp>
          <p:nvSpPr>
            <p:cNvPr id="111" name="Hexagon 110">
              <a:extLst>
                <a:ext uri="{FF2B5EF4-FFF2-40B4-BE49-F238E27FC236}">
                  <a16:creationId xmlns:a16="http://schemas.microsoft.com/office/drawing/2014/main" id="{A87E04AB-334D-4757-BE31-C85E1B475BB0}"/>
                </a:ext>
              </a:extLst>
            </p:cNvPr>
            <p:cNvSpPr/>
            <p:nvPr/>
          </p:nvSpPr>
          <p:spPr>
            <a:xfrm>
              <a:off x="8516643" y="4170132"/>
              <a:ext cx="791685" cy="682487"/>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B4441E37-8ED8-443F-B8F1-1166AACA7BFB}"/>
                </a:ext>
              </a:extLst>
            </p:cNvPr>
            <p:cNvSpPr/>
            <p:nvPr/>
          </p:nvSpPr>
          <p:spPr>
            <a:xfrm>
              <a:off x="8683283" y="4348856"/>
              <a:ext cx="458405" cy="325038"/>
            </a:xfrm>
            <a:custGeom>
              <a:avLst/>
              <a:gdLst>
                <a:gd name="connsiteX0" fmla="*/ 186728 w 942360"/>
                <a:gd name="connsiteY0" fmla="*/ 441322 h 668193"/>
                <a:gd name="connsiteX1" fmla="*/ 136255 w 942360"/>
                <a:gd name="connsiteY1" fmla="*/ 491391 h 668193"/>
                <a:gd name="connsiteX2" fmla="*/ 186963 w 942360"/>
                <a:gd name="connsiteY2" fmla="*/ 539928 h 668193"/>
                <a:gd name="connsiteX3" fmla="*/ 237797 w 942360"/>
                <a:gd name="connsiteY3" fmla="*/ 490603 h 668193"/>
                <a:gd name="connsiteX4" fmla="*/ 186728 w 942360"/>
                <a:gd name="connsiteY4" fmla="*/ 441322 h 668193"/>
                <a:gd name="connsiteX5" fmla="*/ 523719 w 942360"/>
                <a:gd name="connsiteY5" fmla="*/ 236684 h 668193"/>
                <a:gd name="connsiteX6" fmla="*/ 620388 w 942360"/>
                <a:gd name="connsiteY6" fmla="*/ 236684 h 668193"/>
                <a:gd name="connsiteX7" fmla="*/ 620388 w 942360"/>
                <a:gd name="connsiteY7" fmla="*/ 333353 h 668193"/>
                <a:gd name="connsiteX8" fmla="*/ 523719 w 942360"/>
                <a:gd name="connsiteY8" fmla="*/ 333353 h 668193"/>
                <a:gd name="connsiteX9" fmla="*/ 405920 w 942360"/>
                <a:gd name="connsiteY9" fmla="*/ 236684 h 668193"/>
                <a:gd name="connsiteX10" fmla="*/ 502589 w 942360"/>
                <a:gd name="connsiteY10" fmla="*/ 236684 h 668193"/>
                <a:gd name="connsiteX11" fmla="*/ 502589 w 942360"/>
                <a:gd name="connsiteY11" fmla="*/ 333353 h 668193"/>
                <a:gd name="connsiteX12" fmla="*/ 405920 w 942360"/>
                <a:gd name="connsiteY12" fmla="*/ 333353 h 668193"/>
                <a:gd name="connsiteX13" fmla="*/ 288100 w 942360"/>
                <a:gd name="connsiteY13" fmla="*/ 236684 h 668193"/>
                <a:gd name="connsiteX14" fmla="*/ 384769 w 942360"/>
                <a:gd name="connsiteY14" fmla="*/ 236684 h 668193"/>
                <a:gd name="connsiteX15" fmla="*/ 384769 w 942360"/>
                <a:gd name="connsiteY15" fmla="*/ 333353 h 668193"/>
                <a:gd name="connsiteX16" fmla="*/ 288100 w 942360"/>
                <a:gd name="connsiteY16" fmla="*/ 333353 h 668193"/>
                <a:gd name="connsiteX17" fmla="*/ 170301 w 942360"/>
                <a:gd name="connsiteY17" fmla="*/ 236684 h 668193"/>
                <a:gd name="connsiteX18" fmla="*/ 266970 w 942360"/>
                <a:gd name="connsiteY18" fmla="*/ 236684 h 668193"/>
                <a:gd name="connsiteX19" fmla="*/ 266970 w 942360"/>
                <a:gd name="connsiteY19" fmla="*/ 333353 h 668193"/>
                <a:gd name="connsiteX20" fmla="*/ 170301 w 942360"/>
                <a:gd name="connsiteY20" fmla="*/ 333353 h 668193"/>
                <a:gd name="connsiteX21" fmla="*/ 52502 w 942360"/>
                <a:gd name="connsiteY21" fmla="*/ 236684 h 668193"/>
                <a:gd name="connsiteX22" fmla="*/ 149171 w 942360"/>
                <a:gd name="connsiteY22" fmla="*/ 236684 h 668193"/>
                <a:gd name="connsiteX23" fmla="*/ 149171 w 942360"/>
                <a:gd name="connsiteY23" fmla="*/ 333353 h 668193"/>
                <a:gd name="connsiteX24" fmla="*/ 52502 w 942360"/>
                <a:gd name="connsiteY24" fmla="*/ 333353 h 668193"/>
                <a:gd name="connsiteX25" fmla="*/ 746016 w 942360"/>
                <a:gd name="connsiteY25" fmla="*/ 172869 h 668193"/>
                <a:gd name="connsiteX26" fmla="*/ 752615 w 942360"/>
                <a:gd name="connsiteY26" fmla="*/ 175571 h 668193"/>
                <a:gd name="connsiteX27" fmla="*/ 817941 w 942360"/>
                <a:gd name="connsiteY27" fmla="*/ 269198 h 668193"/>
                <a:gd name="connsiteX28" fmla="*/ 827580 w 942360"/>
                <a:gd name="connsiteY28" fmla="*/ 272496 h 668193"/>
                <a:gd name="connsiteX29" fmla="*/ 900268 w 942360"/>
                <a:gd name="connsiteY29" fmla="*/ 273049 h 668193"/>
                <a:gd name="connsiteX30" fmla="*/ 938315 w 942360"/>
                <a:gd name="connsiteY30" fmla="*/ 289051 h 668193"/>
                <a:gd name="connsiteX31" fmla="*/ 940762 w 942360"/>
                <a:gd name="connsiteY31" fmla="*/ 298711 h 668193"/>
                <a:gd name="connsiteX32" fmla="*/ 842880 w 942360"/>
                <a:gd name="connsiteY32" fmla="*/ 368421 h 668193"/>
                <a:gd name="connsiteX33" fmla="*/ 808004 w 942360"/>
                <a:gd name="connsiteY33" fmla="*/ 370783 h 668193"/>
                <a:gd name="connsiteX34" fmla="*/ 792024 w 942360"/>
                <a:gd name="connsiteY34" fmla="*/ 381422 h 668193"/>
                <a:gd name="connsiteX35" fmla="*/ 696163 w 942360"/>
                <a:gd name="connsiteY35" fmla="*/ 524479 h 668193"/>
                <a:gd name="connsiteX36" fmla="*/ 442371 w 942360"/>
                <a:gd name="connsiteY36" fmla="*/ 655386 h 668193"/>
                <a:gd name="connsiteX37" fmla="*/ 253161 w 942360"/>
                <a:gd name="connsiteY37" fmla="*/ 663898 h 668193"/>
                <a:gd name="connsiteX38" fmla="*/ 44948 w 942360"/>
                <a:gd name="connsiteY38" fmla="*/ 546013 h 668193"/>
                <a:gd name="connsiteX39" fmla="*/ 2135 w 942360"/>
                <a:gd name="connsiteY39" fmla="*/ 363122 h 668193"/>
                <a:gd name="connsiteX40" fmla="*/ 7285 w 942360"/>
                <a:gd name="connsiteY40" fmla="*/ 358058 h 668193"/>
                <a:gd name="connsiteX41" fmla="*/ 628560 w 942360"/>
                <a:gd name="connsiteY41" fmla="*/ 358058 h 668193"/>
                <a:gd name="connsiteX42" fmla="*/ 725464 w 942360"/>
                <a:gd name="connsiteY42" fmla="*/ 337630 h 668193"/>
                <a:gd name="connsiteX43" fmla="*/ 729145 w 942360"/>
                <a:gd name="connsiteY43" fmla="*/ 324863 h 668193"/>
                <a:gd name="connsiteX44" fmla="*/ 740104 w 942360"/>
                <a:gd name="connsiteY44" fmla="*/ 176869 h 668193"/>
                <a:gd name="connsiteX45" fmla="*/ 746016 w 942360"/>
                <a:gd name="connsiteY45" fmla="*/ 172869 h 668193"/>
                <a:gd name="connsiteX46" fmla="*/ 405920 w 942360"/>
                <a:gd name="connsiteY46" fmla="*/ 117693 h 668193"/>
                <a:gd name="connsiteX47" fmla="*/ 502589 w 942360"/>
                <a:gd name="connsiteY47" fmla="*/ 117693 h 668193"/>
                <a:gd name="connsiteX48" fmla="*/ 502589 w 942360"/>
                <a:gd name="connsiteY48" fmla="*/ 214362 h 668193"/>
                <a:gd name="connsiteX49" fmla="*/ 405920 w 942360"/>
                <a:gd name="connsiteY49" fmla="*/ 214362 h 668193"/>
                <a:gd name="connsiteX50" fmla="*/ 288100 w 942360"/>
                <a:gd name="connsiteY50" fmla="*/ 117693 h 668193"/>
                <a:gd name="connsiteX51" fmla="*/ 384769 w 942360"/>
                <a:gd name="connsiteY51" fmla="*/ 117693 h 668193"/>
                <a:gd name="connsiteX52" fmla="*/ 384769 w 942360"/>
                <a:gd name="connsiteY52" fmla="*/ 214362 h 668193"/>
                <a:gd name="connsiteX53" fmla="*/ 288100 w 942360"/>
                <a:gd name="connsiteY53" fmla="*/ 214362 h 668193"/>
                <a:gd name="connsiteX54" fmla="*/ 170301 w 942360"/>
                <a:gd name="connsiteY54" fmla="*/ 117693 h 668193"/>
                <a:gd name="connsiteX55" fmla="*/ 266970 w 942360"/>
                <a:gd name="connsiteY55" fmla="*/ 117693 h 668193"/>
                <a:gd name="connsiteX56" fmla="*/ 266970 w 942360"/>
                <a:gd name="connsiteY56" fmla="*/ 214362 h 668193"/>
                <a:gd name="connsiteX57" fmla="*/ 170301 w 942360"/>
                <a:gd name="connsiteY57" fmla="*/ 214362 h 668193"/>
                <a:gd name="connsiteX58" fmla="*/ 405920 w 942360"/>
                <a:gd name="connsiteY58" fmla="*/ 0 h 668193"/>
                <a:gd name="connsiteX59" fmla="*/ 502589 w 942360"/>
                <a:gd name="connsiteY59" fmla="*/ 0 h 668193"/>
                <a:gd name="connsiteX60" fmla="*/ 502589 w 942360"/>
                <a:gd name="connsiteY60" fmla="*/ 96669 h 668193"/>
                <a:gd name="connsiteX61" fmla="*/ 405920 w 942360"/>
                <a:gd name="connsiteY61" fmla="*/ 96669 h 66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42360" h="668193">
                  <a:moveTo>
                    <a:pt x="186728" y="441322"/>
                  </a:moveTo>
                  <a:cubicBezTo>
                    <a:pt x="159066" y="441811"/>
                    <a:pt x="135766" y="464856"/>
                    <a:pt x="136255" y="491391"/>
                  </a:cubicBezTo>
                  <a:cubicBezTo>
                    <a:pt x="136745" y="517925"/>
                    <a:pt x="159811" y="539928"/>
                    <a:pt x="186963" y="539928"/>
                  </a:cubicBezTo>
                  <a:cubicBezTo>
                    <a:pt x="215072" y="539928"/>
                    <a:pt x="237819" y="517798"/>
                    <a:pt x="237797" y="490603"/>
                  </a:cubicBezTo>
                  <a:cubicBezTo>
                    <a:pt x="237797" y="463664"/>
                    <a:pt x="214178" y="440854"/>
                    <a:pt x="186728" y="441322"/>
                  </a:cubicBezTo>
                  <a:close/>
                  <a:moveTo>
                    <a:pt x="523719" y="236684"/>
                  </a:moveTo>
                  <a:lnTo>
                    <a:pt x="620388" y="236684"/>
                  </a:lnTo>
                  <a:lnTo>
                    <a:pt x="620388" y="333353"/>
                  </a:lnTo>
                  <a:lnTo>
                    <a:pt x="523719" y="333353"/>
                  </a:lnTo>
                  <a:close/>
                  <a:moveTo>
                    <a:pt x="405920" y="236684"/>
                  </a:moveTo>
                  <a:lnTo>
                    <a:pt x="502589" y="236684"/>
                  </a:lnTo>
                  <a:lnTo>
                    <a:pt x="502589" y="333353"/>
                  </a:lnTo>
                  <a:lnTo>
                    <a:pt x="405920" y="333353"/>
                  </a:lnTo>
                  <a:close/>
                  <a:moveTo>
                    <a:pt x="288100" y="236684"/>
                  </a:moveTo>
                  <a:lnTo>
                    <a:pt x="384769" y="236684"/>
                  </a:lnTo>
                  <a:lnTo>
                    <a:pt x="384769" y="333353"/>
                  </a:lnTo>
                  <a:lnTo>
                    <a:pt x="288100" y="333353"/>
                  </a:lnTo>
                  <a:close/>
                  <a:moveTo>
                    <a:pt x="170301" y="236684"/>
                  </a:moveTo>
                  <a:lnTo>
                    <a:pt x="266970" y="236684"/>
                  </a:lnTo>
                  <a:lnTo>
                    <a:pt x="266970" y="333353"/>
                  </a:lnTo>
                  <a:lnTo>
                    <a:pt x="170301" y="333353"/>
                  </a:lnTo>
                  <a:close/>
                  <a:moveTo>
                    <a:pt x="52502" y="236684"/>
                  </a:moveTo>
                  <a:lnTo>
                    <a:pt x="149171" y="236684"/>
                  </a:lnTo>
                  <a:lnTo>
                    <a:pt x="149171" y="333353"/>
                  </a:lnTo>
                  <a:lnTo>
                    <a:pt x="52502" y="333353"/>
                  </a:lnTo>
                  <a:close/>
                  <a:moveTo>
                    <a:pt x="746016" y="172869"/>
                  </a:moveTo>
                  <a:cubicBezTo>
                    <a:pt x="747870" y="172587"/>
                    <a:pt x="749838" y="173422"/>
                    <a:pt x="752615" y="175571"/>
                  </a:cubicBezTo>
                  <a:cubicBezTo>
                    <a:pt x="784236" y="200021"/>
                    <a:pt x="809813" y="228534"/>
                    <a:pt x="817941" y="269198"/>
                  </a:cubicBezTo>
                  <a:cubicBezTo>
                    <a:pt x="819431" y="276624"/>
                    <a:pt x="824133" y="273262"/>
                    <a:pt x="827580" y="272496"/>
                  </a:cubicBezTo>
                  <a:cubicBezTo>
                    <a:pt x="851536" y="267136"/>
                    <a:pt x="876398" y="267325"/>
                    <a:pt x="900268" y="273049"/>
                  </a:cubicBezTo>
                  <a:cubicBezTo>
                    <a:pt x="913844" y="276284"/>
                    <a:pt x="926122" y="282476"/>
                    <a:pt x="938315" y="289051"/>
                  </a:cubicBezTo>
                  <a:cubicBezTo>
                    <a:pt x="943528" y="291860"/>
                    <a:pt x="942954" y="294115"/>
                    <a:pt x="940762" y="298711"/>
                  </a:cubicBezTo>
                  <a:cubicBezTo>
                    <a:pt x="921079" y="340248"/>
                    <a:pt x="886693" y="360867"/>
                    <a:pt x="842880" y="368421"/>
                  </a:cubicBezTo>
                  <a:cubicBezTo>
                    <a:pt x="831325" y="370421"/>
                    <a:pt x="819473" y="372059"/>
                    <a:pt x="808004" y="370783"/>
                  </a:cubicBezTo>
                  <a:cubicBezTo>
                    <a:pt x="798407" y="369719"/>
                    <a:pt x="795237" y="373932"/>
                    <a:pt x="792024" y="381422"/>
                  </a:cubicBezTo>
                  <a:cubicBezTo>
                    <a:pt x="769400" y="434738"/>
                    <a:pt x="736873" y="483281"/>
                    <a:pt x="696163" y="524479"/>
                  </a:cubicBezTo>
                  <a:cubicBezTo>
                    <a:pt x="625602" y="595295"/>
                    <a:pt x="539594" y="636469"/>
                    <a:pt x="442371" y="655386"/>
                  </a:cubicBezTo>
                  <a:cubicBezTo>
                    <a:pt x="379812" y="667600"/>
                    <a:pt x="316635" y="672409"/>
                    <a:pt x="253161" y="663898"/>
                  </a:cubicBezTo>
                  <a:cubicBezTo>
                    <a:pt x="168110" y="652513"/>
                    <a:pt x="95932" y="617425"/>
                    <a:pt x="44948" y="546013"/>
                  </a:cubicBezTo>
                  <a:cubicBezTo>
                    <a:pt x="5753" y="491114"/>
                    <a:pt x="-5206" y="429150"/>
                    <a:pt x="2135" y="363122"/>
                  </a:cubicBezTo>
                  <a:cubicBezTo>
                    <a:pt x="2518" y="359718"/>
                    <a:pt x="3604" y="357866"/>
                    <a:pt x="7285" y="358058"/>
                  </a:cubicBezTo>
                  <a:cubicBezTo>
                    <a:pt x="10179" y="358079"/>
                    <a:pt x="528550" y="358101"/>
                    <a:pt x="628560" y="358058"/>
                  </a:cubicBezTo>
                  <a:cubicBezTo>
                    <a:pt x="662266" y="358058"/>
                    <a:pt x="694695" y="351972"/>
                    <a:pt x="725464" y="337630"/>
                  </a:cubicBezTo>
                  <a:cubicBezTo>
                    <a:pt x="732635" y="334290"/>
                    <a:pt x="733805" y="331758"/>
                    <a:pt x="729145" y="324863"/>
                  </a:cubicBezTo>
                  <a:cubicBezTo>
                    <a:pt x="703057" y="285689"/>
                    <a:pt x="705057" y="211873"/>
                    <a:pt x="740104" y="176869"/>
                  </a:cubicBezTo>
                  <a:cubicBezTo>
                    <a:pt x="742423" y="174550"/>
                    <a:pt x="744162" y="173151"/>
                    <a:pt x="746016" y="172869"/>
                  </a:cubicBezTo>
                  <a:close/>
                  <a:moveTo>
                    <a:pt x="405920" y="117693"/>
                  </a:moveTo>
                  <a:lnTo>
                    <a:pt x="502589" y="117693"/>
                  </a:lnTo>
                  <a:lnTo>
                    <a:pt x="502589" y="214362"/>
                  </a:lnTo>
                  <a:lnTo>
                    <a:pt x="405920" y="214362"/>
                  </a:lnTo>
                  <a:close/>
                  <a:moveTo>
                    <a:pt x="288100" y="117693"/>
                  </a:moveTo>
                  <a:lnTo>
                    <a:pt x="384769" y="117693"/>
                  </a:lnTo>
                  <a:lnTo>
                    <a:pt x="384769" y="214362"/>
                  </a:lnTo>
                  <a:lnTo>
                    <a:pt x="288100" y="214362"/>
                  </a:lnTo>
                  <a:close/>
                  <a:moveTo>
                    <a:pt x="170301" y="117693"/>
                  </a:moveTo>
                  <a:lnTo>
                    <a:pt x="266970" y="117693"/>
                  </a:lnTo>
                  <a:lnTo>
                    <a:pt x="266970" y="214362"/>
                  </a:lnTo>
                  <a:lnTo>
                    <a:pt x="170301" y="214362"/>
                  </a:lnTo>
                  <a:close/>
                  <a:moveTo>
                    <a:pt x="405920" y="0"/>
                  </a:moveTo>
                  <a:lnTo>
                    <a:pt x="502589" y="0"/>
                  </a:lnTo>
                  <a:lnTo>
                    <a:pt x="502589" y="96669"/>
                  </a:lnTo>
                  <a:lnTo>
                    <a:pt x="405920" y="96669"/>
                  </a:lnTo>
                  <a:close/>
                </a:path>
              </a:pathLst>
            </a:custGeom>
            <a:solidFill>
              <a:srgbClr val="797979"/>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7" name="Rectangle 106">
            <a:extLst>
              <a:ext uri="{FF2B5EF4-FFF2-40B4-BE49-F238E27FC236}">
                <a16:creationId xmlns:a16="http://schemas.microsoft.com/office/drawing/2014/main" id="{B58F1B31-8C57-4ADD-9554-7D9A295DE6AF}"/>
              </a:ext>
            </a:extLst>
          </p:cNvPr>
          <p:cNvSpPr/>
          <p:nvPr/>
        </p:nvSpPr>
        <p:spPr>
          <a:xfrm>
            <a:off x="3924918" y="1879442"/>
            <a:ext cx="123578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lang="en-US" sz="1200">
                <a:solidFill>
                  <a:srgbClr val="0078D7"/>
                </a:solidFill>
                <a:latin typeface="Segoe UI" panose="020B0502040204020203" pitchFamily="34" charset="0"/>
                <a:cs typeface="Segoe UI" panose="020B0502040204020203" pitchFamily="34" charset="0"/>
              </a:rPr>
              <a:t>M</a:t>
            </a:r>
            <a:r>
              <a:rPr kumimoji="0" lang="en-US" sz="1200" b="0" i="0" u="none" strike="noStrike" kern="1200" cap="none" spc="0" normalizeH="0" baseline="0" noProof="0" err="1">
                <a:ln>
                  <a:noFill/>
                </a:ln>
                <a:solidFill>
                  <a:srgbClr val="0078D7"/>
                </a:solidFill>
                <a:effectLst/>
                <a:uLnTx/>
                <a:uFillTx/>
                <a:latin typeface="Segoe UI" panose="020B0502040204020203" pitchFamily="34" charset="0"/>
                <a:ea typeface="+mn-ea"/>
                <a:cs typeface="Segoe UI" panose="020B0502040204020203" pitchFamily="34" charset="0"/>
              </a:rPr>
              <a:t>icroservices</a:t>
            </a: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 development</a:t>
            </a:r>
          </a:p>
        </p:txBody>
      </p:sp>
      <p:pic>
        <p:nvPicPr>
          <p:cNvPr id="100" name="Picture 99">
            <a:extLst>
              <a:ext uri="{FF2B5EF4-FFF2-40B4-BE49-F238E27FC236}">
                <a16:creationId xmlns:a16="http://schemas.microsoft.com/office/drawing/2014/main" id="{DF225C15-9E88-436D-86A5-E071E4C10E8F}"/>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0" b="100000" l="0" r="94667"/>
                    </a14:imgEffect>
                  </a14:imgLayer>
                </a14:imgProps>
              </a:ext>
            </a:extLst>
          </a:blip>
          <a:stretch>
            <a:fillRect/>
          </a:stretch>
        </p:blipFill>
        <p:spPr>
          <a:xfrm>
            <a:off x="2166158" y="3588495"/>
            <a:ext cx="442396" cy="527925"/>
          </a:xfrm>
          <a:prstGeom prst="rect">
            <a:avLst/>
          </a:prstGeom>
        </p:spPr>
      </p:pic>
      <p:pic>
        <p:nvPicPr>
          <p:cNvPr id="101" name="Picture 100">
            <a:extLst>
              <a:ext uri="{FF2B5EF4-FFF2-40B4-BE49-F238E27FC236}">
                <a16:creationId xmlns:a16="http://schemas.microsoft.com/office/drawing/2014/main" id="{1D6C79BA-EF97-488B-8904-E2D3B7F0D6CA}"/>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0" b="100000" l="0" r="100000">
                        <a14:foregroundMark x1="83871" y1="9357" x2="83871" y2="9357"/>
                        <a14:foregroundMark x1="52903" y1="35673" x2="83871" y2="24561"/>
                        <a14:foregroundMark x1="92903" y1="17544" x2="77419" y2="9357"/>
                        <a14:foregroundMark x1="63871" y1="31579" x2="92903" y2="20468"/>
                        <a14:foregroundMark x1="16129" y1="30409" x2="17419" y2="23392"/>
                        <a14:foregroundMark x1="21935" y1="62573" x2="25161" y2="73684"/>
                      </a14:backgroundRemoval>
                    </a14:imgEffect>
                  </a14:imgLayer>
                </a14:imgProps>
              </a:ext>
            </a:extLst>
          </a:blip>
          <a:stretch>
            <a:fillRect/>
          </a:stretch>
        </p:blipFill>
        <p:spPr>
          <a:xfrm>
            <a:off x="9266569" y="3546174"/>
            <a:ext cx="521272" cy="575081"/>
          </a:xfrm>
          <a:prstGeom prst="rect">
            <a:avLst/>
          </a:prstGeom>
        </p:spPr>
      </p:pic>
      <p:grpSp>
        <p:nvGrpSpPr>
          <p:cNvPr id="2" name="Group 1">
            <a:extLst>
              <a:ext uri="{FF2B5EF4-FFF2-40B4-BE49-F238E27FC236}">
                <a16:creationId xmlns:a16="http://schemas.microsoft.com/office/drawing/2014/main" id="{197643F6-CBF3-4254-A093-D9FE3B8762C8}"/>
              </a:ext>
            </a:extLst>
          </p:cNvPr>
          <p:cNvGrpSpPr/>
          <p:nvPr/>
        </p:nvGrpSpPr>
        <p:grpSpPr>
          <a:xfrm>
            <a:off x="0" y="6107218"/>
            <a:ext cx="12192000" cy="750781"/>
            <a:chOff x="0" y="6107218"/>
            <a:chExt cx="12192000" cy="750781"/>
          </a:xfrm>
        </p:grpSpPr>
        <p:grpSp>
          <p:nvGrpSpPr>
            <p:cNvPr id="105" name="Group 104">
              <a:extLst>
                <a:ext uri="{FF2B5EF4-FFF2-40B4-BE49-F238E27FC236}">
                  <a16:creationId xmlns:a16="http://schemas.microsoft.com/office/drawing/2014/main" id="{5E6F1293-1AA8-4570-B71C-B64B0B1E197E}"/>
                </a:ext>
              </a:extLst>
            </p:cNvPr>
            <p:cNvGrpSpPr/>
            <p:nvPr/>
          </p:nvGrpSpPr>
          <p:grpSpPr>
            <a:xfrm>
              <a:off x="0" y="6107218"/>
              <a:ext cx="12192000" cy="750781"/>
              <a:chOff x="0" y="6107218"/>
              <a:chExt cx="12192000" cy="750781"/>
            </a:xfrm>
          </p:grpSpPr>
          <p:sp>
            <p:nvSpPr>
              <p:cNvPr id="109" name="Rectangle 108">
                <a:extLst>
                  <a:ext uri="{FF2B5EF4-FFF2-40B4-BE49-F238E27FC236}">
                    <a16:creationId xmlns:a16="http://schemas.microsoft.com/office/drawing/2014/main" id="{5A66A95D-AD6D-43BB-97E1-297B58FB1AA8}"/>
                  </a:ext>
                </a:extLst>
              </p:cNvPr>
              <p:cNvSpPr/>
              <p:nvPr/>
            </p:nvSpPr>
            <p:spPr bwMode="auto">
              <a:xfrm>
                <a:off x="0" y="6107218"/>
                <a:ext cx="12192000" cy="75078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8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34" name="Rectangle 133">
                <a:extLst>
                  <a:ext uri="{FF2B5EF4-FFF2-40B4-BE49-F238E27FC236}">
                    <a16:creationId xmlns:a16="http://schemas.microsoft.com/office/drawing/2014/main" id="{6695C31A-53F4-4405-8433-0813035BA935}"/>
                  </a:ext>
                </a:extLst>
              </p:cNvPr>
              <p:cNvSpPr/>
              <p:nvPr/>
            </p:nvSpPr>
            <p:spPr>
              <a:xfrm>
                <a:off x="4516084" y="6207199"/>
                <a:ext cx="3703451" cy="480131"/>
              </a:xfrm>
              <a:prstGeom prst="rect">
                <a:avLst/>
              </a:prstGeom>
            </p:spPr>
            <p:txBody>
              <a:bodyPr wrap="square">
                <a:spAutoFit/>
              </a:bodyPr>
              <a:lstStyle/>
              <a:p>
                <a:pPr algn="ctr" defTabSz="914102" fontAlgn="base">
                  <a:lnSpc>
                    <a:spcPct val="90000"/>
                  </a:lnSpc>
                  <a:spcBef>
                    <a:spcPct val="0"/>
                  </a:spcBef>
                  <a:spcAft>
                    <a:spcPct val="0"/>
                  </a:spcAft>
                </a:pPr>
                <a:r>
                  <a:rPr lang="en-US" sz="2800" b="1">
                    <a:solidFill>
                      <a:srgbClr val="DD5900"/>
                    </a:solidFill>
                    <a:latin typeface="Segoe UI Light" panose="020B0502040204020203" pitchFamily="34" charset="0"/>
                    <a:ea typeface="Segoe UI" pitchFamily="34" charset="0"/>
                    <a:cs typeface="Segoe UI Light" panose="020B0502040204020203" pitchFamily="34" charset="0"/>
                  </a:rPr>
                  <a:t>      Service Fabric Mesh</a:t>
                </a:r>
              </a:p>
            </p:txBody>
          </p:sp>
        </p:grpSp>
        <p:pic>
          <p:nvPicPr>
            <p:cNvPr id="99" name="Graphic 98">
              <a:extLst>
                <a:ext uri="{FF2B5EF4-FFF2-40B4-BE49-F238E27FC236}">
                  <a16:creationId xmlns:a16="http://schemas.microsoft.com/office/drawing/2014/main" id="{DD053DC1-2DC7-4429-A2FC-696CE84FDBD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667464" y="6210245"/>
              <a:ext cx="442137" cy="442137"/>
            </a:xfrm>
            <a:prstGeom prst="rect">
              <a:avLst/>
            </a:prstGeom>
          </p:spPr>
        </p:pic>
      </p:grpSp>
    </p:spTree>
    <p:extLst>
      <p:ext uri="{BB962C8B-B14F-4D97-AF65-F5344CB8AC3E}">
        <p14:creationId xmlns:p14="http://schemas.microsoft.com/office/powerpoint/2010/main" val="18469287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A0C5DA22-43FE-4D04-AA42-6A6CDDEF2F6F}"/>
              </a:ext>
            </a:extLst>
          </p:cNvPr>
          <p:cNvGrpSpPr/>
          <p:nvPr/>
        </p:nvGrpSpPr>
        <p:grpSpPr>
          <a:xfrm>
            <a:off x="6604490" y="1492883"/>
            <a:ext cx="3859078" cy="4040008"/>
            <a:chOff x="6604490" y="1492883"/>
            <a:chExt cx="3859078" cy="4040008"/>
          </a:xfrm>
        </p:grpSpPr>
        <p:sp>
          <p:nvSpPr>
            <p:cNvPr id="282" name="Rectangle: Rounded Corners 281">
              <a:extLst>
                <a:ext uri="{FF2B5EF4-FFF2-40B4-BE49-F238E27FC236}">
                  <a16:creationId xmlns:a16="http://schemas.microsoft.com/office/drawing/2014/main" id="{A1D626E0-93FD-4527-ACF7-486202460CF0}"/>
                </a:ext>
              </a:extLst>
            </p:cNvPr>
            <p:cNvSpPr/>
            <p:nvPr/>
          </p:nvSpPr>
          <p:spPr bwMode="auto">
            <a:xfrm>
              <a:off x="6863617" y="1761397"/>
              <a:ext cx="3599951" cy="3771494"/>
            </a:xfrm>
            <a:prstGeom prst="roundRect">
              <a:avLst>
                <a:gd name="adj" fmla="val 3125"/>
              </a:avLst>
            </a:prstGeom>
            <a:solidFill>
              <a:srgbClr val="0078D4">
                <a:alpha val="1000"/>
              </a:srgbClr>
            </a:solidFill>
            <a:ln w="12700">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Segoe UI" pitchFamily="34" charset="0"/>
              </a:endParaRPr>
            </a:p>
          </p:txBody>
        </p:sp>
        <p:grpSp>
          <p:nvGrpSpPr>
            <p:cNvPr id="4" name="Group 3">
              <a:extLst>
                <a:ext uri="{FF2B5EF4-FFF2-40B4-BE49-F238E27FC236}">
                  <a16:creationId xmlns:a16="http://schemas.microsoft.com/office/drawing/2014/main" id="{666ED35D-6D70-440C-B7A4-AC2BAF39DA33}"/>
                </a:ext>
              </a:extLst>
            </p:cNvPr>
            <p:cNvGrpSpPr/>
            <p:nvPr/>
          </p:nvGrpSpPr>
          <p:grpSpPr>
            <a:xfrm>
              <a:off x="6604490" y="1492883"/>
              <a:ext cx="554805" cy="554805"/>
              <a:chOff x="5486400" y="1849348"/>
              <a:chExt cx="554805" cy="554805"/>
            </a:xfrm>
          </p:grpSpPr>
          <p:sp>
            <p:nvSpPr>
              <p:cNvPr id="3" name="Oval 2">
                <a:extLst>
                  <a:ext uri="{FF2B5EF4-FFF2-40B4-BE49-F238E27FC236}">
                    <a16:creationId xmlns:a16="http://schemas.microsoft.com/office/drawing/2014/main" id="{6B3E9272-1DA3-46A3-8378-2059D890B008}"/>
                  </a:ext>
                </a:extLst>
              </p:cNvPr>
              <p:cNvSpPr/>
              <p:nvPr/>
            </p:nvSpPr>
            <p:spPr bwMode="auto">
              <a:xfrm>
                <a:off x="5486400" y="1849348"/>
                <a:ext cx="554805" cy="55480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Intelligence" title="Icon of circles connected by crossing lines">
                <a:extLst>
                  <a:ext uri="{FF2B5EF4-FFF2-40B4-BE49-F238E27FC236}">
                    <a16:creationId xmlns:a16="http://schemas.microsoft.com/office/drawing/2014/main" id="{0022CEA1-EAFD-4EED-8F6D-7E6FC6FF72E4}"/>
                  </a:ext>
                </a:extLst>
              </p:cNvPr>
              <p:cNvSpPr>
                <a:spLocks noChangeAspect="1" noEditPoints="1"/>
              </p:cNvSpPr>
              <p:nvPr/>
            </p:nvSpPr>
            <p:spPr bwMode="auto">
              <a:xfrm>
                <a:off x="5606776" y="1960527"/>
                <a:ext cx="331348" cy="334204"/>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2700" cap="sq">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32" name="Title 16">
            <a:extLst>
              <a:ext uri="{FF2B5EF4-FFF2-40B4-BE49-F238E27FC236}">
                <a16:creationId xmlns:a16="http://schemas.microsoft.com/office/drawing/2014/main" id="{25BDE386-8551-407F-9D11-05D3620181B4}"/>
              </a:ext>
            </a:extLst>
          </p:cNvPr>
          <p:cNvSpPr txBox="1">
            <a:spLocks/>
          </p:cNvSpPr>
          <p:nvPr/>
        </p:nvSpPr>
        <p:spPr>
          <a:xfrm>
            <a:off x="588263" y="217501"/>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Light" panose="020B0502040204020203" pitchFamily="34" charset="0"/>
                <a:ea typeface="+mn-ea"/>
                <a:cs typeface="Segoe UI Light" panose="020B0502040204020203" pitchFamily="34" charset="0"/>
              </a:rPr>
              <a:t>Modernize .NET application with Service Fabric</a:t>
            </a:r>
          </a:p>
        </p:txBody>
      </p:sp>
      <p:cxnSp>
        <p:nvCxnSpPr>
          <p:cNvPr id="28" name="Straight Connector 27">
            <a:extLst>
              <a:ext uri="{FF2B5EF4-FFF2-40B4-BE49-F238E27FC236}">
                <a16:creationId xmlns:a16="http://schemas.microsoft.com/office/drawing/2014/main" id="{21A40ABA-AC18-45E1-8433-659AF771727C}"/>
              </a:ext>
            </a:extLst>
          </p:cNvPr>
          <p:cNvCxnSpPr>
            <a:cxnSpLocks/>
          </p:cNvCxnSpPr>
          <p:nvPr/>
        </p:nvCxnSpPr>
        <p:spPr>
          <a:xfrm>
            <a:off x="4064000" y="1477432"/>
            <a:ext cx="0" cy="426720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 name="Title 16">
            <a:extLst>
              <a:ext uri="{FF2B5EF4-FFF2-40B4-BE49-F238E27FC236}">
                <a16:creationId xmlns:a16="http://schemas.microsoft.com/office/drawing/2014/main" id="{AEC81F4C-68E2-40CE-B2C8-BDE35F9F007C}"/>
              </a:ext>
            </a:extLst>
          </p:cNvPr>
          <p:cNvSpPr txBox="1">
            <a:spLocks/>
          </p:cNvSpPr>
          <p:nvPr/>
        </p:nvSpPr>
        <p:spPr>
          <a:xfrm>
            <a:off x="588263" y="1425819"/>
            <a:ext cx="3231262" cy="437042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Polyglot services, described by resources</a:t>
            </a:r>
          </a:p>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Deploy anything and everything in a container</a:t>
            </a:r>
          </a:p>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Bring your own network to connect to other systems</a:t>
            </a:r>
          </a:p>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No code changes required</a:t>
            </a:r>
          </a:p>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No servers or VMs to manage with Service Fabric Mesh</a:t>
            </a:r>
          </a:p>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Enhanced with Reliable Collections and volume drives for state</a:t>
            </a:r>
          </a:p>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Connected through intelligent routing</a:t>
            </a:r>
          </a:p>
        </p:txBody>
      </p:sp>
      <p:grpSp>
        <p:nvGrpSpPr>
          <p:cNvPr id="10" name="Group 9">
            <a:extLst>
              <a:ext uri="{FF2B5EF4-FFF2-40B4-BE49-F238E27FC236}">
                <a16:creationId xmlns:a16="http://schemas.microsoft.com/office/drawing/2014/main" id="{D60F0A1B-37AB-4493-A3AA-9042E7AA3DA5}"/>
              </a:ext>
            </a:extLst>
          </p:cNvPr>
          <p:cNvGrpSpPr/>
          <p:nvPr/>
        </p:nvGrpSpPr>
        <p:grpSpPr>
          <a:xfrm>
            <a:off x="2074378" y="6038849"/>
            <a:ext cx="8043244" cy="661178"/>
            <a:chOff x="1666832" y="6076949"/>
            <a:chExt cx="8043244" cy="661178"/>
          </a:xfrm>
        </p:grpSpPr>
        <p:grpSp>
          <p:nvGrpSpPr>
            <p:cNvPr id="252" name="Group 251">
              <a:extLst>
                <a:ext uri="{FF2B5EF4-FFF2-40B4-BE49-F238E27FC236}">
                  <a16:creationId xmlns:a16="http://schemas.microsoft.com/office/drawing/2014/main" id="{54733B7C-7E93-4EDF-9D0A-094237C1A8AA}"/>
                </a:ext>
              </a:extLst>
            </p:cNvPr>
            <p:cNvGrpSpPr/>
            <p:nvPr/>
          </p:nvGrpSpPr>
          <p:grpSpPr>
            <a:xfrm>
              <a:off x="1867408" y="6076949"/>
              <a:ext cx="419831" cy="419831"/>
              <a:chOff x="868810" y="6029196"/>
              <a:chExt cx="648226" cy="648226"/>
            </a:xfrm>
          </p:grpSpPr>
          <p:grpSp>
            <p:nvGrpSpPr>
              <p:cNvPr id="254" name="Group 253">
                <a:extLst>
                  <a:ext uri="{FF2B5EF4-FFF2-40B4-BE49-F238E27FC236}">
                    <a16:creationId xmlns:a16="http://schemas.microsoft.com/office/drawing/2014/main" id="{510BDC71-9850-4B8B-9A99-95369EEE64B5}"/>
                  </a:ext>
                </a:extLst>
              </p:cNvPr>
              <p:cNvGrpSpPr/>
              <p:nvPr/>
            </p:nvGrpSpPr>
            <p:grpSpPr>
              <a:xfrm>
                <a:off x="962534" y="6219868"/>
                <a:ext cx="479454" cy="280723"/>
                <a:chOff x="2324101" y="5397500"/>
                <a:chExt cx="1336675" cy="782637"/>
              </a:xfrm>
            </p:grpSpPr>
            <p:sp>
              <p:nvSpPr>
                <p:cNvPr id="256" name="Freeform 121">
                  <a:extLst>
                    <a:ext uri="{FF2B5EF4-FFF2-40B4-BE49-F238E27FC236}">
                      <a16:creationId xmlns:a16="http://schemas.microsoft.com/office/drawing/2014/main" id="{826D2947-C250-43AF-997C-B1688520A3F5}"/>
                    </a:ext>
                  </a:extLst>
                </p:cNvPr>
                <p:cNvSpPr>
                  <a:spLocks/>
                </p:cNvSpPr>
                <p:nvPr/>
              </p:nvSpPr>
              <p:spPr bwMode="auto">
                <a:xfrm>
                  <a:off x="2324101" y="5397500"/>
                  <a:ext cx="1011238" cy="666750"/>
                </a:xfrm>
                <a:custGeom>
                  <a:avLst/>
                  <a:gdLst>
                    <a:gd name="T0" fmla="*/ 355 w 359"/>
                    <a:gd name="T1" fmla="*/ 188 h 236"/>
                    <a:gd name="T2" fmla="*/ 113 w 359"/>
                    <a:gd name="T3" fmla="*/ 236 h 236"/>
                    <a:gd name="T4" fmla="*/ 109 w 359"/>
                    <a:gd name="T5" fmla="*/ 234 h 236"/>
                    <a:gd name="T6" fmla="*/ 1 w 359"/>
                    <a:gd name="T7" fmla="*/ 5 h 236"/>
                    <a:gd name="T8" fmla="*/ 4 w 359"/>
                    <a:gd name="T9" fmla="*/ 0 h 236"/>
                    <a:gd name="T10" fmla="*/ 250 w 359"/>
                    <a:gd name="T11" fmla="*/ 0 h 236"/>
                    <a:gd name="T12" fmla="*/ 253 w 359"/>
                    <a:gd name="T13" fmla="*/ 2 h 236"/>
                    <a:gd name="T14" fmla="*/ 357 w 359"/>
                    <a:gd name="T15" fmla="*/ 183 h 236"/>
                    <a:gd name="T16" fmla="*/ 355 w 359"/>
                    <a:gd name="T17" fmla="*/ 18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9" h="236">
                      <a:moveTo>
                        <a:pt x="355" y="188"/>
                      </a:moveTo>
                      <a:cubicBezTo>
                        <a:pt x="113" y="236"/>
                        <a:pt x="113" y="236"/>
                        <a:pt x="113" y="236"/>
                      </a:cubicBezTo>
                      <a:cubicBezTo>
                        <a:pt x="111" y="236"/>
                        <a:pt x="110" y="236"/>
                        <a:pt x="109" y="234"/>
                      </a:cubicBezTo>
                      <a:cubicBezTo>
                        <a:pt x="1" y="5"/>
                        <a:pt x="1" y="5"/>
                        <a:pt x="1" y="5"/>
                      </a:cubicBezTo>
                      <a:cubicBezTo>
                        <a:pt x="0" y="3"/>
                        <a:pt x="1" y="0"/>
                        <a:pt x="4" y="0"/>
                      </a:cubicBezTo>
                      <a:cubicBezTo>
                        <a:pt x="250" y="0"/>
                        <a:pt x="250" y="0"/>
                        <a:pt x="250" y="0"/>
                      </a:cubicBezTo>
                      <a:cubicBezTo>
                        <a:pt x="251" y="0"/>
                        <a:pt x="252" y="1"/>
                        <a:pt x="253" y="2"/>
                      </a:cubicBezTo>
                      <a:cubicBezTo>
                        <a:pt x="357" y="183"/>
                        <a:pt x="357" y="183"/>
                        <a:pt x="357" y="183"/>
                      </a:cubicBezTo>
                      <a:cubicBezTo>
                        <a:pt x="359" y="185"/>
                        <a:pt x="357" y="188"/>
                        <a:pt x="355" y="188"/>
                      </a:cubicBezTo>
                      <a:close/>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sp>
              <p:nvSpPr>
                <p:cNvPr id="257" name="Freeform 122">
                  <a:extLst>
                    <a:ext uri="{FF2B5EF4-FFF2-40B4-BE49-F238E27FC236}">
                      <a16:creationId xmlns:a16="http://schemas.microsoft.com/office/drawing/2014/main" id="{F76D10F2-093A-438B-AA5A-B4C878E3C070}"/>
                    </a:ext>
                  </a:extLst>
                </p:cNvPr>
                <p:cNvSpPr>
                  <a:spLocks/>
                </p:cNvSpPr>
                <p:nvPr/>
              </p:nvSpPr>
              <p:spPr bwMode="auto">
                <a:xfrm>
                  <a:off x="2455863" y="5730875"/>
                  <a:ext cx="1204913" cy="449262"/>
                </a:xfrm>
                <a:custGeom>
                  <a:avLst/>
                  <a:gdLst>
                    <a:gd name="T0" fmla="*/ 7 w 428"/>
                    <a:gd name="T1" fmla="*/ 0 h 159"/>
                    <a:gd name="T2" fmla="*/ 0 w 428"/>
                    <a:gd name="T3" fmla="*/ 100 h 159"/>
                    <a:gd name="T4" fmla="*/ 3 w 428"/>
                    <a:gd name="T5" fmla="*/ 104 h 159"/>
                    <a:gd name="T6" fmla="*/ 195 w 428"/>
                    <a:gd name="T7" fmla="*/ 158 h 159"/>
                    <a:gd name="T8" fmla="*/ 210 w 428"/>
                    <a:gd name="T9" fmla="*/ 158 h 159"/>
                    <a:gd name="T10" fmla="*/ 424 w 428"/>
                    <a:gd name="T11" fmla="*/ 106 h 159"/>
                    <a:gd name="T12" fmla="*/ 425 w 428"/>
                    <a:gd name="T13" fmla="*/ 99 h 159"/>
                    <a:gd name="T14" fmla="*/ 313 w 428"/>
                    <a:gd name="T15" fmla="*/ 69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159">
                      <a:moveTo>
                        <a:pt x="7" y="0"/>
                      </a:moveTo>
                      <a:cubicBezTo>
                        <a:pt x="0" y="100"/>
                        <a:pt x="0" y="100"/>
                        <a:pt x="0" y="100"/>
                      </a:cubicBezTo>
                      <a:cubicBezTo>
                        <a:pt x="0" y="102"/>
                        <a:pt x="1" y="104"/>
                        <a:pt x="3" y="104"/>
                      </a:cubicBezTo>
                      <a:cubicBezTo>
                        <a:pt x="195" y="158"/>
                        <a:pt x="195" y="158"/>
                        <a:pt x="195" y="158"/>
                      </a:cubicBezTo>
                      <a:cubicBezTo>
                        <a:pt x="200" y="159"/>
                        <a:pt x="205" y="159"/>
                        <a:pt x="210" y="158"/>
                      </a:cubicBezTo>
                      <a:cubicBezTo>
                        <a:pt x="424" y="106"/>
                        <a:pt x="424" y="106"/>
                        <a:pt x="424" y="106"/>
                      </a:cubicBezTo>
                      <a:cubicBezTo>
                        <a:pt x="428" y="105"/>
                        <a:pt x="428" y="100"/>
                        <a:pt x="425" y="99"/>
                      </a:cubicBezTo>
                      <a:cubicBezTo>
                        <a:pt x="313" y="69"/>
                        <a:pt x="313" y="69"/>
                        <a:pt x="313" y="69"/>
                      </a:cubicBezTo>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55" name="Oval 254">
                <a:extLst>
                  <a:ext uri="{FF2B5EF4-FFF2-40B4-BE49-F238E27FC236}">
                    <a16:creationId xmlns:a16="http://schemas.microsoft.com/office/drawing/2014/main" id="{448DA8D4-2DCA-457A-AC8B-2AF97A59AF28}"/>
                  </a:ext>
                </a:extLst>
              </p:cNvPr>
              <p:cNvSpPr/>
              <p:nvPr/>
            </p:nvSpPr>
            <p:spPr bwMode="auto">
              <a:xfrm>
                <a:off x="868810" y="6029196"/>
                <a:ext cx="648226" cy="648226"/>
              </a:xfrm>
              <a:prstGeom prst="ellipse">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3" name="TextBox 252">
              <a:extLst>
                <a:ext uri="{FF2B5EF4-FFF2-40B4-BE49-F238E27FC236}">
                  <a16:creationId xmlns:a16="http://schemas.microsoft.com/office/drawing/2014/main" id="{E3AF90F3-9CAC-4517-B55E-CBFD785A3B6D}"/>
                </a:ext>
              </a:extLst>
            </p:cNvPr>
            <p:cNvSpPr txBox="1"/>
            <p:nvPr/>
          </p:nvSpPr>
          <p:spPr>
            <a:xfrm>
              <a:off x="1666832" y="6553461"/>
              <a:ext cx="875240" cy="184666"/>
            </a:xfrm>
            <a:prstGeom prst="rect">
              <a:avLst/>
            </a:prstGeom>
            <a:noFill/>
            <a:ln>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ev machine</a:t>
              </a:r>
            </a:p>
          </p:txBody>
        </p:sp>
        <p:grpSp>
          <p:nvGrpSpPr>
            <p:cNvPr id="259" name="Group 258">
              <a:extLst>
                <a:ext uri="{FF2B5EF4-FFF2-40B4-BE49-F238E27FC236}">
                  <a16:creationId xmlns:a16="http://schemas.microsoft.com/office/drawing/2014/main" id="{4728A9CB-74C0-4356-808A-8C006FDF7658}"/>
                </a:ext>
              </a:extLst>
            </p:cNvPr>
            <p:cNvGrpSpPr/>
            <p:nvPr/>
          </p:nvGrpSpPr>
          <p:grpSpPr>
            <a:xfrm>
              <a:off x="3723433" y="6076949"/>
              <a:ext cx="419831" cy="419830"/>
              <a:chOff x="3333563" y="6055609"/>
              <a:chExt cx="648226" cy="648225"/>
            </a:xfrm>
          </p:grpSpPr>
          <p:grpSp>
            <p:nvGrpSpPr>
              <p:cNvPr id="261" name="Group 260">
                <a:extLst>
                  <a:ext uri="{FF2B5EF4-FFF2-40B4-BE49-F238E27FC236}">
                    <a16:creationId xmlns:a16="http://schemas.microsoft.com/office/drawing/2014/main" id="{D7F28648-831E-4BD4-88C0-108C616E3126}"/>
                  </a:ext>
                </a:extLst>
              </p:cNvPr>
              <p:cNvGrpSpPr/>
              <p:nvPr/>
            </p:nvGrpSpPr>
            <p:grpSpPr>
              <a:xfrm>
                <a:off x="3451935" y="6304635"/>
                <a:ext cx="411468" cy="192329"/>
                <a:chOff x="8529638" y="5526088"/>
                <a:chExt cx="1120775" cy="523875"/>
              </a:xfrm>
            </p:grpSpPr>
            <p:sp>
              <p:nvSpPr>
                <p:cNvPr id="263" name="Freeform 139">
                  <a:extLst>
                    <a:ext uri="{FF2B5EF4-FFF2-40B4-BE49-F238E27FC236}">
                      <a16:creationId xmlns:a16="http://schemas.microsoft.com/office/drawing/2014/main" id="{5595D16C-BB36-499A-BC13-3C45C5A8599E}"/>
                    </a:ext>
                  </a:extLst>
                </p:cNvPr>
                <p:cNvSpPr>
                  <a:spLocks/>
                </p:cNvSpPr>
                <p:nvPr/>
              </p:nvSpPr>
              <p:spPr bwMode="auto">
                <a:xfrm>
                  <a:off x="9199563" y="5526088"/>
                  <a:ext cx="450850" cy="415925"/>
                </a:xfrm>
                <a:custGeom>
                  <a:avLst/>
                  <a:gdLst>
                    <a:gd name="T0" fmla="*/ 52 w 160"/>
                    <a:gd name="T1" fmla="*/ 146 h 146"/>
                    <a:gd name="T2" fmla="*/ 113 w 160"/>
                    <a:gd name="T3" fmla="*/ 146 h 146"/>
                    <a:gd name="T4" fmla="*/ 147 w 160"/>
                    <a:gd name="T5" fmla="*/ 132 h 146"/>
                    <a:gd name="T6" fmla="*/ 160 w 160"/>
                    <a:gd name="T7" fmla="*/ 98 h 146"/>
                    <a:gd name="T8" fmla="*/ 147 w 160"/>
                    <a:gd name="T9" fmla="*/ 64 h 146"/>
                    <a:gd name="T10" fmla="*/ 126 w 160"/>
                    <a:gd name="T11" fmla="*/ 52 h 146"/>
                    <a:gd name="T12" fmla="*/ 126 w 160"/>
                    <a:gd name="T13" fmla="*/ 48 h 146"/>
                    <a:gd name="T14" fmla="*/ 113 w 160"/>
                    <a:gd name="T15" fmla="*/ 14 h 146"/>
                    <a:gd name="T16" fmla="*/ 79 w 160"/>
                    <a:gd name="T17" fmla="*/ 0 h 146"/>
                    <a:gd name="T18" fmla="*/ 79 w 160"/>
                    <a:gd name="T19" fmla="*/ 0 h 146"/>
                    <a:gd name="T20" fmla="*/ 38 w 160"/>
                    <a:gd name="T21" fmla="*/ 23 h 146"/>
                    <a:gd name="T22" fmla="*/ 20 w 160"/>
                    <a:gd name="T23" fmla="*/ 20 h 146"/>
                    <a:gd name="T24" fmla="*/ 0 w 160"/>
                    <a:gd name="T25" fmla="*/ 2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46">
                      <a:moveTo>
                        <a:pt x="52" y="146"/>
                      </a:moveTo>
                      <a:cubicBezTo>
                        <a:pt x="113" y="146"/>
                        <a:pt x="113" y="146"/>
                        <a:pt x="113" y="146"/>
                      </a:cubicBezTo>
                      <a:cubicBezTo>
                        <a:pt x="126" y="146"/>
                        <a:pt x="138" y="141"/>
                        <a:pt x="147" y="132"/>
                      </a:cubicBezTo>
                      <a:cubicBezTo>
                        <a:pt x="155" y="123"/>
                        <a:pt x="160" y="111"/>
                        <a:pt x="160" y="98"/>
                      </a:cubicBezTo>
                      <a:cubicBezTo>
                        <a:pt x="160" y="85"/>
                        <a:pt x="155" y="73"/>
                        <a:pt x="147" y="64"/>
                      </a:cubicBezTo>
                      <a:cubicBezTo>
                        <a:pt x="141" y="58"/>
                        <a:pt x="134" y="54"/>
                        <a:pt x="126" y="52"/>
                      </a:cubicBezTo>
                      <a:cubicBezTo>
                        <a:pt x="126" y="51"/>
                        <a:pt x="126" y="49"/>
                        <a:pt x="126" y="48"/>
                      </a:cubicBezTo>
                      <a:cubicBezTo>
                        <a:pt x="126" y="36"/>
                        <a:pt x="121" y="24"/>
                        <a:pt x="113" y="14"/>
                      </a:cubicBezTo>
                      <a:cubicBezTo>
                        <a:pt x="104" y="5"/>
                        <a:pt x="92" y="0"/>
                        <a:pt x="79" y="0"/>
                      </a:cubicBezTo>
                      <a:cubicBezTo>
                        <a:pt x="79" y="0"/>
                        <a:pt x="79" y="0"/>
                        <a:pt x="79" y="0"/>
                      </a:cubicBezTo>
                      <a:cubicBezTo>
                        <a:pt x="62" y="0"/>
                        <a:pt x="47" y="9"/>
                        <a:pt x="38" y="23"/>
                      </a:cubicBezTo>
                      <a:cubicBezTo>
                        <a:pt x="33" y="21"/>
                        <a:pt x="26" y="20"/>
                        <a:pt x="20" y="20"/>
                      </a:cubicBezTo>
                      <a:cubicBezTo>
                        <a:pt x="13" y="20"/>
                        <a:pt x="6" y="21"/>
                        <a:pt x="0" y="24"/>
                      </a:cubicBezTo>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sp>
              <p:nvSpPr>
                <p:cNvPr id="264" name="Freeform 140">
                  <a:extLst>
                    <a:ext uri="{FF2B5EF4-FFF2-40B4-BE49-F238E27FC236}">
                      <a16:creationId xmlns:a16="http://schemas.microsoft.com/office/drawing/2014/main" id="{49102F9D-7E73-48D1-9AFE-1292EC25F5F9}"/>
                    </a:ext>
                  </a:extLst>
                </p:cNvPr>
                <p:cNvSpPr>
                  <a:spLocks/>
                </p:cNvSpPr>
                <p:nvPr/>
              </p:nvSpPr>
              <p:spPr bwMode="auto">
                <a:xfrm>
                  <a:off x="8529638" y="5529263"/>
                  <a:ext cx="825500" cy="520700"/>
                </a:xfrm>
                <a:custGeom>
                  <a:avLst/>
                  <a:gdLst>
                    <a:gd name="T0" fmla="*/ 192 w 293"/>
                    <a:gd name="T1" fmla="*/ 0 h 183"/>
                    <a:gd name="T2" fmla="*/ 141 w 293"/>
                    <a:gd name="T3" fmla="*/ 30 h 183"/>
                    <a:gd name="T4" fmla="*/ 118 w 293"/>
                    <a:gd name="T5" fmla="*/ 25 h 183"/>
                    <a:gd name="T6" fmla="*/ 76 w 293"/>
                    <a:gd name="T7" fmla="*/ 41 h 183"/>
                    <a:gd name="T8" fmla="*/ 62 w 293"/>
                    <a:gd name="T9" fmla="*/ 63 h 183"/>
                    <a:gd name="T10" fmla="*/ 60 w 293"/>
                    <a:gd name="T11" fmla="*/ 63 h 183"/>
                    <a:gd name="T12" fmla="*/ 18 w 293"/>
                    <a:gd name="T13" fmla="*/ 81 h 183"/>
                    <a:gd name="T14" fmla="*/ 0 w 293"/>
                    <a:gd name="T15" fmla="*/ 123 h 183"/>
                    <a:gd name="T16" fmla="*/ 18 w 293"/>
                    <a:gd name="T17" fmla="*/ 165 h 183"/>
                    <a:gd name="T18" fmla="*/ 60 w 293"/>
                    <a:gd name="T19" fmla="*/ 183 h 183"/>
                    <a:gd name="T20" fmla="*/ 234 w 293"/>
                    <a:gd name="T21" fmla="*/ 183 h 183"/>
                    <a:gd name="T22" fmla="*/ 276 w 293"/>
                    <a:gd name="T23" fmla="*/ 165 h 183"/>
                    <a:gd name="T24" fmla="*/ 293 w 293"/>
                    <a:gd name="T25" fmla="*/ 123 h 183"/>
                    <a:gd name="T26" fmla="*/ 276 w 293"/>
                    <a:gd name="T27" fmla="*/ 81 h 183"/>
                    <a:gd name="T28" fmla="*/ 250 w 293"/>
                    <a:gd name="T29" fmla="*/ 65 h 183"/>
                    <a:gd name="T30" fmla="*/ 250 w 293"/>
                    <a:gd name="T31" fmla="*/ 61 h 183"/>
                    <a:gd name="T32" fmla="*/ 234 w 293"/>
                    <a:gd name="T33" fmla="*/ 19 h 183"/>
                    <a:gd name="T34" fmla="*/ 192 w 293"/>
                    <a:gd name="T35"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3" h="183">
                      <a:moveTo>
                        <a:pt x="192" y="0"/>
                      </a:moveTo>
                      <a:cubicBezTo>
                        <a:pt x="171" y="0"/>
                        <a:pt x="152" y="12"/>
                        <a:pt x="141" y="30"/>
                      </a:cubicBezTo>
                      <a:cubicBezTo>
                        <a:pt x="134" y="27"/>
                        <a:pt x="126" y="25"/>
                        <a:pt x="118" y="25"/>
                      </a:cubicBezTo>
                      <a:cubicBezTo>
                        <a:pt x="102" y="25"/>
                        <a:pt x="88" y="31"/>
                        <a:pt x="76" y="41"/>
                      </a:cubicBezTo>
                      <a:cubicBezTo>
                        <a:pt x="70" y="47"/>
                        <a:pt x="65" y="55"/>
                        <a:pt x="62" y="63"/>
                      </a:cubicBezTo>
                      <a:cubicBezTo>
                        <a:pt x="61" y="63"/>
                        <a:pt x="60" y="63"/>
                        <a:pt x="60" y="63"/>
                      </a:cubicBezTo>
                      <a:cubicBezTo>
                        <a:pt x="44" y="63"/>
                        <a:pt x="29" y="69"/>
                        <a:pt x="18" y="81"/>
                      </a:cubicBezTo>
                      <a:cubicBezTo>
                        <a:pt x="6" y="92"/>
                        <a:pt x="0" y="107"/>
                        <a:pt x="0" y="123"/>
                      </a:cubicBezTo>
                      <a:cubicBezTo>
                        <a:pt x="0" y="139"/>
                        <a:pt x="6" y="154"/>
                        <a:pt x="18" y="165"/>
                      </a:cubicBezTo>
                      <a:cubicBezTo>
                        <a:pt x="29" y="177"/>
                        <a:pt x="44" y="183"/>
                        <a:pt x="60" y="183"/>
                      </a:cubicBezTo>
                      <a:cubicBezTo>
                        <a:pt x="234" y="183"/>
                        <a:pt x="234" y="183"/>
                        <a:pt x="234" y="183"/>
                      </a:cubicBezTo>
                      <a:cubicBezTo>
                        <a:pt x="250" y="183"/>
                        <a:pt x="265" y="177"/>
                        <a:pt x="276" y="165"/>
                      </a:cubicBezTo>
                      <a:cubicBezTo>
                        <a:pt x="287" y="154"/>
                        <a:pt x="293" y="139"/>
                        <a:pt x="293" y="123"/>
                      </a:cubicBezTo>
                      <a:cubicBezTo>
                        <a:pt x="293" y="107"/>
                        <a:pt x="287" y="92"/>
                        <a:pt x="276" y="81"/>
                      </a:cubicBezTo>
                      <a:cubicBezTo>
                        <a:pt x="269" y="73"/>
                        <a:pt x="260" y="68"/>
                        <a:pt x="250" y="65"/>
                      </a:cubicBezTo>
                      <a:cubicBezTo>
                        <a:pt x="250" y="64"/>
                        <a:pt x="250" y="62"/>
                        <a:pt x="250" y="61"/>
                      </a:cubicBezTo>
                      <a:cubicBezTo>
                        <a:pt x="250" y="45"/>
                        <a:pt x="245" y="30"/>
                        <a:pt x="234" y="19"/>
                      </a:cubicBezTo>
                      <a:cubicBezTo>
                        <a:pt x="223" y="7"/>
                        <a:pt x="208" y="0"/>
                        <a:pt x="192" y="0"/>
                      </a:cubicBezTo>
                      <a:close/>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62" name="Oval 261">
                <a:extLst>
                  <a:ext uri="{FF2B5EF4-FFF2-40B4-BE49-F238E27FC236}">
                    <a16:creationId xmlns:a16="http://schemas.microsoft.com/office/drawing/2014/main" id="{38BB3E1E-D10D-43ED-879F-95C7E7BFE4F9}"/>
                  </a:ext>
                </a:extLst>
              </p:cNvPr>
              <p:cNvSpPr/>
              <p:nvPr/>
            </p:nvSpPr>
            <p:spPr bwMode="auto">
              <a:xfrm>
                <a:off x="3333563" y="6055609"/>
                <a:ext cx="648226" cy="648225"/>
              </a:xfrm>
              <a:prstGeom prst="ellipse">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0" name="TextBox 259">
              <a:extLst>
                <a:ext uri="{FF2B5EF4-FFF2-40B4-BE49-F238E27FC236}">
                  <a16:creationId xmlns:a16="http://schemas.microsoft.com/office/drawing/2014/main" id="{4E2B40D7-5EC5-4024-BBCE-BC4B895E5281}"/>
                </a:ext>
              </a:extLst>
            </p:cNvPr>
            <p:cNvSpPr txBox="1"/>
            <p:nvPr/>
          </p:nvSpPr>
          <p:spPr>
            <a:xfrm>
              <a:off x="3610497" y="6553461"/>
              <a:ext cx="676467" cy="184666"/>
            </a:xfrm>
            <a:prstGeom prst="rect">
              <a:avLst/>
            </a:prstGeom>
            <a:noFill/>
            <a:ln>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ny cloud</a:t>
              </a:r>
            </a:p>
          </p:txBody>
        </p:sp>
        <p:grpSp>
          <p:nvGrpSpPr>
            <p:cNvPr id="266" name="Group 265">
              <a:extLst>
                <a:ext uri="{FF2B5EF4-FFF2-40B4-BE49-F238E27FC236}">
                  <a16:creationId xmlns:a16="http://schemas.microsoft.com/office/drawing/2014/main" id="{E24D6264-692A-4CB2-B077-463B56F6FDB1}"/>
                </a:ext>
              </a:extLst>
            </p:cNvPr>
            <p:cNvGrpSpPr/>
            <p:nvPr/>
          </p:nvGrpSpPr>
          <p:grpSpPr>
            <a:xfrm>
              <a:off x="5571825" y="6076949"/>
              <a:ext cx="419831" cy="419831"/>
              <a:chOff x="5995563" y="6029198"/>
              <a:chExt cx="648226" cy="648226"/>
            </a:xfrm>
          </p:grpSpPr>
          <p:grpSp>
            <p:nvGrpSpPr>
              <p:cNvPr id="268" name="Group 267">
                <a:extLst>
                  <a:ext uri="{FF2B5EF4-FFF2-40B4-BE49-F238E27FC236}">
                    <a16:creationId xmlns:a16="http://schemas.microsoft.com/office/drawing/2014/main" id="{6F56FC8E-7F7B-41E5-9B8E-95BB62A85756}"/>
                  </a:ext>
                </a:extLst>
              </p:cNvPr>
              <p:cNvGrpSpPr/>
              <p:nvPr/>
            </p:nvGrpSpPr>
            <p:grpSpPr>
              <a:xfrm>
                <a:off x="6211622" y="6183204"/>
                <a:ext cx="263975" cy="338085"/>
                <a:chOff x="6654800" y="5372100"/>
                <a:chExt cx="593725" cy="760413"/>
              </a:xfrm>
            </p:grpSpPr>
            <p:sp>
              <p:nvSpPr>
                <p:cNvPr id="270" name="Freeform 130">
                  <a:extLst>
                    <a:ext uri="{FF2B5EF4-FFF2-40B4-BE49-F238E27FC236}">
                      <a16:creationId xmlns:a16="http://schemas.microsoft.com/office/drawing/2014/main" id="{FBBF6C3D-9563-4689-A61D-4C1F481003E9}"/>
                    </a:ext>
                  </a:extLst>
                </p:cNvPr>
                <p:cNvSpPr>
                  <a:spLocks/>
                </p:cNvSpPr>
                <p:nvPr/>
              </p:nvSpPr>
              <p:spPr bwMode="auto">
                <a:xfrm>
                  <a:off x="6654800" y="5372100"/>
                  <a:ext cx="433387" cy="760412"/>
                </a:xfrm>
                <a:custGeom>
                  <a:avLst/>
                  <a:gdLst>
                    <a:gd name="T0" fmla="*/ 161 w 273"/>
                    <a:gd name="T1" fmla="*/ 479 h 479"/>
                    <a:gd name="T2" fmla="*/ 0 w 273"/>
                    <a:gd name="T3" fmla="*/ 479 h 479"/>
                    <a:gd name="T4" fmla="*/ 0 w 273"/>
                    <a:gd name="T5" fmla="*/ 0 h 479"/>
                    <a:gd name="T6" fmla="*/ 273 w 273"/>
                    <a:gd name="T7" fmla="*/ 0 h 479"/>
                    <a:gd name="T8" fmla="*/ 273 w 273"/>
                    <a:gd name="T9" fmla="*/ 185 h 479"/>
                  </a:gdLst>
                  <a:ahLst/>
                  <a:cxnLst>
                    <a:cxn ang="0">
                      <a:pos x="T0" y="T1"/>
                    </a:cxn>
                    <a:cxn ang="0">
                      <a:pos x="T2" y="T3"/>
                    </a:cxn>
                    <a:cxn ang="0">
                      <a:pos x="T4" y="T5"/>
                    </a:cxn>
                    <a:cxn ang="0">
                      <a:pos x="T6" y="T7"/>
                    </a:cxn>
                    <a:cxn ang="0">
                      <a:pos x="T8" y="T9"/>
                    </a:cxn>
                  </a:cxnLst>
                  <a:rect l="0" t="0" r="r" b="b"/>
                  <a:pathLst>
                    <a:path w="273" h="479">
                      <a:moveTo>
                        <a:pt x="161" y="479"/>
                      </a:moveTo>
                      <a:lnTo>
                        <a:pt x="0" y="479"/>
                      </a:lnTo>
                      <a:lnTo>
                        <a:pt x="0" y="0"/>
                      </a:lnTo>
                      <a:lnTo>
                        <a:pt x="273" y="0"/>
                      </a:lnTo>
                      <a:lnTo>
                        <a:pt x="273" y="185"/>
                      </a:lnTo>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sp>
              <p:nvSpPr>
                <p:cNvPr id="271" name="Rectangle 134">
                  <a:extLst>
                    <a:ext uri="{FF2B5EF4-FFF2-40B4-BE49-F238E27FC236}">
                      <a16:creationId xmlns:a16="http://schemas.microsoft.com/office/drawing/2014/main" id="{36B52F1F-CF96-46FD-9552-91CA9448FA3D}"/>
                    </a:ext>
                  </a:extLst>
                </p:cNvPr>
                <p:cNvSpPr>
                  <a:spLocks noChangeArrowheads="1"/>
                </p:cNvSpPr>
                <p:nvPr/>
              </p:nvSpPr>
              <p:spPr bwMode="auto">
                <a:xfrm>
                  <a:off x="6910388" y="5665788"/>
                  <a:ext cx="338137" cy="466725"/>
                </a:xfrm>
                <a:prstGeom prst="rect">
                  <a:avLst/>
                </a:pr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sp>
              <p:nvSpPr>
                <p:cNvPr id="272" name="Freeform 135">
                  <a:extLst>
                    <a:ext uri="{FF2B5EF4-FFF2-40B4-BE49-F238E27FC236}">
                      <a16:creationId xmlns:a16="http://schemas.microsoft.com/office/drawing/2014/main" id="{F4CBBD08-287E-4C7F-9969-67E859667864}"/>
                    </a:ext>
                  </a:extLst>
                </p:cNvPr>
                <p:cNvSpPr>
                  <a:spLocks/>
                </p:cNvSpPr>
                <p:nvPr/>
              </p:nvSpPr>
              <p:spPr bwMode="auto">
                <a:xfrm>
                  <a:off x="7037388" y="6008688"/>
                  <a:ext cx="79375" cy="123825"/>
                </a:xfrm>
                <a:custGeom>
                  <a:avLst/>
                  <a:gdLst>
                    <a:gd name="T0" fmla="*/ 28 w 28"/>
                    <a:gd name="T1" fmla="*/ 44 h 44"/>
                    <a:gd name="T2" fmla="*/ 1 w 28"/>
                    <a:gd name="T3" fmla="*/ 44 h 44"/>
                    <a:gd name="T4" fmla="*/ 0 w 28"/>
                    <a:gd name="T5" fmla="*/ 43 h 44"/>
                    <a:gd name="T6" fmla="*/ 0 w 28"/>
                    <a:gd name="T7" fmla="*/ 0 h 44"/>
                    <a:gd name="T8" fmla="*/ 1 w 28"/>
                    <a:gd name="T9" fmla="*/ 0 h 44"/>
                    <a:gd name="T10" fmla="*/ 28 w 28"/>
                    <a:gd name="T11" fmla="*/ 0 h 44"/>
                    <a:gd name="T12" fmla="*/ 28 w 28"/>
                    <a:gd name="T13" fmla="*/ 0 h 44"/>
                    <a:gd name="T14" fmla="*/ 28 w 28"/>
                    <a:gd name="T15" fmla="*/ 43 h 44"/>
                    <a:gd name="T16" fmla="*/ 28 w 28"/>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4">
                      <a:moveTo>
                        <a:pt x="28" y="44"/>
                      </a:moveTo>
                      <a:cubicBezTo>
                        <a:pt x="1" y="44"/>
                        <a:pt x="1" y="44"/>
                        <a:pt x="1" y="44"/>
                      </a:cubicBezTo>
                      <a:cubicBezTo>
                        <a:pt x="1" y="44"/>
                        <a:pt x="0" y="44"/>
                        <a:pt x="0" y="43"/>
                      </a:cubicBezTo>
                      <a:cubicBezTo>
                        <a:pt x="0" y="0"/>
                        <a:pt x="0" y="0"/>
                        <a:pt x="0" y="0"/>
                      </a:cubicBezTo>
                      <a:cubicBezTo>
                        <a:pt x="0" y="0"/>
                        <a:pt x="1" y="0"/>
                        <a:pt x="1" y="0"/>
                      </a:cubicBezTo>
                      <a:cubicBezTo>
                        <a:pt x="28" y="0"/>
                        <a:pt x="28" y="0"/>
                        <a:pt x="28" y="0"/>
                      </a:cubicBezTo>
                      <a:cubicBezTo>
                        <a:pt x="28" y="0"/>
                        <a:pt x="28" y="0"/>
                        <a:pt x="28" y="0"/>
                      </a:cubicBezTo>
                      <a:cubicBezTo>
                        <a:pt x="28" y="43"/>
                        <a:pt x="28" y="43"/>
                        <a:pt x="28" y="43"/>
                      </a:cubicBezTo>
                      <a:cubicBezTo>
                        <a:pt x="28" y="44"/>
                        <a:pt x="28" y="44"/>
                        <a:pt x="28" y="44"/>
                      </a:cubicBezTo>
                      <a:close/>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69" name="Oval 268">
                <a:extLst>
                  <a:ext uri="{FF2B5EF4-FFF2-40B4-BE49-F238E27FC236}">
                    <a16:creationId xmlns:a16="http://schemas.microsoft.com/office/drawing/2014/main" id="{C8E358FE-F3A4-4D37-BBE2-76C0D1DD7372}"/>
                  </a:ext>
                </a:extLst>
              </p:cNvPr>
              <p:cNvSpPr/>
              <p:nvPr/>
            </p:nvSpPr>
            <p:spPr bwMode="auto">
              <a:xfrm>
                <a:off x="5995563" y="6029198"/>
                <a:ext cx="648226" cy="648226"/>
              </a:xfrm>
              <a:prstGeom prst="ellipse">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7" name="TextBox 266">
              <a:extLst>
                <a:ext uri="{FF2B5EF4-FFF2-40B4-BE49-F238E27FC236}">
                  <a16:creationId xmlns:a16="http://schemas.microsoft.com/office/drawing/2014/main" id="{E6E8519E-95E2-4E17-B894-C35925C88525}"/>
                </a:ext>
              </a:extLst>
            </p:cNvPr>
            <p:cNvSpPr txBox="1"/>
            <p:nvPr/>
          </p:nvSpPr>
          <p:spPr>
            <a:xfrm>
              <a:off x="5489058" y="6553461"/>
              <a:ext cx="729218" cy="184666"/>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On-prem</a:t>
              </a:r>
            </a:p>
          </p:txBody>
        </p:sp>
        <p:sp>
          <p:nvSpPr>
            <p:cNvPr id="275" name="TextBox 274">
              <a:extLst>
                <a:ext uri="{FF2B5EF4-FFF2-40B4-BE49-F238E27FC236}">
                  <a16:creationId xmlns:a16="http://schemas.microsoft.com/office/drawing/2014/main" id="{0169E28B-130D-462D-A564-1BF771A5BE96}"/>
                </a:ext>
              </a:extLst>
            </p:cNvPr>
            <p:cNvSpPr txBox="1"/>
            <p:nvPr/>
          </p:nvSpPr>
          <p:spPr>
            <a:xfrm>
              <a:off x="7168227" y="6553461"/>
              <a:ext cx="938719" cy="184666"/>
            </a:xfrm>
            <a:prstGeom prst="rect">
              <a:avLst/>
            </a:prstGeom>
            <a:noFill/>
            <a:ln>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zure clusters</a:t>
              </a:r>
            </a:p>
          </p:txBody>
        </p:sp>
        <p:grpSp>
          <p:nvGrpSpPr>
            <p:cNvPr id="9" name="Group 8">
              <a:extLst>
                <a:ext uri="{FF2B5EF4-FFF2-40B4-BE49-F238E27FC236}">
                  <a16:creationId xmlns:a16="http://schemas.microsoft.com/office/drawing/2014/main" id="{9D8427B0-CDA1-42F0-BAF6-93110D3C607F}"/>
                </a:ext>
              </a:extLst>
            </p:cNvPr>
            <p:cNvGrpSpPr/>
            <p:nvPr/>
          </p:nvGrpSpPr>
          <p:grpSpPr>
            <a:xfrm>
              <a:off x="9271588" y="6076949"/>
              <a:ext cx="419831" cy="419830"/>
              <a:chOff x="9271588" y="6076950"/>
              <a:chExt cx="419831" cy="419830"/>
            </a:xfrm>
          </p:grpSpPr>
          <p:pic>
            <p:nvPicPr>
              <p:cNvPr id="279" name="Graphic 278">
                <a:extLst>
                  <a:ext uri="{FF2B5EF4-FFF2-40B4-BE49-F238E27FC236}">
                    <a16:creationId xmlns:a16="http://schemas.microsoft.com/office/drawing/2014/main" id="{A36518C8-9B33-46F5-9140-8EAE396CB62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42772" y="6148134"/>
                <a:ext cx="277462" cy="277462"/>
              </a:xfrm>
              <a:prstGeom prst="rect">
                <a:avLst/>
              </a:prstGeom>
            </p:spPr>
          </p:pic>
          <p:sp>
            <p:nvSpPr>
              <p:cNvPr id="280" name="Oval 279">
                <a:extLst>
                  <a:ext uri="{FF2B5EF4-FFF2-40B4-BE49-F238E27FC236}">
                    <a16:creationId xmlns:a16="http://schemas.microsoft.com/office/drawing/2014/main" id="{C877726F-2A6F-4FEC-AF9A-09F2AF29EDA4}"/>
                  </a:ext>
                </a:extLst>
              </p:cNvPr>
              <p:cNvSpPr/>
              <p:nvPr/>
            </p:nvSpPr>
            <p:spPr bwMode="auto">
              <a:xfrm>
                <a:off x="9271588" y="6076950"/>
                <a:ext cx="419831" cy="419830"/>
              </a:xfrm>
              <a:prstGeom prst="ellipse">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8" name="TextBox 277">
              <a:extLst>
                <a:ext uri="{FF2B5EF4-FFF2-40B4-BE49-F238E27FC236}">
                  <a16:creationId xmlns:a16="http://schemas.microsoft.com/office/drawing/2014/main" id="{DF0438E3-9690-43AF-BFE0-EE3927C8D240}"/>
                </a:ext>
              </a:extLst>
            </p:cNvPr>
            <p:cNvSpPr txBox="1"/>
            <p:nvPr/>
          </p:nvSpPr>
          <p:spPr>
            <a:xfrm>
              <a:off x="9339782" y="6553461"/>
              <a:ext cx="370294" cy="184666"/>
            </a:xfrm>
            <a:prstGeom prst="rect">
              <a:avLst/>
            </a:prstGeom>
            <a:noFill/>
            <a:ln>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Mesh</a:t>
              </a:r>
            </a:p>
          </p:txBody>
        </p:sp>
        <p:grpSp>
          <p:nvGrpSpPr>
            <p:cNvPr id="8" name="Group 7">
              <a:extLst>
                <a:ext uri="{FF2B5EF4-FFF2-40B4-BE49-F238E27FC236}">
                  <a16:creationId xmlns:a16="http://schemas.microsoft.com/office/drawing/2014/main" id="{3EC000E5-A693-4971-B081-195BA9656B4E}"/>
                </a:ext>
              </a:extLst>
            </p:cNvPr>
            <p:cNvGrpSpPr/>
            <p:nvPr/>
          </p:nvGrpSpPr>
          <p:grpSpPr>
            <a:xfrm>
              <a:off x="7396842" y="6076949"/>
              <a:ext cx="419831" cy="419830"/>
              <a:chOff x="7396842" y="6076950"/>
              <a:chExt cx="419831" cy="419830"/>
            </a:xfrm>
          </p:grpSpPr>
          <p:sp>
            <p:nvSpPr>
              <p:cNvPr id="274" name="Oval 273">
                <a:extLst>
                  <a:ext uri="{FF2B5EF4-FFF2-40B4-BE49-F238E27FC236}">
                    <a16:creationId xmlns:a16="http://schemas.microsoft.com/office/drawing/2014/main" id="{FACD133C-339D-499C-AF7D-E800B9D9932C}"/>
                  </a:ext>
                </a:extLst>
              </p:cNvPr>
              <p:cNvSpPr/>
              <p:nvPr/>
            </p:nvSpPr>
            <p:spPr bwMode="auto">
              <a:xfrm>
                <a:off x="7396842" y="6076950"/>
                <a:ext cx="419831" cy="419830"/>
              </a:xfrm>
              <a:prstGeom prst="ellipse">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81" name="Graphic 280">
                <a:extLst>
                  <a:ext uri="{FF2B5EF4-FFF2-40B4-BE49-F238E27FC236}">
                    <a16:creationId xmlns:a16="http://schemas.microsoft.com/office/drawing/2014/main" id="{A8CAAEC9-E12F-4A49-9EEE-F556DCD7CD5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83545" y="6163653"/>
                <a:ext cx="246425" cy="246425"/>
              </a:xfrm>
              <a:prstGeom prst="rect">
                <a:avLst/>
              </a:prstGeom>
            </p:spPr>
          </p:pic>
        </p:grpSp>
      </p:grpSp>
      <p:grpSp>
        <p:nvGrpSpPr>
          <p:cNvPr id="16" name="Group 15">
            <a:extLst>
              <a:ext uri="{FF2B5EF4-FFF2-40B4-BE49-F238E27FC236}">
                <a16:creationId xmlns:a16="http://schemas.microsoft.com/office/drawing/2014/main" id="{96085538-A49F-46F3-982D-B838D1AA32D2}"/>
              </a:ext>
            </a:extLst>
          </p:cNvPr>
          <p:cNvGrpSpPr/>
          <p:nvPr/>
        </p:nvGrpSpPr>
        <p:grpSpPr>
          <a:xfrm>
            <a:off x="7163375" y="1999405"/>
            <a:ext cx="1033847" cy="902037"/>
            <a:chOff x="6119406" y="2609987"/>
            <a:chExt cx="1033847" cy="902037"/>
          </a:xfrm>
        </p:grpSpPr>
        <p:sp>
          <p:nvSpPr>
            <p:cNvPr id="48" name="Rectangle: Rounded Corners 47">
              <a:extLst>
                <a:ext uri="{FF2B5EF4-FFF2-40B4-BE49-F238E27FC236}">
                  <a16:creationId xmlns:a16="http://schemas.microsoft.com/office/drawing/2014/main" id="{24364AC1-2FF5-4487-905F-DB76FC1235F7}"/>
                </a:ext>
              </a:extLst>
            </p:cNvPr>
            <p:cNvSpPr/>
            <p:nvPr/>
          </p:nvSpPr>
          <p:spPr bwMode="auto">
            <a:xfrm>
              <a:off x="6119406" y="2779152"/>
              <a:ext cx="869459" cy="732872"/>
            </a:xfrm>
            <a:prstGeom prst="roundRect">
              <a:avLst>
                <a:gd name="adj" fmla="val 3125"/>
              </a:avLst>
            </a:prstGeom>
            <a:solidFill>
              <a:srgbClr val="FFFFFF"/>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37" name="Title 1">
              <a:extLst>
                <a:ext uri="{FF2B5EF4-FFF2-40B4-BE49-F238E27FC236}">
                  <a16:creationId xmlns:a16="http://schemas.microsoft.com/office/drawing/2014/main" id="{D0C67083-A75C-4BDA-B568-74FA756150F7}"/>
                </a:ext>
              </a:extLst>
            </p:cNvPr>
            <p:cNvSpPr txBox="1">
              <a:spLocks/>
            </p:cNvSpPr>
            <p:nvPr/>
          </p:nvSpPr>
          <p:spPr>
            <a:xfrm>
              <a:off x="6119406" y="2609987"/>
              <a:ext cx="70187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Service</a:t>
              </a:r>
            </a:p>
          </p:txBody>
        </p:sp>
        <p:grpSp>
          <p:nvGrpSpPr>
            <p:cNvPr id="5" name="Group 4">
              <a:extLst>
                <a:ext uri="{FF2B5EF4-FFF2-40B4-BE49-F238E27FC236}">
                  <a16:creationId xmlns:a16="http://schemas.microsoft.com/office/drawing/2014/main" id="{234C5A9A-947B-463C-BCC2-7E3D013F7BF1}"/>
                </a:ext>
              </a:extLst>
            </p:cNvPr>
            <p:cNvGrpSpPr/>
            <p:nvPr/>
          </p:nvGrpSpPr>
          <p:grpSpPr>
            <a:xfrm>
              <a:off x="6200532" y="2878794"/>
              <a:ext cx="533589" cy="533589"/>
              <a:chOff x="8831058" y="1395072"/>
              <a:chExt cx="533589" cy="533589"/>
            </a:xfrm>
          </p:grpSpPr>
          <p:pic>
            <p:nvPicPr>
              <p:cNvPr id="45" name="Graphic 44">
                <a:extLst>
                  <a:ext uri="{FF2B5EF4-FFF2-40B4-BE49-F238E27FC236}">
                    <a16:creationId xmlns:a16="http://schemas.microsoft.com/office/drawing/2014/main" id="{69AC42AA-7C62-4FCF-AB51-F7E3AB074685}"/>
                  </a:ext>
                </a:extLst>
              </p:cNvPr>
              <p:cNvPicPr>
                <a:picLocks noChangeAspect="1"/>
              </p:cNvPicPr>
              <p:nvPr/>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l="56245"/>
              <a:stretch/>
            </p:blipFill>
            <p:spPr>
              <a:xfrm>
                <a:off x="8907352" y="1537171"/>
                <a:ext cx="381000" cy="249390"/>
              </a:xfrm>
              <a:prstGeom prst="rect">
                <a:avLst/>
              </a:prstGeom>
            </p:spPr>
          </p:pic>
          <p:sp>
            <p:nvSpPr>
              <p:cNvPr id="46" name="Rectangle: Rounded Corners 45">
                <a:extLst>
                  <a:ext uri="{FF2B5EF4-FFF2-40B4-BE49-F238E27FC236}">
                    <a16:creationId xmlns:a16="http://schemas.microsoft.com/office/drawing/2014/main" id="{6BBE2713-D426-4FEF-88AA-6CAF5AB617C4}"/>
                  </a:ext>
                </a:extLst>
              </p:cNvPr>
              <p:cNvSpPr/>
              <p:nvPr/>
            </p:nvSpPr>
            <p:spPr bwMode="auto">
              <a:xfrm>
                <a:off x="8831058" y="1395072"/>
                <a:ext cx="533589" cy="533589"/>
              </a:xfrm>
              <a:prstGeom prst="roundRect">
                <a:avLst>
                  <a:gd name="adj" fmla="val 3125"/>
                </a:avLst>
              </a:prstGeom>
              <a:noFill/>
              <a:ln w="12700">
                <a:solidFill>
                  <a:srgbClr val="00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grpSp>
        <p:sp>
          <p:nvSpPr>
            <p:cNvPr id="50" name="Freeform: Shape 49">
              <a:extLst>
                <a:ext uri="{FF2B5EF4-FFF2-40B4-BE49-F238E27FC236}">
                  <a16:creationId xmlns:a16="http://schemas.microsoft.com/office/drawing/2014/main" id="{E518675C-86A2-47DD-BDA9-3B9D64579B3E}"/>
                </a:ext>
              </a:extLst>
            </p:cNvPr>
            <p:cNvSpPr/>
            <p:nvPr/>
          </p:nvSpPr>
          <p:spPr>
            <a:xfrm>
              <a:off x="6835987" y="2971740"/>
              <a:ext cx="317266" cy="34769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solidFill>
              <a:srgbClr val="FFFFFF"/>
            </a:solidFill>
            <a:ln w="12700" cap="rnd">
              <a:solidFill>
                <a:srgbClr val="000000"/>
              </a:solidFill>
              <a:prstDash val="solid"/>
              <a:round/>
            </a:ln>
          </p:spPr>
          <p:txBody>
            <a:bodyPr wrap="square">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CD386B71-9720-47DA-8111-268AE58C9E2B}"/>
              </a:ext>
            </a:extLst>
          </p:cNvPr>
          <p:cNvGrpSpPr/>
          <p:nvPr/>
        </p:nvGrpSpPr>
        <p:grpSpPr>
          <a:xfrm>
            <a:off x="9038585" y="2432613"/>
            <a:ext cx="1054319" cy="1086498"/>
            <a:chOff x="8134725" y="2730542"/>
            <a:chExt cx="1054319" cy="1086498"/>
          </a:xfrm>
        </p:grpSpPr>
        <p:grpSp>
          <p:nvGrpSpPr>
            <p:cNvPr id="148" name="Group 147">
              <a:extLst>
                <a:ext uri="{FF2B5EF4-FFF2-40B4-BE49-F238E27FC236}">
                  <a16:creationId xmlns:a16="http://schemas.microsoft.com/office/drawing/2014/main" id="{8E6B82D8-BAEE-405E-B74E-89C4BD1ACE19}"/>
                </a:ext>
              </a:extLst>
            </p:cNvPr>
            <p:cNvGrpSpPr/>
            <p:nvPr/>
          </p:nvGrpSpPr>
          <p:grpSpPr>
            <a:xfrm>
              <a:off x="8243910" y="3043008"/>
              <a:ext cx="918290" cy="774032"/>
              <a:chOff x="8134725" y="2874686"/>
              <a:chExt cx="918290" cy="774032"/>
            </a:xfrm>
          </p:grpSpPr>
          <p:sp>
            <p:nvSpPr>
              <p:cNvPr id="149" name="Rectangle: Rounded Corners 148">
                <a:extLst>
                  <a:ext uri="{FF2B5EF4-FFF2-40B4-BE49-F238E27FC236}">
                    <a16:creationId xmlns:a16="http://schemas.microsoft.com/office/drawing/2014/main" id="{3A1E7EF3-DA1F-49F3-AEF9-C93D0671F50F}"/>
                  </a:ext>
                </a:extLst>
              </p:cNvPr>
              <p:cNvSpPr/>
              <p:nvPr/>
            </p:nvSpPr>
            <p:spPr bwMode="auto">
              <a:xfrm>
                <a:off x="8134725" y="2874686"/>
                <a:ext cx="918290" cy="774032"/>
              </a:xfrm>
              <a:prstGeom prst="roundRect">
                <a:avLst>
                  <a:gd name="adj" fmla="val 3125"/>
                </a:avLst>
              </a:prstGeom>
              <a:solidFill>
                <a:schemeClr val="bg1"/>
              </a:solidFill>
              <a:ln w="127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150" name="Rectangle: Rounded Corners 149">
                <a:extLst>
                  <a:ext uri="{FF2B5EF4-FFF2-40B4-BE49-F238E27FC236}">
                    <a16:creationId xmlns:a16="http://schemas.microsoft.com/office/drawing/2014/main" id="{0BFD3760-B9EE-4DF0-AB03-BF3053DEE437}"/>
                  </a:ext>
                </a:extLst>
              </p:cNvPr>
              <p:cNvSpPr/>
              <p:nvPr/>
            </p:nvSpPr>
            <p:spPr bwMode="auto">
              <a:xfrm>
                <a:off x="8155197" y="2899707"/>
                <a:ext cx="869459" cy="732872"/>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grpSp>
        <p:grpSp>
          <p:nvGrpSpPr>
            <p:cNvPr id="145" name="Group 144">
              <a:extLst>
                <a:ext uri="{FF2B5EF4-FFF2-40B4-BE49-F238E27FC236}">
                  <a16:creationId xmlns:a16="http://schemas.microsoft.com/office/drawing/2014/main" id="{474B2EF5-2545-426F-AE0D-CB7048FEF368}"/>
                </a:ext>
              </a:extLst>
            </p:cNvPr>
            <p:cNvGrpSpPr/>
            <p:nvPr/>
          </p:nvGrpSpPr>
          <p:grpSpPr>
            <a:xfrm>
              <a:off x="8187043" y="2958847"/>
              <a:ext cx="918290" cy="774032"/>
              <a:chOff x="8134725" y="2874686"/>
              <a:chExt cx="918290" cy="774032"/>
            </a:xfrm>
          </p:grpSpPr>
          <p:sp>
            <p:nvSpPr>
              <p:cNvPr id="146" name="Rectangle: Rounded Corners 145">
                <a:extLst>
                  <a:ext uri="{FF2B5EF4-FFF2-40B4-BE49-F238E27FC236}">
                    <a16:creationId xmlns:a16="http://schemas.microsoft.com/office/drawing/2014/main" id="{CF76B807-FD38-451F-BF45-414C445AC1F7}"/>
                  </a:ext>
                </a:extLst>
              </p:cNvPr>
              <p:cNvSpPr/>
              <p:nvPr/>
            </p:nvSpPr>
            <p:spPr bwMode="auto">
              <a:xfrm>
                <a:off x="8134725" y="2874686"/>
                <a:ext cx="918290" cy="774032"/>
              </a:xfrm>
              <a:prstGeom prst="roundRect">
                <a:avLst>
                  <a:gd name="adj" fmla="val 3125"/>
                </a:avLst>
              </a:prstGeom>
              <a:solidFill>
                <a:schemeClr val="bg1"/>
              </a:solidFill>
              <a:ln w="127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147" name="Rectangle: Rounded Corners 146">
                <a:extLst>
                  <a:ext uri="{FF2B5EF4-FFF2-40B4-BE49-F238E27FC236}">
                    <a16:creationId xmlns:a16="http://schemas.microsoft.com/office/drawing/2014/main" id="{E097B262-FA12-45DA-847A-B87A47CE9E9E}"/>
                  </a:ext>
                </a:extLst>
              </p:cNvPr>
              <p:cNvSpPr/>
              <p:nvPr/>
            </p:nvSpPr>
            <p:spPr bwMode="auto">
              <a:xfrm>
                <a:off x="8155197" y="2899707"/>
                <a:ext cx="869459" cy="732872"/>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grpSp>
        <p:grpSp>
          <p:nvGrpSpPr>
            <p:cNvPr id="14" name="Group 13">
              <a:extLst>
                <a:ext uri="{FF2B5EF4-FFF2-40B4-BE49-F238E27FC236}">
                  <a16:creationId xmlns:a16="http://schemas.microsoft.com/office/drawing/2014/main" id="{7E64F2D1-6F53-419B-8152-5A302E1D6DBD}"/>
                </a:ext>
              </a:extLst>
            </p:cNvPr>
            <p:cNvGrpSpPr/>
            <p:nvPr/>
          </p:nvGrpSpPr>
          <p:grpSpPr>
            <a:xfrm>
              <a:off x="8134725" y="2874686"/>
              <a:ext cx="918290" cy="774032"/>
              <a:chOff x="8134725" y="2874686"/>
              <a:chExt cx="918290" cy="774032"/>
            </a:xfrm>
          </p:grpSpPr>
          <p:sp>
            <p:nvSpPr>
              <p:cNvPr id="143" name="Rectangle: Rounded Corners 142">
                <a:extLst>
                  <a:ext uri="{FF2B5EF4-FFF2-40B4-BE49-F238E27FC236}">
                    <a16:creationId xmlns:a16="http://schemas.microsoft.com/office/drawing/2014/main" id="{81BECF9E-EF5D-4D18-B3F1-9A2576BFBCC7}"/>
                  </a:ext>
                </a:extLst>
              </p:cNvPr>
              <p:cNvSpPr/>
              <p:nvPr/>
            </p:nvSpPr>
            <p:spPr bwMode="auto">
              <a:xfrm>
                <a:off x="8134725" y="2874686"/>
                <a:ext cx="918290" cy="774032"/>
              </a:xfrm>
              <a:prstGeom prst="roundRect">
                <a:avLst>
                  <a:gd name="adj" fmla="val 3125"/>
                </a:avLst>
              </a:prstGeom>
              <a:solidFill>
                <a:schemeClr val="bg1"/>
              </a:solidFill>
              <a:ln w="127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122" name="Rectangle: Rounded Corners 121">
                <a:extLst>
                  <a:ext uri="{FF2B5EF4-FFF2-40B4-BE49-F238E27FC236}">
                    <a16:creationId xmlns:a16="http://schemas.microsoft.com/office/drawing/2014/main" id="{856D1998-CF7B-4CA7-BD22-4FBAF883B9D3}"/>
                  </a:ext>
                </a:extLst>
              </p:cNvPr>
              <p:cNvSpPr/>
              <p:nvPr/>
            </p:nvSpPr>
            <p:spPr bwMode="auto">
              <a:xfrm>
                <a:off x="8155197" y="2899707"/>
                <a:ext cx="869459" cy="732872"/>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grpSp>
        <p:grpSp>
          <p:nvGrpSpPr>
            <p:cNvPr id="96" name="Graphic 4">
              <a:extLst>
                <a:ext uri="{FF2B5EF4-FFF2-40B4-BE49-F238E27FC236}">
                  <a16:creationId xmlns:a16="http://schemas.microsoft.com/office/drawing/2014/main" id="{867DA45E-53BF-4D8E-9DA6-80E63AFBBF36}"/>
                </a:ext>
              </a:extLst>
            </p:cNvPr>
            <p:cNvGrpSpPr/>
            <p:nvPr/>
          </p:nvGrpSpPr>
          <p:grpSpPr>
            <a:xfrm>
              <a:off x="8348905" y="3062140"/>
              <a:ext cx="308425" cy="408006"/>
              <a:chOff x="7815262" y="2024062"/>
              <a:chExt cx="2124075" cy="2809875"/>
            </a:xfrm>
            <a:solidFill>
              <a:srgbClr val="000000"/>
            </a:solidFill>
          </p:grpSpPr>
          <p:sp>
            <p:nvSpPr>
              <p:cNvPr id="99" name="Freeform: Shape 98">
                <a:extLst>
                  <a:ext uri="{FF2B5EF4-FFF2-40B4-BE49-F238E27FC236}">
                    <a16:creationId xmlns:a16="http://schemas.microsoft.com/office/drawing/2014/main" id="{9D4D7338-8717-48AB-AF8A-42B1C8E6C82F}"/>
                  </a:ext>
                </a:extLst>
              </p:cNvPr>
              <p:cNvSpPr/>
              <p:nvPr/>
            </p:nvSpPr>
            <p:spPr>
              <a:xfrm>
                <a:off x="7807989" y="4183070"/>
                <a:ext cx="1933575" cy="447675"/>
              </a:xfrm>
              <a:custGeom>
                <a:avLst/>
                <a:gdLst>
                  <a:gd name="connsiteX0" fmla="*/ 1832168 w 1933575"/>
                  <a:gd name="connsiteY0" fmla="*/ 26312 h 447675"/>
                  <a:gd name="connsiteX1" fmla="*/ 1889318 w 1933575"/>
                  <a:gd name="connsiteY1" fmla="*/ 61364 h 447675"/>
                  <a:gd name="connsiteX2" fmla="*/ 1919036 w 1933575"/>
                  <a:gd name="connsiteY2" fmla="*/ 186237 h 447675"/>
                  <a:gd name="connsiteX3" fmla="*/ 1845503 w 1933575"/>
                  <a:gd name="connsiteY3" fmla="*/ 268152 h 447675"/>
                  <a:gd name="connsiteX4" fmla="*/ 1682149 w 1933575"/>
                  <a:gd name="connsiteY4" fmla="*/ 345495 h 447675"/>
                  <a:gd name="connsiteX5" fmla="*/ 1453549 w 1933575"/>
                  <a:gd name="connsiteY5" fmla="*/ 401407 h 447675"/>
                  <a:gd name="connsiteX6" fmla="*/ 1276860 w 1933575"/>
                  <a:gd name="connsiteY6" fmla="*/ 425886 h 447675"/>
                  <a:gd name="connsiteX7" fmla="*/ 980919 w 1933575"/>
                  <a:gd name="connsiteY7" fmla="*/ 443222 h 447675"/>
                  <a:gd name="connsiteX8" fmla="*/ 756700 w 1933575"/>
                  <a:gd name="connsiteY8" fmla="*/ 439316 h 447675"/>
                  <a:gd name="connsiteX9" fmla="*/ 569820 w 1933575"/>
                  <a:gd name="connsiteY9" fmla="*/ 424362 h 447675"/>
                  <a:gd name="connsiteX10" fmla="*/ 235111 w 1933575"/>
                  <a:gd name="connsiteY10" fmla="*/ 356735 h 447675"/>
                  <a:gd name="connsiteX11" fmla="*/ 87378 w 1933575"/>
                  <a:gd name="connsiteY11" fmla="*/ 287774 h 447675"/>
                  <a:gd name="connsiteX12" fmla="*/ 27276 w 1933575"/>
                  <a:gd name="connsiteY12" fmla="*/ 228719 h 447675"/>
                  <a:gd name="connsiteX13" fmla="*/ 43182 w 1933575"/>
                  <a:gd name="connsiteY13" fmla="*/ 91940 h 447675"/>
                  <a:gd name="connsiteX14" fmla="*/ 171008 w 1933575"/>
                  <a:gd name="connsiteY14" fmla="*/ 24407 h 447675"/>
                  <a:gd name="connsiteX15" fmla="*/ 348840 w 1933575"/>
                  <a:gd name="connsiteY15" fmla="*/ 8977 h 447675"/>
                  <a:gd name="connsiteX16" fmla="*/ 388845 w 1933575"/>
                  <a:gd name="connsiteY16" fmla="*/ 12787 h 447675"/>
                  <a:gd name="connsiteX17" fmla="*/ 410371 w 1933575"/>
                  <a:gd name="connsiteY17" fmla="*/ 20216 h 447675"/>
                  <a:gd name="connsiteX18" fmla="*/ 496668 w 1933575"/>
                  <a:gd name="connsiteY18" fmla="*/ 69937 h 447675"/>
                  <a:gd name="connsiteX19" fmla="*/ 450186 w 1933575"/>
                  <a:gd name="connsiteY19" fmla="*/ 66127 h 447675"/>
                  <a:gd name="connsiteX20" fmla="*/ 298738 w 1933575"/>
                  <a:gd name="connsiteY20" fmla="*/ 99464 h 447675"/>
                  <a:gd name="connsiteX21" fmla="*/ 266734 w 1933575"/>
                  <a:gd name="connsiteY21" fmla="*/ 126039 h 447675"/>
                  <a:gd name="connsiteX22" fmla="*/ 264639 w 1933575"/>
                  <a:gd name="connsiteY22" fmla="*/ 173664 h 447675"/>
                  <a:gd name="connsiteX23" fmla="*/ 314359 w 1933575"/>
                  <a:gd name="connsiteY23" fmla="*/ 215669 h 447675"/>
                  <a:gd name="connsiteX24" fmla="*/ 448566 w 1933575"/>
                  <a:gd name="connsiteY24" fmla="*/ 262056 h 447675"/>
                  <a:gd name="connsiteX25" fmla="*/ 710123 w 1933575"/>
                  <a:gd name="connsiteY25" fmla="*/ 301775 h 447675"/>
                  <a:gd name="connsiteX26" fmla="*/ 1115412 w 1933575"/>
                  <a:gd name="connsiteY26" fmla="*/ 312539 h 447675"/>
                  <a:gd name="connsiteX27" fmla="*/ 1365633 w 1933575"/>
                  <a:gd name="connsiteY27" fmla="*/ 294155 h 447675"/>
                  <a:gd name="connsiteX28" fmla="*/ 1649478 w 1933575"/>
                  <a:gd name="connsiteY28" fmla="*/ 235291 h 447675"/>
                  <a:gd name="connsiteX29" fmla="*/ 1775113 w 1933575"/>
                  <a:gd name="connsiteY29" fmla="*/ 174617 h 447675"/>
                  <a:gd name="connsiteX30" fmla="*/ 1822738 w 1933575"/>
                  <a:gd name="connsiteY30" fmla="*/ 126992 h 447675"/>
                  <a:gd name="connsiteX31" fmla="*/ 1834454 w 1933575"/>
                  <a:gd name="connsiteY31" fmla="*/ 38885 h 447675"/>
                  <a:gd name="connsiteX32" fmla="*/ 1831215 w 1933575"/>
                  <a:gd name="connsiteY32" fmla="*/ 27836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33575" h="447675">
                    <a:moveTo>
                      <a:pt x="1832168" y="26312"/>
                    </a:moveTo>
                    <a:cubicBezTo>
                      <a:pt x="1852380" y="35980"/>
                      <a:pt x="1871535" y="47734"/>
                      <a:pt x="1889318" y="61364"/>
                    </a:cubicBezTo>
                    <a:cubicBezTo>
                      <a:pt x="1931037" y="94988"/>
                      <a:pt x="1940848" y="135945"/>
                      <a:pt x="1919036" y="186237"/>
                    </a:cubicBezTo>
                    <a:cubicBezTo>
                      <a:pt x="1903605" y="221575"/>
                      <a:pt x="1876269" y="246626"/>
                      <a:pt x="1845503" y="268152"/>
                    </a:cubicBezTo>
                    <a:cubicBezTo>
                      <a:pt x="1795125" y="301785"/>
                      <a:pt x="1740090" y="327845"/>
                      <a:pt x="1682149" y="345495"/>
                    </a:cubicBezTo>
                    <a:cubicBezTo>
                      <a:pt x="1607444" y="369803"/>
                      <a:pt x="1531035" y="388491"/>
                      <a:pt x="1453549" y="401407"/>
                    </a:cubicBezTo>
                    <a:cubicBezTo>
                      <a:pt x="1394875" y="411694"/>
                      <a:pt x="1335982" y="419857"/>
                      <a:pt x="1276860" y="425886"/>
                    </a:cubicBezTo>
                    <a:cubicBezTo>
                      <a:pt x="1178467" y="436173"/>
                      <a:pt x="1079788" y="441602"/>
                      <a:pt x="980919" y="443222"/>
                    </a:cubicBezTo>
                    <a:cubicBezTo>
                      <a:pt x="906147" y="444460"/>
                      <a:pt x="831376" y="443222"/>
                      <a:pt x="756700" y="439316"/>
                    </a:cubicBezTo>
                    <a:cubicBezTo>
                      <a:pt x="694216" y="436364"/>
                      <a:pt x="631923" y="431601"/>
                      <a:pt x="569820" y="424362"/>
                    </a:cubicBezTo>
                    <a:cubicBezTo>
                      <a:pt x="456377" y="411122"/>
                      <a:pt x="343982" y="392453"/>
                      <a:pt x="235111" y="356735"/>
                    </a:cubicBezTo>
                    <a:cubicBezTo>
                      <a:pt x="182814" y="340952"/>
                      <a:pt x="133059" y="317730"/>
                      <a:pt x="87378" y="287774"/>
                    </a:cubicBezTo>
                    <a:cubicBezTo>
                      <a:pt x="63560" y="272353"/>
                      <a:pt x="43115" y="252264"/>
                      <a:pt x="27276" y="228719"/>
                    </a:cubicBezTo>
                    <a:cubicBezTo>
                      <a:pt x="-4157" y="179760"/>
                      <a:pt x="1272" y="132230"/>
                      <a:pt x="43182" y="91940"/>
                    </a:cubicBezTo>
                    <a:cubicBezTo>
                      <a:pt x="79282" y="57173"/>
                      <a:pt x="123573" y="37647"/>
                      <a:pt x="171008" y="24407"/>
                    </a:cubicBezTo>
                    <a:cubicBezTo>
                      <a:pt x="228979" y="9205"/>
                      <a:pt x="289116" y="3986"/>
                      <a:pt x="348840" y="8977"/>
                    </a:cubicBezTo>
                    <a:cubicBezTo>
                      <a:pt x="362175" y="9929"/>
                      <a:pt x="375510" y="11930"/>
                      <a:pt x="388845" y="12787"/>
                    </a:cubicBezTo>
                    <a:cubicBezTo>
                      <a:pt x="396511" y="13501"/>
                      <a:pt x="403894" y="16054"/>
                      <a:pt x="410371" y="20216"/>
                    </a:cubicBezTo>
                    <a:cubicBezTo>
                      <a:pt x="438946" y="36695"/>
                      <a:pt x="467997" y="52887"/>
                      <a:pt x="496668" y="69937"/>
                    </a:cubicBezTo>
                    <a:cubicBezTo>
                      <a:pt x="481047" y="68413"/>
                      <a:pt x="465711" y="66508"/>
                      <a:pt x="450186" y="66127"/>
                    </a:cubicBezTo>
                    <a:cubicBezTo>
                      <a:pt x="397634" y="63546"/>
                      <a:pt x="345349" y="75061"/>
                      <a:pt x="298738" y="99464"/>
                    </a:cubicBezTo>
                    <a:cubicBezTo>
                      <a:pt x="286242" y="105856"/>
                      <a:pt x="275314" y="114933"/>
                      <a:pt x="266734" y="126039"/>
                    </a:cubicBezTo>
                    <a:cubicBezTo>
                      <a:pt x="255336" y="139612"/>
                      <a:pt x="254476" y="159148"/>
                      <a:pt x="264639" y="173664"/>
                    </a:cubicBezTo>
                    <a:cubicBezTo>
                      <a:pt x="276932" y="192066"/>
                      <a:pt x="294165" y="206621"/>
                      <a:pt x="314359" y="215669"/>
                    </a:cubicBezTo>
                    <a:cubicBezTo>
                      <a:pt x="356934" y="236786"/>
                      <a:pt x="402036" y="252379"/>
                      <a:pt x="448566" y="262056"/>
                    </a:cubicBezTo>
                    <a:cubicBezTo>
                      <a:pt x="534702" y="281468"/>
                      <a:pt x="622107" y="294746"/>
                      <a:pt x="710123" y="301775"/>
                    </a:cubicBezTo>
                    <a:cubicBezTo>
                      <a:pt x="844878" y="313548"/>
                      <a:pt x="980223" y="317149"/>
                      <a:pt x="1115412" y="312539"/>
                    </a:cubicBezTo>
                    <a:cubicBezTo>
                      <a:pt x="1199041" y="309967"/>
                      <a:pt x="1282480" y="304252"/>
                      <a:pt x="1365633" y="294155"/>
                    </a:cubicBezTo>
                    <a:cubicBezTo>
                      <a:pt x="1461836" y="282344"/>
                      <a:pt x="1557181" y="266152"/>
                      <a:pt x="1649478" y="235291"/>
                    </a:cubicBezTo>
                    <a:cubicBezTo>
                      <a:pt x="1694179" y="221527"/>
                      <a:pt x="1736537" y="201067"/>
                      <a:pt x="1775113" y="174617"/>
                    </a:cubicBezTo>
                    <a:cubicBezTo>
                      <a:pt x="1793935" y="161986"/>
                      <a:pt x="1810108" y="145813"/>
                      <a:pt x="1822738" y="126992"/>
                    </a:cubicBezTo>
                    <a:cubicBezTo>
                      <a:pt x="1839635" y="100855"/>
                      <a:pt x="1843941" y="68527"/>
                      <a:pt x="1834454" y="38885"/>
                    </a:cubicBezTo>
                    <a:cubicBezTo>
                      <a:pt x="1833406" y="35171"/>
                      <a:pt x="1832263" y="31551"/>
                      <a:pt x="1831215" y="278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C2CF9E4D-85B7-4DFA-AE5A-B5C76E52B7E8}"/>
                  </a:ext>
                </a:extLst>
              </p:cNvPr>
              <p:cNvSpPr/>
              <p:nvPr/>
            </p:nvSpPr>
            <p:spPr>
              <a:xfrm>
                <a:off x="8439994" y="2016545"/>
                <a:ext cx="695325" cy="1466850"/>
              </a:xfrm>
              <a:custGeom>
                <a:avLst/>
                <a:gdLst>
                  <a:gd name="connsiteX0" fmla="*/ 413493 w 695325"/>
                  <a:gd name="connsiteY0" fmla="*/ 1466652 h 1466850"/>
                  <a:gd name="connsiteX1" fmla="*/ 289097 w 695325"/>
                  <a:gd name="connsiteY1" fmla="*/ 1366925 h 1466850"/>
                  <a:gd name="connsiteX2" fmla="*/ 156794 w 695325"/>
                  <a:gd name="connsiteY2" fmla="*/ 1234337 h 1466850"/>
                  <a:gd name="connsiteX3" fmla="*/ 26111 w 695325"/>
                  <a:gd name="connsiteY3" fmla="*/ 1025740 h 1466850"/>
                  <a:gd name="connsiteX4" fmla="*/ 64973 w 695325"/>
                  <a:gd name="connsiteY4" fmla="*/ 760564 h 1466850"/>
                  <a:gd name="connsiteX5" fmla="*/ 195847 w 695325"/>
                  <a:gd name="connsiteY5" fmla="*/ 621784 h 1466850"/>
                  <a:gd name="connsiteX6" fmla="*/ 384442 w 695325"/>
                  <a:gd name="connsiteY6" fmla="*/ 463193 h 1466850"/>
                  <a:gd name="connsiteX7" fmla="*/ 559892 w 695325"/>
                  <a:gd name="connsiteY7" fmla="*/ 286885 h 1466850"/>
                  <a:gd name="connsiteX8" fmla="*/ 627996 w 695325"/>
                  <a:gd name="connsiteY8" fmla="*/ 142582 h 1466850"/>
                  <a:gd name="connsiteX9" fmla="*/ 615423 w 695325"/>
                  <a:gd name="connsiteY9" fmla="*/ 7517 h 1466850"/>
                  <a:gd name="connsiteX10" fmla="*/ 619995 w 695325"/>
                  <a:gd name="connsiteY10" fmla="*/ 10089 h 1466850"/>
                  <a:gd name="connsiteX11" fmla="*/ 691147 w 695325"/>
                  <a:gd name="connsiteY11" fmla="*/ 199160 h 1466850"/>
                  <a:gd name="connsiteX12" fmla="*/ 662572 w 695325"/>
                  <a:gd name="connsiteY12" fmla="*/ 389660 h 1466850"/>
                  <a:gd name="connsiteX13" fmla="*/ 548558 w 695325"/>
                  <a:gd name="connsiteY13" fmla="*/ 569492 h 1466850"/>
                  <a:gd name="connsiteX14" fmla="*/ 385775 w 695325"/>
                  <a:gd name="connsiteY14" fmla="*/ 744943 h 1466850"/>
                  <a:gd name="connsiteX15" fmla="*/ 260331 w 695325"/>
                  <a:gd name="connsiteY15" fmla="*/ 893437 h 1466850"/>
                  <a:gd name="connsiteX16" fmla="*/ 217373 w 695325"/>
                  <a:gd name="connsiteY16" fmla="*/ 989449 h 1466850"/>
                  <a:gd name="connsiteX17" fmla="*/ 228422 w 695325"/>
                  <a:gd name="connsiteY17" fmla="*/ 1092320 h 1466850"/>
                  <a:gd name="connsiteX18" fmla="*/ 354914 w 695325"/>
                  <a:gd name="connsiteY18" fmla="*/ 1362639 h 1466850"/>
                  <a:gd name="connsiteX19" fmla="*/ 410826 w 695325"/>
                  <a:gd name="connsiteY19" fmla="*/ 1457889 h 1466850"/>
                  <a:gd name="connsiteX20" fmla="*/ 413493 w 695325"/>
                  <a:gd name="connsiteY20" fmla="*/ 1466652 h 146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5325" h="1466850">
                    <a:moveTo>
                      <a:pt x="413493" y="1466652"/>
                    </a:moveTo>
                    <a:cubicBezTo>
                      <a:pt x="370059" y="1435124"/>
                      <a:pt x="328816" y="1401977"/>
                      <a:pt x="289097" y="1366925"/>
                    </a:cubicBezTo>
                    <a:cubicBezTo>
                      <a:pt x="241978" y="1325844"/>
                      <a:pt x="197771" y="1281543"/>
                      <a:pt x="156794" y="1234337"/>
                    </a:cubicBezTo>
                    <a:cubicBezTo>
                      <a:pt x="102692" y="1171472"/>
                      <a:pt x="55163" y="1104607"/>
                      <a:pt x="26111" y="1025740"/>
                    </a:cubicBezTo>
                    <a:cubicBezTo>
                      <a:pt x="-9131" y="930013"/>
                      <a:pt x="5252" y="842288"/>
                      <a:pt x="64973" y="760564"/>
                    </a:cubicBezTo>
                    <a:cubicBezTo>
                      <a:pt x="103601" y="709835"/>
                      <a:pt x="147468" y="663318"/>
                      <a:pt x="195847" y="621784"/>
                    </a:cubicBezTo>
                    <a:cubicBezTo>
                      <a:pt x="257188" y="567111"/>
                      <a:pt x="321958" y="517009"/>
                      <a:pt x="384442" y="463193"/>
                    </a:cubicBezTo>
                    <a:cubicBezTo>
                      <a:pt x="446926" y="409377"/>
                      <a:pt x="509696" y="353941"/>
                      <a:pt x="559892" y="286885"/>
                    </a:cubicBezTo>
                    <a:cubicBezTo>
                      <a:pt x="593439" y="244694"/>
                      <a:pt x="616757" y="195301"/>
                      <a:pt x="627996" y="142582"/>
                    </a:cubicBezTo>
                    <a:cubicBezTo>
                      <a:pt x="636454" y="97267"/>
                      <a:pt x="632102" y="50491"/>
                      <a:pt x="615423" y="7517"/>
                    </a:cubicBezTo>
                    <a:cubicBezTo>
                      <a:pt x="617995" y="6279"/>
                      <a:pt x="618948" y="8374"/>
                      <a:pt x="619995" y="10089"/>
                    </a:cubicBezTo>
                    <a:cubicBezTo>
                      <a:pt x="657514" y="67019"/>
                      <a:pt x="681822" y="131619"/>
                      <a:pt x="691147" y="199160"/>
                    </a:cubicBezTo>
                    <a:cubicBezTo>
                      <a:pt x="698395" y="264065"/>
                      <a:pt x="688547" y="329737"/>
                      <a:pt x="662572" y="389660"/>
                    </a:cubicBezTo>
                    <a:cubicBezTo>
                      <a:pt x="633797" y="454980"/>
                      <a:pt x="595363" y="515602"/>
                      <a:pt x="548558" y="569492"/>
                    </a:cubicBezTo>
                    <a:cubicBezTo>
                      <a:pt x="497504" y="630928"/>
                      <a:pt x="440830" y="687221"/>
                      <a:pt x="385775" y="744943"/>
                    </a:cubicBezTo>
                    <a:cubicBezTo>
                      <a:pt x="340913" y="791901"/>
                      <a:pt x="296145" y="838859"/>
                      <a:pt x="260331" y="893437"/>
                    </a:cubicBezTo>
                    <a:cubicBezTo>
                      <a:pt x="240165" y="922492"/>
                      <a:pt x="225596" y="955052"/>
                      <a:pt x="217373" y="989449"/>
                    </a:cubicBezTo>
                    <a:cubicBezTo>
                      <a:pt x="210313" y="1024054"/>
                      <a:pt x="214173" y="1060001"/>
                      <a:pt x="228422" y="1092320"/>
                    </a:cubicBezTo>
                    <a:cubicBezTo>
                      <a:pt x="265009" y="1184931"/>
                      <a:pt x="307252" y="1275209"/>
                      <a:pt x="354914" y="1362639"/>
                    </a:cubicBezTo>
                    <a:cubicBezTo>
                      <a:pt x="372821" y="1394833"/>
                      <a:pt x="391586" y="1426457"/>
                      <a:pt x="410826" y="1457889"/>
                    </a:cubicBezTo>
                    <a:cubicBezTo>
                      <a:pt x="412255" y="1460080"/>
                      <a:pt x="414922" y="1462175"/>
                      <a:pt x="413493" y="146665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625E832F-F1ED-42D3-9AAA-5C195CD64D75}"/>
                  </a:ext>
                </a:extLst>
              </p:cNvPr>
              <p:cNvSpPr/>
              <p:nvPr/>
            </p:nvSpPr>
            <p:spPr>
              <a:xfrm>
                <a:off x="8008115" y="3425195"/>
                <a:ext cx="1409700" cy="304800"/>
              </a:xfrm>
              <a:custGeom>
                <a:avLst/>
                <a:gdLst>
                  <a:gd name="connsiteX0" fmla="*/ 550097 w 1409700"/>
                  <a:gd name="connsiteY0" fmla="*/ 7996 h 304800"/>
                  <a:gd name="connsiteX1" fmla="*/ 517140 w 1409700"/>
                  <a:gd name="connsiteY1" fmla="*/ 16854 h 304800"/>
                  <a:gd name="connsiteX2" fmla="*/ 358359 w 1409700"/>
                  <a:gd name="connsiteY2" fmla="*/ 74004 h 304800"/>
                  <a:gd name="connsiteX3" fmla="*/ 318258 w 1409700"/>
                  <a:gd name="connsiteY3" fmla="*/ 101817 h 304800"/>
                  <a:gd name="connsiteX4" fmla="*/ 325497 w 1409700"/>
                  <a:gd name="connsiteY4" fmla="*/ 136774 h 304800"/>
                  <a:gd name="connsiteX5" fmla="*/ 393411 w 1409700"/>
                  <a:gd name="connsiteY5" fmla="*/ 150775 h 304800"/>
                  <a:gd name="connsiteX6" fmla="*/ 807558 w 1409700"/>
                  <a:gd name="connsiteY6" fmla="*/ 160300 h 304800"/>
                  <a:gd name="connsiteX7" fmla="*/ 1042158 w 1409700"/>
                  <a:gd name="connsiteY7" fmla="*/ 148204 h 304800"/>
                  <a:gd name="connsiteX8" fmla="*/ 1265996 w 1409700"/>
                  <a:gd name="connsiteY8" fmla="*/ 126010 h 304800"/>
                  <a:gd name="connsiteX9" fmla="*/ 1403156 w 1409700"/>
                  <a:gd name="connsiteY9" fmla="*/ 103246 h 304800"/>
                  <a:gd name="connsiteX10" fmla="*/ 1407347 w 1409700"/>
                  <a:gd name="connsiteY10" fmla="*/ 103246 h 304800"/>
                  <a:gd name="connsiteX11" fmla="*/ 1388297 w 1409700"/>
                  <a:gd name="connsiteY11" fmla="*/ 120867 h 304800"/>
                  <a:gd name="connsiteX12" fmla="*/ 1240564 w 1409700"/>
                  <a:gd name="connsiteY12" fmla="*/ 235167 h 304800"/>
                  <a:gd name="connsiteX13" fmla="*/ 1213418 w 1409700"/>
                  <a:gd name="connsiteY13" fmla="*/ 242596 h 304800"/>
                  <a:gd name="connsiteX14" fmla="*/ 984342 w 1409700"/>
                  <a:gd name="connsiteY14" fmla="*/ 278220 h 304800"/>
                  <a:gd name="connsiteX15" fmla="*/ 748598 w 1409700"/>
                  <a:gd name="connsiteY15" fmla="*/ 298603 h 304800"/>
                  <a:gd name="connsiteX16" fmla="*/ 486946 w 1409700"/>
                  <a:gd name="connsiteY16" fmla="*/ 303271 h 304800"/>
                  <a:gd name="connsiteX17" fmla="*/ 243201 w 1409700"/>
                  <a:gd name="connsiteY17" fmla="*/ 283744 h 304800"/>
                  <a:gd name="connsiteX18" fmla="*/ 79467 w 1409700"/>
                  <a:gd name="connsiteY18" fmla="*/ 240120 h 304800"/>
                  <a:gd name="connsiteX19" fmla="*/ 26984 w 1409700"/>
                  <a:gd name="connsiteY19" fmla="*/ 205354 h 304800"/>
                  <a:gd name="connsiteX20" fmla="*/ 19745 w 1409700"/>
                  <a:gd name="connsiteY20" fmla="*/ 120676 h 304800"/>
                  <a:gd name="connsiteX21" fmla="*/ 70799 w 1409700"/>
                  <a:gd name="connsiteY21" fmla="*/ 78671 h 304800"/>
                  <a:gd name="connsiteX22" fmla="*/ 195386 w 1409700"/>
                  <a:gd name="connsiteY22" fmla="*/ 37428 h 304800"/>
                  <a:gd name="connsiteX23" fmla="*/ 419223 w 1409700"/>
                  <a:gd name="connsiteY23" fmla="*/ 10377 h 304800"/>
                  <a:gd name="connsiteX24" fmla="*/ 550097 w 1409700"/>
                  <a:gd name="connsiteY24" fmla="*/ 7996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09700" h="304800">
                    <a:moveTo>
                      <a:pt x="550097" y="7996"/>
                    </a:moveTo>
                    <a:cubicBezTo>
                      <a:pt x="539143" y="10948"/>
                      <a:pt x="528094" y="13710"/>
                      <a:pt x="517140" y="16854"/>
                    </a:cubicBezTo>
                    <a:cubicBezTo>
                      <a:pt x="462498" y="30751"/>
                      <a:pt x="409325" y="49896"/>
                      <a:pt x="358359" y="74004"/>
                    </a:cubicBezTo>
                    <a:cubicBezTo>
                      <a:pt x="343325" y="80605"/>
                      <a:pt x="329708" y="90053"/>
                      <a:pt x="318258" y="101817"/>
                    </a:cubicBezTo>
                    <a:cubicBezTo>
                      <a:pt x="300351" y="122010"/>
                      <a:pt x="307400" y="130392"/>
                      <a:pt x="325497" y="136774"/>
                    </a:cubicBezTo>
                    <a:cubicBezTo>
                      <a:pt x="347469" y="144232"/>
                      <a:pt x="370281" y="148937"/>
                      <a:pt x="393411" y="150775"/>
                    </a:cubicBezTo>
                    <a:cubicBezTo>
                      <a:pt x="531142" y="165920"/>
                      <a:pt x="669636" y="163348"/>
                      <a:pt x="807558" y="160300"/>
                    </a:cubicBezTo>
                    <a:cubicBezTo>
                      <a:pt x="885853" y="158300"/>
                      <a:pt x="964053" y="153918"/>
                      <a:pt x="1042158" y="148204"/>
                    </a:cubicBezTo>
                    <a:cubicBezTo>
                      <a:pt x="1117025" y="142774"/>
                      <a:pt x="1191606" y="135631"/>
                      <a:pt x="1265996" y="126010"/>
                    </a:cubicBezTo>
                    <a:cubicBezTo>
                      <a:pt x="1312002" y="120010"/>
                      <a:pt x="1357817" y="113056"/>
                      <a:pt x="1403156" y="103246"/>
                    </a:cubicBezTo>
                    <a:lnTo>
                      <a:pt x="1407347" y="103246"/>
                    </a:lnTo>
                    <a:cubicBezTo>
                      <a:pt x="1401651" y="109789"/>
                      <a:pt x="1395260" y="115695"/>
                      <a:pt x="1388297" y="120867"/>
                    </a:cubicBezTo>
                    <a:cubicBezTo>
                      <a:pt x="1340672" y="160776"/>
                      <a:pt x="1290475" y="197638"/>
                      <a:pt x="1240564" y="235167"/>
                    </a:cubicBezTo>
                    <a:cubicBezTo>
                      <a:pt x="1232201" y="239691"/>
                      <a:pt x="1222914" y="242234"/>
                      <a:pt x="1213418" y="242596"/>
                    </a:cubicBezTo>
                    <a:cubicBezTo>
                      <a:pt x="1137218" y="257455"/>
                      <a:pt x="1061018" y="269171"/>
                      <a:pt x="984342" y="278220"/>
                    </a:cubicBezTo>
                    <a:cubicBezTo>
                      <a:pt x="906046" y="287430"/>
                      <a:pt x="827465" y="294222"/>
                      <a:pt x="748598" y="298603"/>
                    </a:cubicBezTo>
                    <a:cubicBezTo>
                      <a:pt x="661476" y="303556"/>
                      <a:pt x="574259" y="305109"/>
                      <a:pt x="486946" y="303271"/>
                    </a:cubicBezTo>
                    <a:cubicBezTo>
                      <a:pt x="405353" y="302204"/>
                      <a:pt x="323924" y="295679"/>
                      <a:pt x="243201" y="283744"/>
                    </a:cubicBezTo>
                    <a:cubicBezTo>
                      <a:pt x="187099" y="274981"/>
                      <a:pt x="131568" y="263647"/>
                      <a:pt x="79467" y="240120"/>
                    </a:cubicBezTo>
                    <a:cubicBezTo>
                      <a:pt x="59877" y="232052"/>
                      <a:pt x="42050" y="220241"/>
                      <a:pt x="26984" y="205354"/>
                    </a:cubicBezTo>
                    <a:cubicBezTo>
                      <a:pt x="3600" y="182970"/>
                      <a:pt x="500" y="146699"/>
                      <a:pt x="19745" y="120676"/>
                    </a:cubicBezTo>
                    <a:cubicBezTo>
                      <a:pt x="32967" y="102607"/>
                      <a:pt x="50525" y="88167"/>
                      <a:pt x="70799" y="78671"/>
                    </a:cubicBezTo>
                    <a:cubicBezTo>
                      <a:pt x="110178" y="59126"/>
                      <a:pt x="152121" y="45238"/>
                      <a:pt x="195386" y="37428"/>
                    </a:cubicBezTo>
                    <a:cubicBezTo>
                      <a:pt x="269213" y="22797"/>
                      <a:pt x="344037" y="13758"/>
                      <a:pt x="419223" y="10377"/>
                    </a:cubicBezTo>
                    <a:cubicBezTo>
                      <a:pt x="462768" y="7119"/>
                      <a:pt x="506463" y="6319"/>
                      <a:pt x="550097" y="799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BC67DD08-C9B2-4AEC-B774-FE1E8BCFD13A}"/>
                  </a:ext>
                </a:extLst>
              </p:cNvPr>
              <p:cNvSpPr/>
              <p:nvPr/>
            </p:nvSpPr>
            <p:spPr>
              <a:xfrm>
                <a:off x="8867521" y="2504408"/>
                <a:ext cx="628650" cy="1038225"/>
              </a:xfrm>
              <a:custGeom>
                <a:avLst/>
                <a:gdLst>
                  <a:gd name="connsiteX0" fmla="*/ 69119 w 628650"/>
                  <a:gd name="connsiteY0" fmla="*/ 1034129 h 1038225"/>
                  <a:gd name="connsiteX1" fmla="*/ 115982 w 628650"/>
                  <a:gd name="connsiteY1" fmla="*/ 983075 h 1038225"/>
                  <a:gd name="connsiteX2" fmla="*/ 167988 w 628650"/>
                  <a:gd name="connsiteY2" fmla="*/ 874109 h 1038225"/>
                  <a:gd name="connsiteX3" fmla="*/ 152082 w 628650"/>
                  <a:gd name="connsiteY3" fmla="*/ 773716 h 1038225"/>
                  <a:gd name="connsiteX4" fmla="*/ 85407 w 628650"/>
                  <a:gd name="connsiteY4" fmla="*/ 666464 h 1038225"/>
                  <a:gd name="connsiteX5" fmla="*/ 21113 w 628650"/>
                  <a:gd name="connsiteY5" fmla="*/ 547878 h 1038225"/>
                  <a:gd name="connsiteX6" fmla="*/ 18255 w 628650"/>
                  <a:gd name="connsiteY6" fmla="*/ 379190 h 1038225"/>
                  <a:gd name="connsiteX7" fmla="*/ 161130 w 628650"/>
                  <a:gd name="connsiteY7" fmla="*/ 170402 h 1038225"/>
                  <a:gd name="connsiteX8" fmla="*/ 399255 w 628650"/>
                  <a:gd name="connsiteY8" fmla="*/ 52769 h 1038225"/>
                  <a:gd name="connsiteX9" fmla="*/ 614616 w 628650"/>
                  <a:gd name="connsiteY9" fmla="*/ 8287 h 1038225"/>
                  <a:gd name="connsiteX10" fmla="*/ 630713 w 628650"/>
                  <a:gd name="connsiteY10" fmla="*/ 7144 h 1038225"/>
                  <a:gd name="connsiteX11" fmla="*/ 621188 w 628650"/>
                  <a:gd name="connsiteY11" fmla="*/ 14573 h 1038225"/>
                  <a:gd name="connsiteX12" fmla="*/ 368585 w 628650"/>
                  <a:gd name="connsiteY12" fmla="*/ 199168 h 1038225"/>
                  <a:gd name="connsiteX13" fmla="*/ 241998 w 628650"/>
                  <a:gd name="connsiteY13" fmla="*/ 328422 h 1038225"/>
                  <a:gd name="connsiteX14" fmla="*/ 209613 w 628650"/>
                  <a:gd name="connsiteY14" fmla="*/ 402527 h 1038225"/>
                  <a:gd name="connsiteX15" fmla="*/ 225138 w 628650"/>
                  <a:gd name="connsiteY15" fmla="*/ 493014 h 1038225"/>
                  <a:gd name="connsiteX16" fmla="*/ 282288 w 628650"/>
                  <a:gd name="connsiteY16" fmla="*/ 605409 h 1038225"/>
                  <a:gd name="connsiteX17" fmla="*/ 328866 w 628650"/>
                  <a:gd name="connsiteY17" fmla="*/ 719804 h 1038225"/>
                  <a:gd name="connsiteX18" fmla="*/ 295528 w 628650"/>
                  <a:gd name="connsiteY18" fmla="*/ 887540 h 1038225"/>
                  <a:gd name="connsiteX19" fmla="*/ 152653 w 628650"/>
                  <a:gd name="connsiteY19" fmla="*/ 1006316 h 1038225"/>
                  <a:gd name="connsiteX20" fmla="*/ 78263 w 628650"/>
                  <a:gd name="connsiteY20" fmla="*/ 1032891 h 1038225"/>
                  <a:gd name="connsiteX21" fmla="*/ 68738 w 628650"/>
                  <a:gd name="connsiteY21" fmla="*/ 1033748 h 103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28650" h="1038225">
                    <a:moveTo>
                      <a:pt x="69119" y="1034129"/>
                    </a:moveTo>
                    <a:cubicBezTo>
                      <a:pt x="84835" y="1017175"/>
                      <a:pt x="101885" y="1001554"/>
                      <a:pt x="115982" y="983075"/>
                    </a:cubicBezTo>
                    <a:cubicBezTo>
                      <a:pt x="142099" y="951643"/>
                      <a:pt x="159978" y="914191"/>
                      <a:pt x="167988" y="874109"/>
                    </a:cubicBezTo>
                    <a:cubicBezTo>
                      <a:pt x="173199" y="839800"/>
                      <a:pt x="167636" y="804729"/>
                      <a:pt x="152082" y="773716"/>
                    </a:cubicBezTo>
                    <a:cubicBezTo>
                      <a:pt x="134270" y="735140"/>
                      <a:pt x="108933" y="701326"/>
                      <a:pt x="85407" y="666464"/>
                    </a:cubicBezTo>
                    <a:cubicBezTo>
                      <a:pt x="58860" y="629926"/>
                      <a:pt x="37248" y="590055"/>
                      <a:pt x="21113" y="547878"/>
                    </a:cubicBezTo>
                    <a:cubicBezTo>
                      <a:pt x="2063" y="491966"/>
                      <a:pt x="3873" y="435673"/>
                      <a:pt x="18255" y="379190"/>
                    </a:cubicBezTo>
                    <a:cubicBezTo>
                      <a:pt x="40353" y="292322"/>
                      <a:pt x="90931" y="224695"/>
                      <a:pt x="161130" y="170402"/>
                    </a:cubicBezTo>
                    <a:cubicBezTo>
                      <a:pt x="231330" y="116110"/>
                      <a:pt x="313530" y="79343"/>
                      <a:pt x="399255" y="52769"/>
                    </a:cubicBezTo>
                    <a:cubicBezTo>
                      <a:pt x="469502" y="31259"/>
                      <a:pt x="541597" y="16367"/>
                      <a:pt x="614616" y="8287"/>
                    </a:cubicBezTo>
                    <a:cubicBezTo>
                      <a:pt x="619569" y="7715"/>
                      <a:pt x="624617" y="7620"/>
                      <a:pt x="630713" y="7144"/>
                    </a:cubicBezTo>
                    <a:cubicBezTo>
                      <a:pt x="628208" y="10380"/>
                      <a:pt x="624931" y="12935"/>
                      <a:pt x="621188" y="14573"/>
                    </a:cubicBezTo>
                    <a:cubicBezTo>
                      <a:pt x="533158" y="70682"/>
                      <a:pt x="448785" y="132338"/>
                      <a:pt x="368585" y="199168"/>
                    </a:cubicBezTo>
                    <a:cubicBezTo>
                      <a:pt x="321236" y="236881"/>
                      <a:pt x="278717" y="280294"/>
                      <a:pt x="241998" y="328422"/>
                    </a:cubicBezTo>
                    <a:cubicBezTo>
                      <a:pt x="224614" y="349686"/>
                      <a:pt x="213404" y="375322"/>
                      <a:pt x="209613" y="402527"/>
                    </a:cubicBezTo>
                    <a:cubicBezTo>
                      <a:pt x="207565" y="433492"/>
                      <a:pt x="212880" y="464503"/>
                      <a:pt x="225138" y="493014"/>
                    </a:cubicBezTo>
                    <a:cubicBezTo>
                      <a:pt x="240569" y="532352"/>
                      <a:pt x="262572" y="568261"/>
                      <a:pt x="282288" y="605409"/>
                    </a:cubicBezTo>
                    <a:cubicBezTo>
                      <a:pt x="303224" y="641109"/>
                      <a:pt x="318912" y="679637"/>
                      <a:pt x="328866" y="719804"/>
                    </a:cubicBezTo>
                    <a:cubicBezTo>
                      <a:pt x="340696" y="777926"/>
                      <a:pt x="328685" y="838362"/>
                      <a:pt x="295528" y="887540"/>
                    </a:cubicBezTo>
                    <a:cubicBezTo>
                      <a:pt x="260857" y="942308"/>
                      <a:pt x="210946" y="979361"/>
                      <a:pt x="152653" y="1006316"/>
                    </a:cubicBezTo>
                    <a:cubicBezTo>
                      <a:pt x="128793" y="1017594"/>
                      <a:pt x="103876" y="1026500"/>
                      <a:pt x="78263" y="1032891"/>
                    </a:cubicBezTo>
                    <a:cubicBezTo>
                      <a:pt x="75310" y="1033653"/>
                      <a:pt x="72262" y="1035558"/>
                      <a:pt x="68738" y="10337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03485908-7B3D-4DCE-A6BB-96DB87B681D6}"/>
                  </a:ext>
                </a:extLst>
              </p:cNvPr>
              <p:cNvSpPr/>
              <p:nvPr/>
            </p:nvSpPr>
            <p:spPr>
              <a:xfrm>
                <a:off x="8214219" y="3737217"/>
                <a:ext cx="1104900" cy="285750"/>
              </a:xfrm>
              <a:custGeom>
                <a:avLst/>
                <a:gdLst>
                  <a:gd name="connsiteX0" fmla="*/ 1107040 w 1104900"/>
                  <a:gd name="connsiteY0" fmla="*/ 179368 h 285750"/>
                  <a:gd name="connsiteX1" fmla="*/ 973690 w 1104900"/>
                  <a:gd name="connsiteY1" fmla="*/ 224992 h 285750"/>
                  <a:gd name="connsiteX2" fmla="*/ 760140 w 1104900"/>
                  <a:gd name="connsiteY2" fmla="*/ 269188 h 285750"/>
                  <a:gd name="connsiteX3" fmla="*/ 442005 w 1104900"/>
                  <a:gd name="connsiteY3" fmla="*/ 283571 h 285750"/>
                  <a:gd name="connsiteX4" fmla="*/ 144158 w 1104900"/>
                  <a:gd name="connsiteY4" fmla="*/ 237470 h 285750"/>
                  <a:gd name="connsiteX5" fmla="*/ 44812 w 1104900"/>
                  <a:gd name="connsiteY5" fmla="*/ 192703 h 285750"/>
                  <a:gd name="connsiteX6" fmla="*/ 9475 w 1104900"/>
                  <a:gd name="connsiteY6" fmla="*/ 151459 h 285750"/>
                  <a:gd name="connsiteX7" fmla="*/ 20809 w 1104900"/>
                  <a:gd name="connsiteY7" fmla="*/ 100310 h 285750"/>
                  <a:gd name="connsiteX8" fmla="*/ 85389 w 1104900"/>
                  <a:gd name="connsiteY8" fmla="*/ 45351 h 285750"/>
                  <a:gd name="connsiteX9" fmla="*/ 199689 w 1104900"/>
                  <a:gd name="connsiteY9" fmla="*/ 7251 h 285750"/>
                  <a:gd name="connsiteX10" fmla="*/ 205975 w 1104900"/>
                  <a:gd name="connsiteY10" fmla="*/ 7251 h 285750"/>
                  <a:gd name="connsiteX11" fmla="*/ 216262 w 1104900"/>
                  <a:gd name="connsiteY11" fmla="*/ 7251 h 285750"/>
                  <a:gd name="connsiteX12" fmla="*/ 200356 w 1104900"/>
                  <a:gd name="connsiteY12" fmla="*/ 23634 h 285750"/>
                  <a:gd name="connsiteX13" fmla="*/ 208928 w 1104900"/>
                  <a:gd name="connsiteY13" fmla="*/ 89642 h 285750"/>
                  <a:gd name="connsiteX14" fmla="*/ 281413 w 1104900"/>
                  <a:gd name="connsiteY14" fmla="*/ 118217 h 285750"/>
                  <a:gd name="connsiteX15" fmla="*/ 439243 w 1104900"/>
                  <a:gd name="connsiteY15" fmla="*/ 137362 h 285750"/>
                  <a:gd name="connsiteX16" fmla="*/ 643649 w 1104900"/>
                  <a:gd name="connsiteY16" fmla="*/ 133553 h 285750"/>
                  <a:gd name="connsiteX17" fmla="*/ 938924 w 1104900"/>
                  <a:gd name="connsiteY17" fmla="*/ 79450 h 285750"/>
                  <a:gd name="connsiteX18" fmla="*/ 949687 w 1104900"/>
                  <a:gd name="connsiteY18" fmla="*/ 80403 h 285750"/>
                  <a:gd name="connsiteX19" fmla="*/ 1103421 w 1104900"/>
                  <a:gd name="connsiteY19" fmla="*/ 176701 h 285750"/>
                  <a:gd name="connsiteX20" fmla="*/ 1107040 w 1104900"/>
                  <a:gd name="connsiteY20" fmla="*/ 179368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900" h="285750">
                    <a:moveTo>
                      <a:pt x="1107040" y="179368"/>
                    </a:moveTo>
                    <a:cubicBezTo>
                      <a:pt x="1063445" y="196970"/>
                      <a:pt x="1018934" y="212200"/>
                      <a:pt x="973690" y="224992"/>
                    </a:cubicBezTo>
                    <a:cubicBezTo>
                      <a:pt x="903653" y="244795"/>
                      <a:pt x="832282" y="259559"/>
                      <a:pt x="760140" y="269188"/>
                    </a:cubicBezTo>
                    <a:cubicBezTo>
                      <a:pt x="654755" y="283638"/>
                      <a:pt x="548267" y="288458"/>
                      <a:pt x="442005" y="283571"/>
                    </a:cubicBezTo>
                    <a:cubicBezTo>
                      <a:pt x="341230" y="278618"/>
                      <a:pt x="241218" y="267188"/>
                      <a:pt x="144158" y="237470"/>
                    </a:cubicBezTo>
                    <a:cubicBezTo>
                      <a:pt x="108922" y="227793"/>
                      <a:pt x="75407" y="212686"/>
                      <a:pt x="44812" y="192703"/>
                    </a:cubicBezTo>
                    <a:cubicBezTo>
                      <a:pt x="28744" y="183302"/>
                      <a:pt x="16299" y="168776"/>
                      <a:pt x="9475" y="151459"/>
                    </a:cubicBezTo>
                    <a:cubicBezTo>
                      <a:pt x="3283" y="132409"/>
                      <a:pt x="10237" y="115741"/>
                      <a:pt x="20809" y="100310"/>
                    </a:cubicBezTo>
                    <a:cubicBezTo>
                      <a:pt x="37848" y="77288"/>
                      <a:pt x="59941" y="58486"/>
                      <a:pt x="85389" y="45351"/>
                    </a:cubicBezTo>
                    <a:cubicBezTo>
                      <a:pt x="120536" y="25091"/>
                      <a:pt x="159412" y="12128"/>
                      <a:pt x="199689" y="7251"/>
                    </a:cubicBezTo>
                    <a:cubicBezTo>
                      <a:pt x="201782" y="7108"/>
                      <a:pt x="203883" y="7108"/>
                      <a:pt x="205975" y="7251"/>
                    </a:cubicBezTo>
                    <a:lnTo>
                      <a:pt x="216262" y="7251"/>
                    </a:lnTo>
                    <a:cubicBezTo>
                      <a:pt x="210452" y="13252"/>
                      <a:pt x="205023" y="18109"/>
                      <a:pt x="200356" y="23634"/>
                    </a:cubicBezTo>
                    <a:cubicBezTo>
                      <a:pt x="178829" y="48494"/>
                      <a:pt x="181306" y="71259"/>
                      <a:pt x="208928" y="89642"/>
                    </a:cubicBezTo>
                    <a:cubicBezTo>
                      <a:pt x="231140" y="103520"/>
                      <a:pt x="255708" y="113207"/>
                      <a:pt x="281413" y="118217"/>
                    </a:cubicBezTo>
                    <a:cubicBezTo>
                      <a:pt x="333326" y="129419"/>
                      <a:pt x="386158" y="135829"/>
                      <a:pt x="439243" y="137362"/>
                    </a:cubicBezTo>
                    <a:cubicBezTo>
                      <a:pt x="507387" y="140620"/>
                      <a:pt x="575669" y="139344"/>
                      <a:pt x="643649" y="133553"/>
                    </a:cubicBezTo>
                    <a:cubicBezTo>
                      <a:pt x="743805" y="126790"/>
                      <a:pt x="842874" y="108635"/>
                      <a:pt x="938924" y="79450"/>
                    </a:cubicBezTo>
                    <a:cubicBezTo>
                      <a:pt x="942439" y="77926"/>
                      <a:pt x="946487" y="78288"/>
                      <a:pt x="949687" y="80403"/>
                    </a:cubicBezTo>
                    <a:lnTo>
                      <a:pt x="1103421" y="176701"/>
                    </a:lnTo>
                    <a:cubicBezTo>
                      <a:pt x="1104850" y="177272"/>
                      <a:pt x="1105993" y="178225"/>
                      <a:pt x="1107040" y="17936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A7C4A338-3DC4-4C15-9D93-FA37A1228D1E}"/>
                  </a:ext>
                </a:extLst>
              </p:cNvPr>
              <p:cNvSpPr/>
              <p:nvPr/>
            </p:nvSpPr>
            <p:spPr>
              <a:xfrm>
                <a:off x="8312390" y="4031393"/>
                <a:ext cx="971550" cy="276225"/>
              </a:xfrm>
              <a:custGeom>
                <a:avLst/>
                <a:gdLst>
                  <a:gd name="connsiteX0" fmla="*/ 196387 w 971550"/>
                  <a:gd name="connsiteY0" fmla="*/ 7207 h 276225"/>
                  <a:gd name="connsiteX1" fmla="*/ 180766 w 971550"/>
                  <a:gd name="connsiteY1" fmla="*/ 33972 h 276225"/>
                  <a:gd name="connsiteX2" fmla="*/ 193910 w 971550"/>
                  <a:gd name="connsiteY2" fmla="*/ 67500 h 276225"/>
                  <a:gd name="connsiteX3" fmla="*/ 256394 w 971550"/>
                  <a:gd name="connsiteY3" fmla="*/ 91598 h 276225"/>
                  <a:gd name="connsiteX4" fmla="*/ 436131 w 971550"/>
                  <a:gd name="connsiteY4" fmla="*/ 101123 h 276225"/>
                  <a:gd name="connsiteX5" fmla="*/ 593294 w 971550"/>
                  <a:gd name="connsiteY5" fmla="*/ 85788 h 276225"/>
                  <a:gd name="connsiteX6" fmla="*/ 786842 w 971550"/>
                  <a:gd name="connsiteY6" fmla="*/ 36068 h 276225"/>
                  <a:gd name="connsiteX7" fmla="*/ 797510 w 971550"/>
                  <a:gd name="connsiteY7" fmla="*/ 36068 h 276225"/>
                  <a:gd name="connsiteX8" fmla="*/ 962959 w 971550"/>
                  <a:gd name="connsiteY8" fmla="*/ 146653 h 276225"/>
                  <a:gd name="connsiteX9" fmla="*/ 964864 w 971550"/>
                  <a:gd name="connsiteY9" fmla="*/ 149034 h 276225"/>
                  <a:gd name="connsiteX10" fmla="*/ 938194 w 971550"/>
                  <a:gd name="connsiteY10" fmla="*/ 164084 h 276225"/>
                  <a:gd name="connsiteX11" fmla="*/ 741122 w 971550"/>
                  <a:gd name="connsiteY11" fmla="*/ 234378 h 276225"/>
                  <a:gd name="connsiteX12" fmla="*/ 538525 w 971550"/>
                  <a:gd name="connsiteY12" fmla="*/ 264572 h 276225"/>
                  <a:gd name="connsiteX13" fmla="*/ 328975 w 971550"/>
                  <a:gd name="connsiteY13" fmla="*/ 267049 h 276225"/>
                  <a:gd name="connsiteX14" fmla="*/ 150572 w 971550"/>
                  <a:gd name="connsiteY14" fmla="*/ 241617 h 276225"/>
                  <a:gd name="connsiteX15" fmla="*/ 47035 w 971550"/>
                  <a:gd name="connsiteY15" fmla="*/ 198469 h 276225"/>
                  <a:gd name="connsiteX16" fmla="*/ 8935 w 971550"/>
                  <a:gd name="connsiteY16" fmla="*/ 149320 h 276225"/>
                  <a:gd name="connsiteX17" fmla="*/ 29795 w 971550"/>
                  <a:gd name="connsiteY17" fmla="*/ 79311 h 276225"/>
                  <a:gd name="connsiteX18" fmla="*/ 149524 w 971550"/>
                  <a:gd name="connsiteY18" fmla="*/ 11207 h 276225"/>
                  <a:gd name="connsiteX19" fmla="*/ 196387 w 971550"/>
                  <a:gd name="connsiteY19" fmla="*/ 7207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71550" h="276225">
                    <a:moveTo>
                      <a:pt x="196387" y="7207"/>
                    </a:moveTo>
                    <a:cubicBezTo>
                      <a:pt x="189254" y="14855"/>
                      <a:pt x="183917" y="24000"/>
                      <a:pt x="180766" y="33972"/>
                    </a:cubicBezTo>
                    <a:cubicBezTo>
                      <a:pt x="177434" y="46812"/>
                      <a:pt x="182739" y="60347"/>
                      <a:pt x="193910" y="67500"/>
                    </a:cubicBezTo>
                    <a:cubicBezTo>
                      <a:pt x="212535" y="80368"/>
                      <a:pt x="233952" y="88627"/>
                      <a:pt x="256394" y="91598"/>
                    </a:cubicBezTo>
                    <a:cubicBezTo>
                      <a:pt x="315742" y="101666"/>
                      <a:pt x="376052" y="104867"/>
                      <a:pt x="436131" y="101123"/>
                    </a:cubicBezTo>
                    <a:cubicBezTo>
                      <a:pt x="488776" y="99114"/>
                      <a:pt x="541249" y="93989"/>
                      <a:pt x="593294" y="85788"/>
                    </a:cubicBezTo>
                    <a:cubicBezTo>
                      <a:pt x="659531" y="76844"/>
                      <a:pt x="724491" y="60156"/>
                      <a:pt x="786842" y="36068"/>
                    </a:cubicBezTo>
                    <a:cubicBezTo>
                      <a:pt x="790061" y="33886"/>
                      <a:pt x="794290" y="33886"/>
                      <a:pt x="797510" y="36068"/>
                    </a:cubicBezTo>
                    <a:cubicBezTo>
                      <a:pt x="852564" y="73025"/>
                      <a:pt x="907714" y="109886"/>
                      <a:pt x="962959" y="146653"/>
                    </a:cubicBezTo>
                    <a:cubicBezTo>
                      <a:pt x="963435" y="146653"/>
                      <a:pt x="963721" y="147510"/>
                      <a:pt x="964864" y="149034"/>
                    </a:cubicBezTo>
                    <a:cubicBezTo>
                      <a:pt x="955910" y="154178"/>
                      <a:pt x="947147" y="159321"/>
                      <a:pt x="938194" y="164084"/>
                    </a:cubicBezTo>
                    <a:cubicBezTo>
                      <a:pt x="875881" y="196078"/>
                      <a:pt x="809616" y="219710"/>
                      <a:pt x="741122" y="234378"/>
                    </a:cubicBezTo>
                    <a:cubicBezTo>
                      <a:pt x="674437" y="249475"/>
                      <a:pt x="606714" y="259572"/>
                      <a:pt x="538525" y="264572"/>
                    </a:cubicBezTo>
                    <a:cubicBezTo>
                      <a:pt x="468811" y="270192"/>
                      <a:pt x="398799" y="271021"/>
                      <a:pt x="328975" y="267049"/>
                    </a:cubicBezTo>
                    <a:cubicBezTo>
                      <a:pt x="268823" y="264382"/>
                      <a:pt x="209073" y="255867"/>
                      <a:pt x="150572" y="241617"/>
                    </a:cubicBezTo>
                    <a:cubicBezTo>
                      <a:pt x="113726" y="233645"/>
                      <a:pt x="78641" y="219024"/>
                      <a:pt x="47035" y="198469"/>
                    </a:cubicBezTo>
                    <a:cubicBezTo>
                      <a:pt x="28509" y="187572"/>
                      <a:pt x="14872" y="169980"/>
                      <a:pt x="8935" y="149320"/>
                    </a:cubicBezTo>
                    <a:cubicBezTo>
                      <a:pt x="2648" y="122174"/>
                      <a:pt x="13697" y="99599"/>
                      <a:pt x="29795" y="79311"/>
                    </a:cubicBezTo>
                    <a:cubicBezTo>
                      <a:pt x="60560" y="41211"/>
                      <a:pt x="102185" y="20828"/>
                      <a:pt x="149524" y="11207"/>
                    </a:cubicBezTo>
                    <a:cubicBezTo>
                      <a:pt x="164953" y="8169"/>
                      <a:pt x="180667" y="6826"/>
                      <a:pt x="196387" y="720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5E32DE09-D79B-47FD-A188-E5ED5F1449DD}"/>
                  </a:ext>
                </a:extLst>
              </p:cNvPr>
              <p:cNvSpPr/>
              <p:nvPr/>
            </p:nvSpPr>
            <p:spPr>
              <a:xfrm>
                <a:off x="8164925" y="4444555"/>
                <a:ext cx="1771650" cy="390525"/>
              </a:xfrm>
              <a:custGeom>
                <a:avLst/>
                <a:gdLst>
                  <a:gd name="connsiteX0" fmla="*/ 1772984 w 1771650"/>
                  <a:gd name="connsiteY0" fmla="*/ 7144 h 390525"/>
                  <a:gd name="connsiteX1" fmla="*/ 1757077 w 1771650"/>
                  <a:gd name="connsiteY1" fmla="*/ 80486 h 390525"/>
                  <a:gd name="connsiteX2" fmla="*/ 1669637 w 1771650"/>
                  <a:gd name="connsiteY2" fmla="*/ 186976 h 390525"/>
                  <a:gd name="connsiteX3" fmla="*/ 1467993 w 1771650"/>
                  <a:gd name="connsiteY3" fmla="*/ 293084 h 390525"/>
                  <a:gd name="connsiteX4" fmla="*/ 1209294 w 1771650"/>
                  <a:gd name="connsiteY4" fmla="*/ 358140 h 390525"/>
                  <a:gd name="connsiteX5" fmla="*/ 775811 w 1771650"/>
                  <a:gd name="connsiteY5" fmla="*/ 384334 h 390525"/>
                  <a:gd name="connsiteX6" fmla="*/ 434245 w 1771650"/>
                  <a:gd name="connsiteY6" fmla="*/ 348425 h 390525"/>
                  <a:gd name="connsiteX7" fmla="*/ 8763 w 1771650"/>
                  <a:gd name="connsiteY7" fmla="*/ 225647 h 390525"/>
                  <a:gd name="connsiteX8" fmla="*/ 7144 w 1771650"/>
                  <a:gd name="connsiteY8" fmla="*/ 224980 h 390525"/>
                  <a:gd name="connsiteX9" fmla="*/ 14002 w 1771650"/>
                  <a:gd name="connsiteY9" fmla="*/ 224314 h 390525"/>
                  <a:gd name="connsiteX10" fmla="*/ 21812 w 1771650"/>
                  <a:gd name="connsiteY10" fmla="*/ 226123 h 390525"/>
                  <a:gd name="connsiteX11" fmla="*/ 314611 w 1771650"/>
                  <a:gd name="connsiteY11" fmla="*/ 279654 h 390525"/>
                  <a:gd name="connsiteX12" fmla="*/ 571786 w 1771650"/>
                  <a:gd name="connsiteY12" fmla="*/ 303943 h 390525"/>
                  <a:gd name="connsiteX13" fmla="*/ 815721 w 1771650"/>
                  <a:gd name="connsiteY13" fmla="*/ 306705 h 390525"/>
                  <a:gd name="connsiteX14" fmla="*/ 995744 w 1771650"/>
                  <a:gd name="connsiteY14" fmla="*/ 295180 h 390525"/>
                  <a:gd name="connsiteX15" fmla="*/ 1504569 w 1771650"/>
                  <a:gd name="connsiteY15" fmla="*/ 175831 h 390525"/>
                  <a:gd name="connsiteX16" fmla="*/ 1728692 w 1771650"/>
                  <a:gd name="connsiteY16" fmla="*/ 46482 h 390525"/>
                  <a:gd name="connsiteX17" fmla="*/ 1772984 w 1771650"/>
                  <a:gd name="connsiteY17" fmla="*/ 7144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71650" h="390525">
                    <a:moveTo>
                      <a:pt x="1772984" y="7144"/>
                    </a:moveTo>
                    <a:cubicBezTo>
                      <a:pt x="1773126" y="32461"/>
                      <a:pt x="1767697" y="57503"/>
                      <a:pt x="1757077" y="80486"/>
                    </a:cubicBezTo>
                    <a:cubicBezTo>
                      <a:pt x="1737131" y="122634"/>
                      <a:pt x="1707099" y="159210"/>
                      <a:pt x="1669637" y="186976"/>
                    </a:cubicBezTo>
                    <a:cubicBezTo>
                      <a:pt x="1609154" y="234601"/>
                      <a:pt x="1540097" y="267081"/>
                      <a:pt x="1467993" y="293084"/>
                    </a:cubicBezTo>
                    <a:cubicBezTo>
                      <a:pt x="1383944" y="322688"/>
                      <a:pt x="1297343" y="344462"/>
                      <a:pt x="1209294" y="358140"/>
                    </a:cubicBezTo>
                    <a:cubicBezTo>
                      <a:pt x="1066009" y="381038"/>
                      <a:pt x="920810" y="389811"/>
                      <a:pt x="775811" y="384334"/>
                    </a:cubicBezTo>
                    <a:cubicBezTo>
                      <a:pt x="661235" y="380667"/>
                      <a:pt x="547079" y="368665"/>
                      <a:pt x="434245" y="348425"/>
                    </a:cubicBezTo>
                    <a:cubicBezTo>
                      <a:pt x="288396" y="323002"/>
                      <a:pt x="145735" y="281835"/>
                      <a:pt x="8763" y="225647"/>
                    </a:cubicBezTo>
                    <a:lnTo>
                      <a:pt x="7144" y="224980"/>
                    </a:lnTo>
                    <a:cubicBezTo>
                      <a:pt x="9334" y="222599"/>
                      <a:pt x="11811" y="224028"/>
                      <a:pt x="14002" y="224314"/>
                    </a:cubicBezTo>
                    <a:cubicBezTo>
                      <a:pt x="16193" y="224600"/>
                      <a:pt x="19241" y="225552"/>
                      <a:pt x="21812" y="226123"/>
                    </a:cubicBezTo>
                    <a:cubicBezTo>
                      <a:pt x="118586" y="248603"/>
                      <a:pt x="216122" y="266224"/>
                      <a:pt x="314611" y="279654"/>
                    </a:cubicBezTo>
                    <a:cubicBezTo>
                      <a:pt x="399828" y="291275"/>
                      <a:pt x="485553" y="299371"/>
                      <a:pt x="571786" y="303943"/>
                    </a:cubicBezTo>
                    <a:cubicBezTo>
                      <a:pt x="653063" y="308258"/>
                      <a:pt x="734378" y="309181"/>
                      <a:pt x="815721" y="306705"/>
                    </a:cubicBezTo>
                    <a:cubicBezTo>
                      <a:pt x="875824" y="304705"/>
                      <a:pt x="935927" y="301371"/>
                      <a:pt x="995744" y="295180"/>
                    </a:cubicBezTo>
                    <a:cubicBezTo>
                      <a:pt x="1170337" y="276796"/>
                      <a:pt x="1341406" y="243269"/>
                      <a:pt x="1504569" y="175831"/>
                    </a:cubicBezTo>
                    <a:cubicBezTo>
                      <a:pt x="1585103" y="143713"/>
                      <a:pt x="1660589" y="100146"/>
                      <a:pt x="1728692" y="46482"/>
                    </a:cubicBezTo>
                    <a:cubicBezTo>
                      <a:pt x="1744161" y="34185"/>
                      <a:pt x="1758944" y="21050"/>
                      <a:pt x="1772984" y="71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D049000-597B-41A2-A41D-408E01BEC088}"/>
                  </a:ext>
                </a:extLst>
              </p:cNvPr>
              <p:cNvSpPr/>
              <p:nvPr/>
            </p:nvSpPr>
            <p:spPr>
              <a:xfrm>
                <a:off x="9393121" y="3421073"/>
                <a:ext cx="447675" cy="619125"/>
              </a:xfrm>
              <a:custGeom>
                <a:avLst/>
                <a:gdLst>
                  <a:gd name="connsiteX0" fmla="*/ 61298 w 447675"/>
                  <a:gd name="connsiteY0" fmla="*/ 73744 h 619125"/>
                  <a:gd name="connsiteX1" fmla="*/ 166073 w 447675"/>
                  <a:gd name="connsiteY1" fmla="*/ 19452 h 619125"/>
                  <a:gd name="connsiteX2" fmla="*/ 309901 w 447675"/>
                  <a:gd name="connsiteY2" fmla="*/ 18118 h 619125"/>
                  <a:gd name="connsiteX3" fmla="*/ 436678 w 447675"/>
                  <a:gd name="connsiteY3" fmla="*/ 166232 h 619125"/>
                  <a:gd name="connsiteX4" fmla="*/ 328665 w 447675"/>
                  <a:gd name="connsiteY4" fmla="*/ 477223 h 619125"/>
                  <a:gd name="connsiteX5" fmla="*/ 82348 w 447675"/>
                  <a:gd name="connsiteY5" fmla="*/ 598096 h 619125"/>
                  <a:gd name="connsiteX6" fmla="*/ 7482 w 447675"/>
                  <a:gd name="connsiteY6" fmla="*/ 613145 h 619125"/>
                  <a:gd name="connsiteX7" fmla="*/ 9863 w 447675"/>
                  <a:gd name="connsiteY7" fmla="*/ 609145 h 619125"/>
                  <a:gd name="connsiteX8" fmla="*/ 195029 w 447675"/>
                  <a:gd name="connsiteY8" fmla="*/ 435790 h 619125"/>
                  <a:gd name="connsiteX9" fmla="*/ 280754 w 447675"/>
                  <a:gd name="connsiteY9" fmla="*/ 273865 h 619125"/>
                  <a:gd name="connsiteX10" fmla="*/ 279802 w 447675"/>
                  <a:gd name="connsiteY10" fmla="*/ 175471 h 619125"/>
                  <a:gd name="connsiteX11" fmla="*/ 186552 w 447675"/>
                  <a:gd name="connsiteY11" fmla="*/ 85269 h 619125"/>
                  <a:gd name="connsiteX12" fmla="*/ 61298 w 447675"/>
                  <a:gd name="connsiteY12" fmla="*/ 73744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675" h="619125">
                    <a:moveTo>
                      <a:pt x="61298" y="73744"/>
                    </a:moveTo>
                    <a:cubicBezTo>
                      <a:pt x="92674" y="49494"/>
                      <a:pt x="128173" y="31101"/>
                      <a:pt x="166073" y="19452"/>
                    </a:cubicBezTo>
                    <a:cubicBezTo>
                      <a:pt x="213698" y="5069"/>
                      <a:pt x="262085" y="1640"/>
                      <a:pt x="309901" y="18118"/>
                    </a:cubicBezTo>
                    <a:cubicBezTo>
                      <a:pt x="380957" y="42502"/>
                      <a:pt x="423058" y="94318"/>
                      <a:pt x="436678" y="166232"/>
                    </a:cubicBezTo>
                    <a:cubicBezTo>
                      <a:pt x="459824" y="289581"/>
                      <a:pt x="423153" y="394261"/>
                      <a:pt x="328665" y="477223"/>
                    </a:cubicBezTo>
                    <a:cubicBezTo>
                      <a:pt x="257608" y="539612"/>
                      <a:pt x="172550" y="574283"/>
                      <a:pt x="82348" y="598096"/>
                    </a:cubicBezTo>
                    <a:cubicBezTo>
                      <a:pt x="57726" y="604630"/>
                      <a:pt x="32723" y="609649"/>
                      <a:pt x="7482" y="613145"/>
                    </a:cubicBezTo>
                    <a:cubicBezTo>
                      <a:pt x="6244" y="610192"/>
                      <a:pt x="8720" y="610002"/>
                      <a:pt x="9863" y="609145"/>
                    </a:cubicBezTo>
                    <a:cubicBezTo>
                      <a:pt x="79148" y="560015"/>
                      <a:pt x="141441" y="501693"/>
                      <a:pt x="195029" y="435790"/>
                    </a:cubicBezTo>
                    <a:cubicBezTo>
                      <a:pt x="233796" y="387212"/>
                      <a:pt x="266181" y="334920"/>
                      <a:pt x="280754" y="273865"/>
                    </a:cubicBezTo>
                    <a:cubicBezTo>
                      <a:pt x="288565" y="241098"/>
                      <a:pt x="292470" y="207952"/>
                      <a:pt x="279802" y="175471"/>
                    </a:cubicBezTo>
                    <a:cubicBezTo>
                      <a:pt x="262561" y="131275"/>
                      <a:pt x="229319" y="103081"/>
                      <a:pt x="186552" y="85269"/>
                    </a:cubicBezTo>
                    <a:cubicBezTo>
                      <a:pt x="146823" y="69268"/>
                      <a:pt x="103275" y="65257"/>
                      <a:pt x="61298" y="737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3D5376A-E142-4BDF-BD5D-2775BCEB3406}"/>
                  </a:ext>
                </a:extLst>
              </p:cNvPr>
              <p:cNvSpPr/>
              <p:nvPr/>
            </p:nvSpPr>
            <p:spPr>
              <a:xfrm>
                <a:off x="8928163" y="3531393"/>
                <a:ext cx="9525" cy="9525"/>
              </a:xfrm>
              <a:custGeom>
                <a:avLst/>
                <a:gdLst>
                  <a:gd name="connsiteX0" fmla="*/ 8287 w 9525"/>
                  <a:gd name="connsiteY0" fmla="*/ 7144 h 9525"/>
                  <a:gd name="connsiteX1" fmla="*/ 8287 w 9525"/>
                  <a:gd name="connsiteY1" fmla="*/ 8477 h 9525"/>
                  <a:gd name="connsiteX2" fmla="*/ 7144 w 9525"/>
                  <a:gd name="connsiteY2" fmla="*/ 8001 h 9525"/>
                  <a:gd name="connsiteX3" fmla="*/ 8573 w 9525"/>
                  <a:gd name="connsiteY3" fmla="*/ 7334 h 9525"/>
                </a:gdLst>
                <a:ahLst/>
                <a:cxnLst>
                  <a:cxn ang="0">
                    <a:pos x="connsiteX0" y="connsiteY0"/>
                  </a:cxn>
                  <a:cxn ang="0">
                    <a:pos x="connsiteX1" y="connsiteY1"/>
                  </a:cxn>
                  <a:cxn ang="0">
                    <a:pos x="connsiteX2" y="connsiteY2"/>
                  </a:cxn>
                  <a:cxn ang="0">
                    <a:pos x="connsiteX3" y="connsiteY3"/>
                  </a:cxn>
                </a:cxnLst>
                <a:rect l="l" t="t" r="r" b="b"/>
                <a:pathLst>
                  <a:path w="9525" h="9525">
                    <a:moveTo>
                      <a:pt x="8287" y="7144"/>
                    </a:moveTo>
                    <a:lnTo>
                      <a:pt x="8287" y="8477"/>
                    </a:lnTo>
                    <a:lnTo>
                      <a:pt x="7144" y="8001"/>
                    </a:lnTo>
                    <a:lnTo>
                      <a:pt x="8573" y="733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ECFEFB80-B2CC-49B4-9DEA-70B7C0E17D0C}"/>
                  </a:ext>
                </a:extLst>
              </p:cNvPr>
              <p:cNvSpPr/>
              <p:nvPr/>
            </p:nvSpPr>
            <p:spPr>
              <a:xfrm>
                <a:off x="9630917" y="4202049"/>
                <a:ext cx="9525" cy="9525"/>
              </a:xfrm>
              <a:custGeom>
                <a:avLst/>
                <a:gdLst>
                  <a:gd name="connsiteX0" fmla="*/ 8001 w 9525"/>
                  <a:gd name="connsiteY0" fmla="*/ 8954 h 9525"/>
                  <a:gd name="connsiteX1" fmla="*/ 7144 w 9525"/>
                  <a:gd name="connsiteY1" fmla="*/ 7144 h 9525"/>
                  <a:gd name="connsiteX2" fmla="*/ 9239 w 9525"/>
                  <a:gd name="connsiteY2" fmla="*/ 7144 h 9525"/>
                </a:gdLst>
                <a:ahLst/>
                <a:cxnLst>
                  <a:cxn ang="0">
                    <a:pos x="connsiteX0" y="connsiteY0"/>
                  </a:cxn>
                  <a:cxn ang="0">
                    <a:pos x="connsiteX1" y="connsiteY1"/>
                  </a:cxn>
                  <a:cxn ang="0">
                    <a:pos x="connsiteX2" y="connsiteY2"/>
                  </a:cxn>
                </a:cxnLst>
                <a:rect l="l" t="t" r="r" b="b"/>
                <a:pathLst>
                  <a:path w="9525" h="9525">
                    <a:moveTo>
                      <a:pt x="8001" y="8954"/>
                    </a:moveTo>
                    <a:lnTo>
                      <a:pt x="7144" y="7144"/>
                    </a:lnTo>
                    <a:lnTo>
                      <a:pt x="9239" y="714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18" name="Title 1">
              <a:extLst>
                <a:ext uri="{FF2B5EF4-FFF2-40B4-BE49-F238E27FC236}">
                  <a16:creationId xmlns:a16="http://schemas.microsoft.com/office/drawing/2014/main" id="{381C20FA-DA48-459E-B683-909BCC18C45E}"/>
                </a:ext>
              </a:extLst>
            </p:cNvPr>
            <p:cNvSpPr txBox="1">
              <a:spLocks/>
            </p:cNvSpPr>
            <p:nvPr/>
          </p:nvSpPr>
          <p:spPr>
            <a:xfrm>
              <a:off x="8155197" y="2730542"/>
              <a:ext cx="70187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Service</a:t>
              </a:r>
            </a:p>
          </p:txBody>
        </p:sp>
        <p:sp>
          <p:nvSpPr>
            <p:cNvPr id="121" name="Rectangle: Rounded Corners 120">
              <a:extLst>
                <a:ext uri="{FF2B5EF4-FFF2-40B4-BE49-F238E27FC236}">
                  <a16:creationId xmlns:a16="http://schemas.microsoft.com/office/drawing/2014/main" id="{8CE9330D-6E59-43EF-A21F-EAAE5CB4F5C7}"/>
                </a:ext>
              </a:extLst>
            </p:cNvPr>
            <p:cNvSpPr/>
            <p:nvPr/>
          </p:nvSpPr>
          <p:spPr bwMode="auto">
            <a:xfrm>
              <a:off x="8236323" y="2999349"/>
              <a:ext cx="533589" cy="533589"/>
            </a:xfrm>
            <a:prstGeom prst="roundRect">
              <a:avLst>
                <a:gd name="adj" fmla="val 3125"/>
              </a:avLst>
            </a:prstGeom>
            <a:noFill/>
            <a:ln w="12700">
              <a:solidFill>
                <a:srgbClr val="00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123" name="Freeform: Shape 122">
              <a:extLst>
                <a:ext uri="{FF2B5EF4-FFF2-40B4-BE49-F238E27FC236}">
                  <a16:creationId xmlns:a16="http://schemas.microsoft.com/office/drawing/2014/main" id="{58861FDA-83C1-43D0-A556-80B2E2EC734B}"/>
                </a:ext>
              </a:extLst>
            </p:cNvPr>
            <p:cNvSpPr/>
            <p:nvPr/>
          </p:nvSpPr>
          <p:spPr>
            <a:xfrm>
              <a:off x="8871778" y="3092295"/>
              <a:ext cx="317266" cy="34769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solidFill>
              <a:srgbClr val="FFFFFF"/>
            </a:solidFill>
            <a:ln w="12700" cap="rnd">
              <a:solidFill>
                <a:srgbClr val="000000"/>
              </a:solidFill>
              <a:prstDash val="solid"/>
              <a:round/>
            </a:ln>
          </p:spPr>
          <p:txBody>
            <a:bodyPr wrap="square">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B1708C33-0AC5-48A1-B546-7F316E7A1509}"/>
              </a:ext>
            </a:extLst>
          </p:cNvPr>
          <p:cNvGrpSpPr/>
          <p:nvPr/>
        </p:nvGrpSpPr>
        <p:grpSpPr>
          <a:xfrm>
            <a:off x="7163375" y="3050282"/>
            <a:ext cx="1033847" cy="902037"/>
            <a:chOff x="9963525" y="2746464"/>
            <a:chExt cx="1033847" cy="902037"/>
          </a:xfrm>
        </p:grpSpPr>
        <p:sp>
          <p:nvSpPr>
            <p:cNvPr id="129" name="Rectangle: Rounded Corners 128">
              <a:extLst>
                <a:ext uri="{FF2B5EF4-FFF2-40B4-BE49-F238E27FC236}">
                  <a16:creationId xmlns:a16="http://schemas.microsoft.com/office/drawing/2014/main" id="{AA662AAC-AF6B-405B-8AA1-F388A8D94806}"/>
                </a:ext>
              </a:extLst>
            </p:cNvPr>
            <p:cNvSpPr/>
            <p:nvPr/>
          </p:nvSpPr>
          <p:spPr bwMode="auto">
            <a:xfrm>
              <a:off x="9963525" y="2915629"/>
              <a:ext cx="869459" cy="732872"/>
            </a:xfrm>
            <a:prstGeom prst="roundRect">
              <a:avLst>
                <a:gd name="adj" fmla="val 3125"/>
              </a:avLst>
            </a:prstGeom>
            <a:solidFill>
              <a:srgbClr val="FFFFFF"/>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127" name="Title 1">
              <a:extLst>
                <a:ext uri="{FF2B5EF4-FFF2-40B4-BE49-F238E27FC236}">
                  <a16:creationId xmlns:a16="http://schemas.microsoft.com/office/drawing/2014/main" id="{884DBD53-0D69-4494-AED8-B27065956C84}"/>
                </a:ext>
              </a:extLst>
            </p:cNvPr>
            <p:cNvSpPr txBox="1">
              <a:spLocks/>
            </p:cNvSpPr>
            <p:nvPr/>
          </p:nvSpPr>
          <p:spPr>
            <a:xfrm>
              <a:off x="9963525" y="2746464"/>
              <a:ext cx="70187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Service</a:t>
              </a:r>
            </a:p>
          </p:txBody>
        </p:sp>
        <p:sp>
          <p:nvSpPr>
            <p:cNvPr id="128" name="Rectangle: Rounded Corners 127">
              <a:extLst>
                <a:ext uri="{FF2B5EF4-FFF2-40B4-BE49-F238E27FC236}">
                  <a16:creationId xmlns:a16="http://schemas.microsoft.com/office/drawing/2014/main" id="{23A7607D-D4C4-461A-B70F-1B260720B455}"/>
                </a:ext>
              </a:extLst>
            </p:cNvPr>
            <p:cNvSpPr/>
            <p:nvPr/>
          </p:nvSpPr>
          <p:spPr bwMode="auto">
            <a:xfrm>
              <a:off x="10044651" y="3015271"/>
              <a:ext cx="533589" cy="533589"/>
            </a:xfrm>
            <a:prstGeom prst="roundRect">
              <a:avLst>
                <a:gd name="adj" fmla="val 3125"/>
              </a:avLst>
            </a:prstGeom>
            <a:noFill/>
            <a:ln w="12700">
              <a:solidFill>
                <a:srgbClr val="00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130" name="Freeform: Shape 129">
              <a:extLst>
                <a:ext uri="{FF2B5EF4-FFF2-40B4-BE49-F238E27FC236}">
                  <a16:creationId xmlns:a16="http://schemas.microsoft.com/office/drawing/2014/main" id="{9AE35FC6-0821-4DAF-BC30-8A6112F9C885}"/>
                </a:ext>
              </a:extLst>
            </p:cNvPr>
            <p:cNvSpPr/>
            <p:nvPr/>
          </p:nvSpPr>
          <p:spPr>
            <a:xfrm>
              <a:off x="10680106" y="3108217"/>
              <a:ext cx="317266" cy="34769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solidFill>
              <a:srgbClr val="FFFFFF"/>
            </a:solidFill>
            <a:ln w="12700" cap="rnd">
              <a:solidFill>
                <a:srgbClr val="000000"/>
              </a:solidFill>
              <a:prstDash val="solid"/>
              <a:round/>
            </a:ln>
          </p:spPr>
          <p:txBody>
            <a:bodyPr wrap="square">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41" name="Graphic 140">
              <a:extLst>
                <a:ext uri="{FF2B5EF4-FFF2-40B4-BE49-F238E27FC236}">
                  <a16:creationId xmlns:a16="http://schemas.microsoft.com/office/drawing/2014/main" id="{B10B82D2-9A96-4458-AE3A-BB8B8B0C0357}"/>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148250" y="3097834"/>
              <a:ext cx="326390" cy="368463"/>
            </a:xfrm>
            <a:prstGeom prst="rect">
              <a:avLst/>
            </a:prstGeom>
          </p:spPr>
        </p:pic>
      </p:grpSp>
      <p:cxnSp>
        <p:nvCxnSpPr>
          <p:cNvPr id="18" name="Connector: Elbow 17">
            <a:extLst>
              <a:ext uri="{FF2B5EF4-FFF2-40B4-BE49-F238E27FC236}">
                <a16:creationId xmlns:a16="http://schemas.microsoft.com/office/drawing/2014/main" id="{113898EF-74DA-4227-8310-4BE1F16A398A}"/>
              </a:ext>
            </a:extLst>
          </p:cNvPr>
          <p:cNvCxnSpPr>
            <a:stCxn id="122" idx="1"/>
            <a:endCxn id="46" idx="3"/>
          </p:cNvCxnSpPr>
          <p:nvPr/>
        </p:nvCxnSpPr>
        <p:spPr>
          <a:xfrm rot="10800000">
            <a:off x="8281817" y="2535008"/>
            <a:ext cx="777240" cy="433207"/>
          </a:xfrm>
          <a:prstGeom prst="bentConnector3">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5" name="Connector: Elbow 154">
            <a:extLst>
              <a:ext uri="{FF2B5EF4-FFF2-40B4-BE49-F238E27FC236}">
                <a16:creationId xmlns:a16="http://schemas.microsoft.com/office/drawing/2014/main" id="{B9A6A651-026D-4E53-9E70-21CEE00F56F3}"/>
              </a:ext>
            </a:extLst>
          </p:cNvPr>
          <p:cNvCxnSpPr>
            <a:cxnSpLocks/>
            <a:stCxn id="122" idx="1"/>
            <a:endCxn id="128" idx="3"/>
          </p:cNvCxnSpPr>
          <p:nvPr/>
        </p:nvCxnSpPr>
        <p:spPr>
          <a:xfrm rot="10800000" flipV="1">
            <a:off x="8281817" y="2968214"/>
            <a:ext cx="777240" cy="617670"/>
          </a:xfrm>
          <a:prstGeom prst="bentConnector3">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E5B76E82-E672-4BD6-8F24-9EB67D12EA86}"/>
              </a:ext>
            </a:extLst>
          </p:cNvPr>
          <p:cNvGrpSpPr/>
          <p:nvPr/>
        </p:nvGrpSpPr>
        <p:grpSpPr>
          <a:xfrm>
            <a:off x="7093274" y="4328520"/>
            <a:ext cx="1218575" cy="338186"/>
            <a:chOff x="7093274" y="4328520"/>
            <a:chExt cx="1218575" cy="338186"/>
          </a:xfrm>
        </p:grpSpPr>
        <p:sp>
          <p:nvSpPr>
            <p:cNvPr id="164" name="arrow_24" title="Icon of an arrow pointing out of a box">
              <a:extLst>
                <a:ext uri="{FF2B5EF4-FFF2-40B4-BE49-F238E27FC236}">
                  <a16:creationId xmlns:a16="http://schemas.microsoft.com/office/drawing/2014/main" id="{4C37B716-BBD3-465C-A69D-1EC3854E51DD}"/>
                </a:ext>
              </a:extLst>
            </p:cNvPr>
            <p:cNvSpPr>
              <a:spLocks noChangeAspect="1" noEditPoints="1"/>
            </p:cNvSpPr>
            <p:nvPr/>
          </p:nvSpPr>
          <p:spPr bwMode="auto">
            <a:xfrm>
              <a:off x="7093274" y="4328520"/>
              <a:ext cx="442818" cy="338186"/>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rgbClr val="000000"/>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69" name="Title 1">
              <a:extLst>
                <a:ext uri="{FF2B5EF4-FFF2-40B4-BE49-F238E27FC236}">
                  <a16:creationId xmlns:a16="http://schemas.microsoft.com/office/drawing/2014/main" id="{9FDB7ADF-51AD-4DC6-B218-0D8D878C890E}"/>
                </a:ext>
              </a:extLst>
            </p:cNvPr>
            <p:cNvSpPr txBox="1">
              <a:spLocks/>
            </p:cNvSpPr>
            <p:nvPr/>
          </p:nvSpPr>
          <p:spPr>
            <a:xfrm>
              <a:off x="7609979" y="4374503"/>
              <a:ext cx="701870"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uto</a:t>
              </a:r>
              <a:b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Scaling</a:t>
              </a:r>
            </a:p>
          </p:txBody>
        </p:sp>
      </p:grpSp>
      <p:grpSp>
        <p:nvGrpSpPr>
          <p:cNvPr id="224" name="Group 223">
            <a:extLst>
              <a:ext uri="{FF2B5EF4-FFF2-40B4-BE49-F238E27FC236}">
                <a16:creationId xmlns:a16="http://schemas.microsoft.com/office/drawing/2014/main" id="{20A21BF3-1F29-406F-9FEA-AEC4D0AD6B43}"/>
              </a:ext>
            </a:extLst>
          </p:cNvPr>
          <p:cNvGrpSpPr/>
          <p:nvPr/>
        </p:nvGrpSpPr>
        <p:grpSpPr>
          <a:xfrm>
            <a:off x="7098254" y="4893288"/>
            <a:ext cx="1079750" cy="380459"/>
            <a:chOff x="7098254" y="4893288"/>
            <a:chExt cx="1079750" cy="380459"/>
          </a:xfrm>
        </p:grpSpPr>
        <p:sp>
          <p:nvSpPr>
            <p:cNvPr id="166" name="Database_EFC7" title="Icon of a cylinder">
              <a:extLst>
                <a:ext uri="{FF2B5EF4-FFF2-40B4-BE49-F238E27FC236}">
                  <a16:creationId xmlns:a16="http://schemas.microsoft.com/office/drawing/2014/main" id="{E660DB04-29B3-4AB0-BB43-3C3B928DE176}"/>
                </a:ext>
              </a:extLst>
            </p:cNvPr>
            <p:cNvSpPr>
              <a:spLocks noChangeAspect="1" noEditPoints="1"/>
            </p:cNvSpPr>
            <p:nvPr/>
          </p:nvSpPr>
          <p:spPr bwMode="auto">
            <a:xfrm>
              <a:off x="7098254" y="4893288"/>
              <a:ext cx="292697" cy="38045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Title 1">
              <a:extLst>
                <a:ext uri="{FF2B5EF4-FFF2-40B4-BE49-F238E27FC236}">
                  <a16:creationId xmlns:a16="http://schemas.microsoft.com/office/drawing/2014/main" id="{0BF8EE14-A88D-4A4B-828A-BEAD10B43555}"/>
                </a:ext>
              </a:extLst>
            </p:cNvPr>
            <p:cNvSpPr txBox="1">
              <a:spLocks/>
            </p:cNvSpPr>
            <p:nvPr/>
          </p:nvSpPr>
          <p:spPr>
            <a:xfrm>
              <a:off x="7476134" y="4960407"/>
              <a:ext cx="701870"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Reliable</a:t>
              </a:r>
              <a:b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llections</a:t>
              </a:r>
            </a:p>
          </p:txBody>
        </p:sp>
      </p:grpSp>
      <p:grpSp>
        <p:nvGrpSpPr>
          <p:cNvPr id="30" name="Group 29">
            <a:extLst>
              <a:ext uri="{FF2B5EF4-FFF2-40B4-BE49-F238E27FC236}">
                <a16:creationId xmlns:a16="http://schemas.microsoft.com/office/drawing/2014/main" id="{00D797A3-2CBD-426B-93E5-C1D8EEC65CAB}"/>
              </a:ext>
            </a:extLst>
          </p:cNvPr>
          <p:cNvGrpSpPr/>
          <p:nvPr/>
        </p:nvGrpSpPr>
        <p:grpSpPr>
          <a:xfrm>
            <a:off x="8387332" y="4307384"/>
            <a:ext cx="1086734" cy="380459"/>
            <a:chOff x="8387332" y="4307384"/>
            <a:chExt cx="1086734" cy="380459"/>
          </a:xfrm>
        </p:grpSpPr>
        <p:sp>
          <p:nvSpPr>
            <p:cNvPr id="165" name="Database_EFC7" title="Icon of a cylinder">
              <a:extLst>
                <a:ext uri="{FF2B5EF4-FFF2-40B4-BE49-F238E27FC236}">
                  <a16:creationId xmlns:a16="http://schemas.microsoft.com/office/drawing/2014/main" id="{6BC89960-4C8B-4435-A2E0-5D6A8B99D223}"/>
                </a:ext>
              </a:extLst>
            </p:cNvPr>
            <p:cNvSpPr>
              <a:spLocks noChangeAspect="1" noEditPoints="1"/>
            </p:cNvSpPr>
            <p:nvPr/>
          </p:nvSpPr>
          <p:spPr bwMode="auto">
            <a:xfrm>
              <a:off x="8387332" y="4307384"/>
              <a:ext cx="292697" cy="38045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Title 1">
              <a:extLst>
                <a:ext uri="{FF2B5EF4-FFF2-40B4-BE49-F238E27FC236}">
                  <a16:creationId xmlns:a16="http://schemas.microsoft.com/office/drawing/2014/main" id="{0884D45B-525D-400E-9BF1-2BA35507AB6F}"/>
                </a:ext>
              </a:extLst>
            </p:cNvPr>
            <p:cNvSpPr txBox="1">
              <a:spLocks/>
            </p:cNvSpPr>
            <p:nvPr/>
          </p:nvSpPr>
          <p:spPr>
            <a:xfrm>
              <a:off x="8772196" y="4436058"/>
              <a:ext cx="70187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olumes</a:t>
              </a:r>
            </a:p>
          </p:txBody>
        </p:sp>
      </p:grpSp>
      <p:grpSp>
        <p:nvGrpSpPr>
          <p:cNvPr id="225" name="Group 224">
            <a:extLst>
              <a:ext uri="{FF2B5EF4-FFF2-40B4-BE49-F238E27FC236}">
                <a16:creationId xmlns:a16="http://schemas.microsoft.com/office/drawing/2014/main" id="{2D720D32-F7EC-4D41-9CD4-D5B693624BF1}"/>
              </a:ext>
            </a:extLst>
          </p:cNvPr>
          <p:cNvGrpSpPr/>
          <p:nvPr/>
        </p:nvGrpSpPr>
        <p:grpSpPr>
          <a:xfrm>
            <a:off x="8358298" y="4872151"/>
            <a:ext cx="1115768" cy="422733"/>
            <a:chOff x="8358298" y="4872151"/>
            <a:chExt cx="1115768" cy="422733"/>
          </a:xfrm>
        </p:grpSpPr>
        <p:sp>
          <p:nvSpPr>
            <p:cNvPr id="167" name="Lock" title="Icon of a padlock">
              <a:extLst>
                <a:ext uri="{FF2B5EF4-FFF2-40B4-BE49-F238E27FC236}">
                  <a16:creationId xmlns:a16="http://schemas.microsoft.com/office/drawing/2014/main" id="{2BC13920-BBE9-4483-A32B-4D04A2342FA7}"/>
                </a:ext>
              </a:extLst>
            </p:cNvPr>
            <p:cNvSpPr>
              <a:spLocks noChangeAspect="1" noEditPoints="1"/>
            </p:cNvSpPr>
            <p:nvPr/>
          </p:nvSpPr>
          <p:spPr bwMode="auto">
            <a:xfrm>
              <a:off x="8358298" y="4872151"/>
              <a:ext cx="302460" cy="42273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Title 1">
              <a:extLst>
                <a:ext uri="{FF2B5EF4-FFF2-40B4-BE49-F238E27FC236}">
                  <a16:creationId xmlns:a16="http://schemas.microsoft.com/office/drawing/2014/main" id="{FDE12E31-17E1-4341-83AC-7A7FCE0B07ED}"/>
                </a:ext>
              </a:extLst>
            </p:cNvPr>
            <p:cNvSpPr txBox="1">
              <a:spLocks/>
            </p:cNvSpPr>
            <p:nvPr/>
          </p:nvSpPr>
          <p:spPr>
            <a:xfrm>
              <a:off x="8772196" y="5021962"/>
              <a:ext cx="70187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Secrets</a:t>
              </a:r>
            </a:p>
          </p:txBody>
        </p:sp>
      </p:grpSp>
      <p:grpSp>
        <p:nvGrpSpPr>
          <p:cNvPr id="31" name="Group 30">
            <a:extLst>
              <a:ext uri="{FF2B5EF4-FFF2-40B4-BE49-F238E27FC236}">
                <a16:creationId xmlns:a16="http://schemas.microsoft.com/office/drawing/2014/main" id="{494A67C7-D478-4A0B-89A0-6F3ECED735AA}"/>
              </a:ext>
            </a:extLst>
          </p:cNvPr>
          <p:cNvGrpSpPr/>
          <p:nvPr/>
        </p:nvGrpSpPr>
        <p:grpSpPr>
          <a:xfrm>
            <a:off x="9376574" y="4300487"/>
            <a:ext cx="857336" cy="394252"/>
            <a:chOff x="9376574" y="4300487"/>
            <a:chExt cx="857336" cy="394252"/>
          </a:xfrm>
        </p:grpSpPr>
        <p:sp>
          <p:nvSpPr>
            <p:cNvPr id="168" name="strategy" title="Icon of two circles and a curved arrow winding between three exes connecting them">
              <a:extLst>
                <a:ext uri="{FF2B5EF4-FFF2-40B4-BE49-F238E27FC236}">
                  <a16:creationId xmlns:a16="http://schemas.microsoft.com/office/drawing/2014/main" id="{FCB84EC8-D605-4052-9C38-D7F5B7EA9E8D}"/>
                </a:ext>
              </a:extLst>
            </p:cNvPr>
            <p:cNvSpPr>
              <a:spLocks noChangeAspect="1" noEditPoints="1"/>
            </p:cNvSpPr>
            <p:nvPr/>
          </p:nvSpPr>
          <p:spPr bwMode="auto">
            <a:xfrm>
              <a:off x="9376574" y="4300487"/>
              <a:ext cx="295913" cy="394252"/>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5875" cap="flat">
              <a:solidFill>
                <a:srgbClr val="000000"/>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Title 1">
              <a:extLst>
                <a:ext uri="{FF2B5EF4-FFF2-40B4-BE49-F238E27FC236}">
                  <a16:creationId xmlns:a16="http://schemas.microsoft.com/office/drawing/2014/main" id="{ECC3CD74-3596-482B-8D89-56402C48BA9A}"/>
                </a:ext>
              </a:extLst>
            </p:cNvPr>
            <p:cNvSpPr txBox="1">
              <a:spLocks/>
            </p:cNvSpPr>
            <p:nvPr/>
          </p:nvSpPr>
          <p:spPr>
            <a:xfrm>
              <a:off x="9776710" y="4436058"/>
              <a:ext cx="45720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Routing</a:t>
              </a:r>
            </a:p>
          </p:txBody>
        </p:sp>
      </p:grpSp>
      <p:grpSp>
        <p:nvGrpSpPr>
          <p:cNvPr id="23" name="Group 22">
            <a:extLst>
              <a:ext uri="{FF2B5EF4-FFF2-40B4-BE49-F238E27FC236}">
                <a16:creationId xmlns:a16="http://schemas.microsoft.com/office/drawing/2014/main" id="{9EA87008-9064-475F-A808-47BB8952081A}"/>
              </a:ext>
            </a:extLst>
          </p:cNvPr>
          <p:cNvGrpSpPr/>
          <p:nvPr/>
        </p:nvGrpSpPr>
        <p:grpSpPr>
          <a:xfrm>
            <a:off x="5792433" y="2616841"/>
            <a:ext cx="701870" cy="684294"/>
            <a:chOff x="5387266" y="2340943"/>
            <a:chExt cx="701870" cy="684294"/>
          </a:xfrm>
        </p:grpSpPr>
        <p:sp>
          <p:nvSpPr>
            <p:cNvPr id="176" name="globe_6" title="Icon of a monitor in front of a sphere made of lines">
              <a:extLst>
                <a:ext uri="{FF2B5EF4-FFF2-40B4-BE49-F238E27FC236}">
                  <a16:creationId xmlns:a16="http://schemas.microsoft.com/office/drawing/2014/main" id="{922B76FA-CA72-479C-B24F-E8B056168EF1}"/>
                </a:ext>
              </a:extLst>
            </p:cNvPr>
            <p:cNvSpPr>
              <a:spLocks noChangeAspect="1" noEditPoints="1"/>
            </p:cNvSpPr>
            <p:nvPr/>
          </p:nvSpPr>
          <p:spPr bwMode="auto">
            <a:xfrm>
              <a:off x="5504037" y="2523539"/>
              <a:ext cx="468328" cy="501698"/>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Title 1">
              <a:extLst>
                <a:ext uri="{FF2B5EF4-FFF2-40B4-BE49-F238E27FC236}">
                  <a16:creationId xmlns:a16="http://schemas.microsoft.com/office/drawing/2014/main" id="{2BA2C6DA-CE93-4EB8-A193-9EB6976B2491}"/>
                </a:ext>
              </a:extLst>
            </p:cNvPr>
            <p:cNvSpPr txBox="1">
              <a:spLocks/>
            </p:cNvSpPr>
            <p:nvPr/>
          </p:nvSpPr>
          <p:spPr>
            <a:xfrm>
              <a:off x="5387266" y="2340943"/>
              <a:ext cx="70187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Internet</a:t>
              </a:r>
            </a:p>
          </p:txBody>
        </p:sp>
      </p:grpSp>
      <p:cxnSp>
        <p:nvCxnSpPr>
          <p:cNvPr id="25" name="Straight Arrow Connector 24">
            <a:extLst>
              <a:ext uri="{FF2B5EF4-FFF2-40B4-BE49-F238E27FC236}">
                <a16:creationId xmlns:a16="http://schemas.microsoft.com/office/drawing/2014/main" id="{D6975FB3-D060-4ACD-BB4F-1A0D870DFCCE}"/>
              </a:ext>
            </a:extLst>
          </p:cNvPr>
          <p:cNvCxnSpPr>
            <a:stCxn id="176" idx="23"/>
          </p:cNvCxnSpPr>
          <p:nvPr/>
        </p:nvCxnSpPr>
        <p:spPr>
          <a:xfrm>
            <a:off x="6377532" y="3018733"/>
            <a:ext cx="699565" cy="5681"/>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5449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ACBBDC-01EE-433B-82BD-B36410353B68}"/>
              </a:ext>
            </a:extLst>
          </p:cNvPr>
          <p:cNvSpPr/>
          <p:nvPr/>
        </p:nvSpPr>
        <p:spPr bwMode="auto">
          <a:xfrm>
            <a:off x="54322" y="-261099"/>
            <a:ext cx="13628915" cy="7228114"/>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Moon 8">
            <a:extLst>
              <a:ext uri="{FF2B5EF4-FFF2-40B4-BE49-F238E27FC236}">
                <a16:creationId xmlns:a16="http://schemas.microsoft.com/office/drawing/2014/main" id="{BD98F3ED-F231-4C9A-B9BE-EC18C5FF30D7}"/>
              </a:ext>
            </a:extLst>
          </p:cNvPr>
          <p:cNvSpPr/>
          <p:nvPr/>
        </p:nvSpPr>
        <p:spPr bwMode="auto">
          <a:xfrm rot="19800000">
            <a:off x="-2400041" y="3789020"/>
            <a:ext cx="1342230" cy="2684460"/>
          </a:xfrm>
          <a:prstGeom prst="mo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Star: 16 Points 3">
            <a:extLst>
              <a:ext uri="{FF2B5EF4-FFF2-40B4-BE49-F238E27FC236}">
                <a16:creationId xmlns:a16="http://schemas.microsoft.com/office/drawing/2014/main" id="{F288AE8A-8D1E-4559-A2D3-2503CC16A3F7}"/>
              </a:ext>
            </a:extLst>
          </p:cNvPr>
          <p:cNvSpPr/>
          <p:nvPr/>
        </p:nvSpPr>
        <p:spPr bwMode="auto">
          <a:xfrm>
            <a:off x="-3259666" y="3554162"/>
            <a:ext cx="2117707" cy="1962218"/>
          </a:xfrm>
          <a:prstGeom prst="star16">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a:extLst>
              <a:ext uri="{FF2B5EF4-FFF2-40B4-BE49-F238E27FC236}">
                <a16:creationId xmlns:a16="http://schemas.microsoft.com/office/drawing/2014/main" id="{4BA098B2-5B6D-4D00-A75B-6CB820463C42}"/>
              </a:ext>
            </a:extLst>
          </p:cNvPr>
          <p:cNvSpPr/>
          <p:nvPr/>
        </p:nvSpPr>
        <p:spPr bwMode="auto">
          <a:xfrm>
            <a:off x="4303151" y="3429000"/>
            <a:ext cx="2421349" cy="2348472"/>
          </a:xfrm>
          <a:prstGeom prst="rect">
            <a:avLst/>
          </a:prstGeom>
          <a:noFill/>
          <a:ln w="19050">
            <a:solidFill>
              <a:schemeClr val="bg1">
                <a:lumMod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C672FFA9-23ED-4727-9F9D-5273F2A75402}"/>
              </a:ext>
            </a:extLst>
          </p:cNvPr>
          <p:cNvSpPr/>
          <p:nvPr/>
        </p:nvSpPr>
        <p:spPr bwMode="auto">
          <a:xfrm>
            <a:off x="74645" y="3731360"/>
            <a:ext cx="2613521" cy="15206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1218966">
              <a:defRPr/>
            </a:pPr>
            <a:r>
              <a:rPr lang="en-US" sz="1176" b="1" kern="0">
                <a:solidFill>
                  <a:schemeClr val="bg1"/>
                </a:solidFill>
                <a:latin typeface="Consolas" panose="020B0609020204030204" pitchFamily="49" charset="0"/>
              </a:rPr>
              <a:t>docker build –t web:1</a:t>
            </a:r>
          </a:p>
          <a:p>
            <a:pPr defTabSz="1218966">
              <a:defRPr/>
            </a:pPr>
            <a:r>
              <a:rPr lang="en-US" sz="1176" b="1" kern="0">
                <a:solidFill>
                  <a:schemeClr val="bg1"/>
                </a:solidFill>
                <a:latin typeface="Consolas" panose="020B0609020204030204" pitchFamily="49" charset="0"/>
              </a:rPr>
              <a:t>docker build –t quotes:1</a:t>
            </a:r>
          </a:p>
          <a:p>
            <a:pPr defTabSz="1218966">
              <a:defRPr/>
            </a:pPr>
            <a:r>
              <a:rPr lang="en-US" sz="1176" b="1" kern="0">
                <a:solidFill>
                  <a:schemeClr val="bg1"/>
                </a:solidFill>
                <a:latin typeface="Consolas" panose="020B0609020204030204" pitchFamily="49" charset="0"/>
              </a:rPr>
              <a:t>docker build –t important:1</a:t>
            </a:r>
          </a:p>
          <a:p>
            <a:pPr defTabSz="1218966">
              <a:defRPr/>
            </a:pPr>
            <a:endParaRPr lang="en-US" sz="1176" b="1" kern="0">
              <a:solidFill>
                <a:schemeClr val="bg1"/>
              </a:solidFill>
              <a:latin typeface="Consolas" panose="020B0609020204030204" pitchFamily="49" charset="0"/>
            </a:endParaRPr>
          </a:p>
          <a:p>
            <a:pPr defTabSz="1218966">
              <a:defRPr/>
            </a:pPr>
            <a:r>
              <a:rPr lang="en-US" sz="1176" b="1" kern="0">
                <a:solidFill>
                  <a:schemeClr val="bg1"/>
                </a:solidFill>
                <a:latin typeface="Consolas" panose="020B0609020204030204" pitchFamily="49" charset="0"/>
              </a:rPr>
              <a:t>docker push web:1</a:t>
            </a:r>
          </a:p>
          <a:p>
            <a:pPr defTabSz="1218966">
              <a:defRPr/>
            </a:pPr>
            <a:r>
              <a:rPr lang="en-US" sz="1176" b="1" kern="0">
                <a:solidFill>
                  <a:schemeClr val="bg1"/>
                </a:solidFill>
                <a:latin typeface="Consolas" panose="020B0609020204030204" pitchFamily="49" charset="0"/>
              </a:rPr>
              <a:t>docker push quotes:1</a:t>
            </a:r>
          </a:p>
          <a:p>
            <a:pPr defTabSz="1218966">
              <a:defRPr/>
            </a:pPr>
            <a:r>
              <a:rPr lang="en-US" sz="1176" b="1" kern="0">
                <a:solidFill>
                  <a:schemeClr val="bg1"/>
                </a:solidFill>
                <a:latin typeface="Consolas" panose="020B0609020204030204" pitchFamily="49" charset="0"/>
              </a:rPr>
              <a:t>docker push important:1</a:t>
            </a:r>
            <a:endParaRPr lang="en-US" sz="1176">
              <a:gradFill>
                <a:gsLst>
                  <a:gs pos="0">
                    <a:srgbClr val="FFFFFF"/>
                  </a:gs>
                  <a:gs pos="100000">
                    <a:srgbClr val="FFFFFF"/>
                  </a:gs>
                </a:gsLst>
                <a:lin ang="5400000" scaled="0"/>
              </a:gradFill>
              <a:ea typeface="Segoe UI" pitchFamily="34" charset="0"/>
              <a:cs typeface="Segoe UI" pitchFamily="34" charset="0"/>
            </a:endParaRPr>
          </a:p>
        </p:txBody>
      </p:sp>
      <p:grpSp>
        <p:nvGrpSpPr>
          <p:cNvPr id="1374" name="Group 1373"/>
          <p:cNvGrpSpPr/>
          <p:nvPr/>
        </p:nvGrpSpPr>
        <p:grpSpPr>
          <a:xfrm>
            <a:off x="8713881" y="1105938"/>
            <a:ext cx="2835369" cy="1633396"/>
            <a:chOff x="4156030" y="3448050"/>
            <a:chExt cx="2065507" cy="1191294"/>
          </a:xfrm>
        </p:grpSpPr>
        <p:sp>
          <p:nvSpPr>
            <p:cNvPr id="1375" name="Rectangle 1374"/>
            <p:cNvSpPr/>
            <p:nvPr/>
          </p:nvSpPr>
          <p:spPr>
            <a:xfrm>
              <a:off x="4156030" y="3562350"/>
              <a:ext cx="2065507" cy="1076994"/>
            </a:xfrm>
            <a:prstGeom prst="rect">
              <a:avLst/>
            </a:prstGeom>
            <a:solidFill>
              <a:srgbClr val="ADE5F9"/>
            </a:solidFill>
            <a:ln w="19050" cap="flat" cmpd="sng" algn="ctr">
              <a:solidFill>
                <a:srgbClr val="00506E"/>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376" name="Flowchart: Alternate Process 1375"/>
            <p:cNvSpPr/>
            <p:nvPr/>
          </p:nvSpPr>
          <p:spPr>
            <a:xfrm>
              <a:off x="4156030" y="3448050"/>
              <a:ext cx="1230039" cy="228600"/>
            </a:xfrm>
            <a:prstGeom prst="flowChartAlternateProcess">
              <a:avLst/>
            </a:prstGeom>
            <a:solidFill>
              <a:sysClr val="window" lastClr="FFFFFF"/>
            </a:solidFill>
            <a:ln w="19050" cap="flat" cmpd="sng" algn="ctr">
              <a:solidFill>
                <a:srgbClr val="00506E"/>
              </a:solidFill>
              <a:prstDash val="solid"/>
            </a:ln>
            <a:effectLst/>
          </p:spPr>
          <p:txBody>
            <a:bodyPr rtlCol="0" anchor="ctr"/>
            <a:lstStyle/>
            <a:p>
              <a:pPr defTabSz="1218966">
                <a:defRPr/>
              </a:pPr>
              <a:r>
                <a:rPr lang="en-US" sz="1467" b="1" kern="0">
                  <a:solidFill>
                    <a:prstClr val="black"/>
                  </a:solidFill>
                  <a:latin typeface="Lucida Console" panose="020B0609040504020204" pitchFamily="49" charset="0"/>
                </a:rPr>
                <a:t>HOST-A</a:t>
              </a:r>
            </a:p>
          </p:txBody>
        </p:sp>
      </p:grpSp>
      <p:grpSp>
        <p:nvGrpSpPr>
          <p:cNvPr id="1509" name="Group 1508"/>
          <p:cNvGrpSpPr/>
          <p:nvPr/>
        </p:nvGrpSpPr>
        <p:grpSpPr>
          <a:xfrm>
            <a:off x="10071282" y="1855078"/>
            <a:ext cx="721037" cy="444217"/>
            <a:chOff x="3240661" y="1005909"/>
            <a:chExt cx="540854" cy="333210"/>
          </a:xfrm>
        </p:grpSpPr>
        <p:grpSp>
          <p:nvGrpSpPr>
            <p:cNvPr id="1510" name="Group 1509"/>
            <p:cNvGrpSpPr/>
            <p:nvPr/>
          </p:nvGrpSpPr>
          <p:grpSpPr>
            <a:xfrm>
              <a:off x="3240661" y="1005909"/>
              <a:ext cx="540854" cy="333210"/>
              <a:chOff x="1926169" y="1632181"/>
              <a:chExt cx="540854" cy="333210"/>
            </a:xfrm>
          </p:grpSpPr>
          <p:sp>
            <p:nvSpPr>
              <p:cNvPr id="1512" name="Rectangle 1511"/>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13" name="Rectangle 1512"/>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1514" name="Group 1513"/>
              <p:cNvGrpSpPr/>
              <p:nvPr/>
            </p:nvGrpSpPr>
            <p:grpSpPr>
              <a:xfrm>
                <a:off x="1989961" y="1665409"/>
                <a:ext cx="413499" cy="266755"/>
                <a:chOff x="1371600" y="2038342"/>
                <a:chExt cx="609600" cy="393263"/>
              </a:xfrm>
            </p:grpSpPr>
            <p:cxnSp>
              <p:nvCxnSpPr>
                <p:cNvPr id="1518" name="Straight Connector 1517"/>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1519" name="Straight Connector 1518"/>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1520" name="Straight Connector 1519"/>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1521" name="Straight Connector 1520"/>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1522" name="Straight Connector 1521"/>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1523" name="Straight Connector 1522"/>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1524" name="Straight Connector 1523"/>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1525" name="Straight Connector 1524"/>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1526" name="Straight Connector 1525"/>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1515" name="Rectangle 1514"/>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16" name="Rectangle 1515"/>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17" name="Rectangle 1516"/>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1511" name="Rectangle 1510"/>
            <p:cNvSpPr/>
            <p:nvPr/>
          </p:nvSpPr>
          <p:spPr>
            <a:xfrm>
              <a:off x="3347642" y="1092724"/>
              <a:ext cx="324240" cy="164616"/>
            </a:xfrm>
            <a:prstGeom prst="rect">
              <a:avLst/>
            </a:prstGeom>
            <a:solidFill>
              <a:srgbClr val="7030A0"/>
            </a:solidFill>
            <a:ln w="25400" cap="flat" cmpd="sng" algn="ctr">
              <a:noFill/>
              <a:prstDash val="solid"/>
            </a:ln>
            <a:effectLst/>
          </p:spPr>
          <p:txBody>
            <a:bodyPr lIns="0" tIns="0" rIns="0" bIns="0" rtlCol="0" anchor="ctr"/>
            <a:lstStyle/>
            <a:p>
              <a:pPr algn="ctr" defTabSz="1218966">
                <a:defRPr/>
              </a:pPr>
              <a:r>
                <a:rPr lang="en-US" sz="900" kern="0">
                  <a:solidFill>
                    <a:srgbClr val="FFFFFF"/>
                  </a:solidFill>
                  <a:latin typeface="Calibri"/>
                </a:rPr>
                <a:t>web:1</a:t>
              </a:r>
            </a:p>
            <a:p>
              <a:pPr algn="ctr" defTabSz="1218966">
                <a:defRPr/>
              </a:pPr>
              <a:r>
                <a:rPr lang="en-US" sz="600" kern="0">
                  <a:solidFill>
                    <a:srgbClr val="FFFFFF"/>
                  </a:solidFill>
                  <a:latin typeface="Calibri"/>
                </a:rPr>
                <a:t>digest: 91e</a:t>
              </a:r>
            </a:p>
          </p:txBody>
        </p:sp>
      </p:grpSp>
      <p:grpSp>
        <p:nvGrpSpPr>
          <p:cNvPr id="1563" name="Group 1562"/>
          <p:cNvGrpSpPr/>
          <p:nvPr/>
        </p:nvGrpSpPr>
        <p:grpSpPr>
          <a:xfrm>
            <a:off x="10071282" y="2257905"/>
            <a:ext cx="721037" cy="444217"/>
            <a:chOff x="3240661" y="1005909"/>
            <a:chExt cx="540854" cy="333210"/>
          </a:xfrm>
        </p:grpSpPr>
        <p:grpSp>
          <p:nvGrpSpPr>
            <p:cNvPr id="1564" name="Group 1563"/>
            <p:cNvGrpSpPr/>
            <p:nvPr/>
          </p:nvGrpSpPr>
          <p:grpSpPr>
            <a:xfrm>
              <a:off x="3240661" y="1005909"/>
              <a:ext cx="540854" cy="333210"/>
              <a:chOff x="1926169" y="1632181"/>
              <a:chExt cx="540854" cy="333210"/>
            </a:xfrm>
          </p:grpSpPr>
          <p:sp>
            <p:nvSpPr>
              <p:cNvPr id="1566" name="Rectangle 1565"/>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67" name="Rectangle 1566"/>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1568" name="Group 1567"/>
              <p:cNvGrpSpPr/>
              <p:nvPr/>
            </p:nvGrpSpPr>
            <p:grpSpPr>
              <a:xfrm>
                <a:off x="1989961" y="1665409"/>
                <a:ext cx="413499" cy="266755"/>
                <a:chOff x="1371600" y="2038342"/>
                <a:chExt cx="609600" cy="393263"/>
              </a:xfrm>
            </p:grpSpPr>
            <p:cxnSp>
              <p:nvCxnSpPr>
                <p:cNvPr id="1572" name="Straight Connector 1571"/>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1573" name="Straight Connector 1572"/>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1574" name="Straight Connector 1573"/>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1575" name="Straight Connector 1574"/>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1576" name="Straight Connector 1575"/>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1577" name="Straight Connector 1576"/>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1578" name="Straight Connector 1577"/>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1579" name="Straight Connector 1578"/>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1580" name="Straight Connector 1579"/>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1569" name="Rectangle 1568"/>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70" name="Rectangle 1569"/>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71" name="Rectangle 1570"/>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1565" name="Rectangle 1564"/>
            <p:cNvSpPr/>
            <p:nvPr/>
          </p:nvSpPr>
          <p:spPr>
            <a:xfrm>
              <a:off x="3347642" y="1092724"/>
              <a:ext cx="324240" cy="16461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latin typeface="Calibri"/>
                </a:rPr>
                <a:t>important:1</a:t>
              </a:r>
            </a:p>
            <a:p>
              <a:pPr algn="ctr" defTabSz="1218966">
                <a:defRPr/>
              </a:pPr>
              <a:r>
                <a:rPr lang="en-US" sz="600" kern="0">
                  <a:latin typeface="Calibri"/>
                </a:rPr>
                <a:t>digest: 2re</a:t>
              </a:r>
            </a:p>
          </p:txBody>
        </p:sp>
      </p:grpSp>
      <p:grpSp>
        <p:nvGrpSpPr>
          <p:cNvPr id="1599" name="Group 1598"/>
          <p:cNvGrpSpPr/>
          <p:nvPr/>
        </p:nvGrpSpPr>
        <p:grpSpPr>
          <a:xfrm>
            <a:off x="10071282" y="1449188"/>
            <a:ext cx="721037" cy="444217"/>
            <a:chOff x="3240661" y="1005909"/>
            <a:chExt cx="540854" cy="333210"/>
          </a:xfrm>
        </p:grpSpPr>
        <p:grpSp>
          <p:nvGrpSpPr>
            <p:cNvPr id="1600" name="Group 1599"/>
            <p:cNvGrpSpPr/>
            <p:nvPr/>
          </p:nvGrpSpPr>
          <p:grpSpPr>
            <a:xfrm>
              <a:off x="3240661" y="1005909"/>
              <a:ext cx="540854" cy="333210"/>
              <a:chOff x="1926169" y="1632181"/>
              <a:chExt cx="540854" cy="333210"/>
            </a:xfrm>
          </p:grpSpPr>
          <p:sp>
            <p:nvSpPr>
              <p:cNvPr id="1602" name="Rectangle 1601"/>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603" name="Rectangle 1602"/>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1604" name="Group 1603"/>
              <p:cNvGrpSpPr/>
              <p:nvPr/>
            </p:nvGrpSpPr>
            <p:grpSpPr>
              <a:xfrm>
                <a:off x="1989961" y="1665409"/>
                <a:ext cx="413499" cy="266755"/>
                <a:chOff x="1371600" y="2038342"/>
                <a:chExt cx="609600" cy="393263"/>
              </a:xfrm>
            </p:grpSpPr>
            <p:cxnSp>
              <p:nvCxnSpPr>
                <p:cNvPr id="1608" name="Straight Connector 1607"/>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1609" name="Straight Connector 1608"/>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1610" name="Straight Connector 1609"/>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1611" name="Straight Connector 1610"/>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1612" name="Straight Connector 1611"/>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1613" name="Straight Connector 1612"/>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1614" name="Straight Connector 1613"/>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1615" name="Straight Connector 1614"/>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1616" name="Straight Connector 1615"/>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1605" name="Rectangle 1604"/>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606" name="Rectangle 1605"/>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607" name="Rectangle 1606"/>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1601" name="Rectangle 1600"/>
            <p:cNvSpPr/>
            <p:nvPr/>
          </p:nvSpPr>
          <p:spPr>
            <a:xfrm>
              <a:off x="3347642" y="1092724"/>
              <a:ext cx="324240" cy="164616"/>
            </a:xfrm>
            <a:prstGeom prst="rect">
              <a:avLst/>
            </a:prstGeom>
            <a:solidFill>
              <a:srgbClr val="7030A0"/>
            </a:solidFill>
            <a:ln w="25400" cap="flat" cmpd="sng" algn="ctr">
              <a:noFill/>
              <a:prstDash val="solid"/>
            </a:ln>
            <a:effectLst/>
          </p:spPr>
          <p:txBody>
            <a:bodyPr lIns="0" tIns="0" rIns="0" bIns="0" rtlCol="0" anchor="ctr"/>
            <a:lstStyle/>
            <a:p>
              <a:pPr algn="ctr" defTabSz="1218966">
                <a:defRPr/>
              </a:pPr>
              <a:r>
                <a:rPr lang="en-US" sz="900" kern="0">
                  <a:solidFill>
                    <a:schemeClr val="bg1"/>
                  </a:solidFill>
                  <a:latin typeface="Calibri"/>
                </a:rPr>
                <a:t>web:1</a:t>
              </a:r>
            </a:p>
            <a:p>
              <a:pPr algn="ctr" defTabSz="1218966">
                <a:defRPr/>
              </a:pPr>
              <a:r>
                <a:rPr lang="en-US" sz="600" kern="0">
                  <a:solidFill>
                    <a:schemeClr val="bg1"/>
                  </a:solidFill>
                  <a:latin typeface="Calibri"/>
                </a:rPr>
                <a:t>digest: 91e</a:t>
              </a:r>
            </a:p>
          </p:txBody>
        </p:sp>
      </p:grpSp>
      <p:grpSp>
        <p:nvGrpSpPr>
          <p:cNvPr id="1527" name="Group 1526"/>
          <p:cNvGrpSpPr/>
          <p:nvPr/>
        </p:nvGrpSpPr>
        <p:grpSpPr>
          <a:xfrm>
            <a:off x="10793567" y="1855078"/>
            <a:ext cx="721037" cy="444217"/>
            <a:chOff x="3240661" y="1005909"/>
            <a:chExt cx="540854" cy="333210"/>
          </a:xfrm>
        </p:grpSpPr>
        <p:grpSp>
          <p:nvGrpSpPr>
            <p:cNvPr id="1528" name="Group 1527"/>
            <p:cNvGrpSpPr/>
            <p:nvPr/>
          </p:nvGrpSpPr>
          <p:grpSpPr>
            <a:xfrm>
              <a:off x="3240661" y="1005909"/>
              <a:ext cx="540854" cy="333210"/>
              <a:chOff x="1926169" y="1632181"/>
              <a:chExt cx="540854" cy="333210"/>
            </a:xfrm>
          </p:grpSpPr>
          <p:sp>
            <p:nvSpPr>
              <p:cNvPr id="1530" name="Rectangle 1529"/>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31" name="Rectangle 1530"/>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1532" name="Group 1531"/>
              <p:cNvGrpSpPr/>
              <p:nvPr/>
            </p:nvGrpSpPr>
            <p:grpSpPr>
              <a:xfrm>
                <a:off x="1989961" y="1665409"/>
                <a:ext cx="413499" cy="266755"/>
                <a:chOff x="1371600" y="2038342"/>
                <a:chExt cx="609600" cy="393263"/>
              </a:xfrm>
            </p:grpSpPr>
            <p:cxnSp>
              <p:nvCxnSpPr>
                <p:cNvPr id="1536" name="Straight Connector 1535"/>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1537" name="Straight Connector 1536"/>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1538" name="Straight Connector 1537"/>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1539" name="Straight Connector 1538"/>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1540" name="Straight Connector 1539"/>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1541" name="Straight Connector 1540"/>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1542" name="Straight Connector 1541"/>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1543" name="Straight Connector 1542"/>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1544" name="Straight Connector 1543"/>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1533" name="Rectangle 1532"/>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34" name="Rectangle 1533"/>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35" name="Rectangle 1534"/>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1529" name="Rectangle 1528"/>
            <p:cNvSpPr/>
            <p:nvPr/>
          </p:nvSpPr>
          <p:spPr>
            <a:xfrm>
              <a:off x="3347642" y="1092724"/>
              <a:ext cx="324240" cy="164616"/>
            </a:xfrm>
            <a:prstGeom prst="rect">
              <a:avLst/>
            </a:prstGeom>
            <a:solidFill>
              <a:srgbClr val="FFC000"/>
            </a:solidFill>
            <a:ln w="25400" cap="flat" cmpd="sng" algn="ctr">
              <a:noFill/>
              <a:prstDash val="solid"/>
            </a:ln>
            <a:effectLst/>
          </p:spPr>
          <p:txBody>
            <a:bodyPr lIns="0" tIns="0" rIns="0" bIns="0" rtlCol="0" anchor="ctr"/>
            <a:lstStyle/>
            <a:p>
              <a:pPr algn="ctr" defTabSz="1218966">
                <a:defRPr/>
              </a:pPr>
              <a:r>
                <a:rPr lang="en-US" sz="900" kern="0">
                  <a:latin typeface="Calibri"/>
                </a:rPr>
                <a:t>quotes:1</a:t>
              </a:r>
            </a:p>
            <a:p>
              <a:pPr algn="ctr" defTabSz="1218966">
                <a:defRPr/>
              </a:pPr>
              <a:r>
                <a:rPr lang="en-US" sz="600" kern="0">
                  <a:latin typeface="Calibri"/>
                </a:rPr>
                <a:t>digest: u82</a:t>
              </a:r>
            </a:p>
          </p:txBody>
        </p:sp>
      </p:grpSp>
      <p:grpSp>
        <p:nvGrpSpPr>
          <p:cNvPr id="1653" name="Group 1652"/>
          <p:cNvGrpSpPr/>
          <p:nvPr/>
        </p:nvGrpSpPr>
        <p:grpSpPr>
          <a:xfrm>
            <a:off x="10793567" y="1449188"/>
            <a:ext cx="721037" cy="444217"/>
            <a:chOff x="3240661" y="1005909"/>
            <a:chExt cx="540854" cy="333210"/>
          </a:xfrm>
        </p:grpSpPr>
        <p:grpSp>
          <p:nvGrpSpPr>
            <p:cNvPr id="1654" name="Group 1653"/>
            <p:cNvGrpSpPr/>
            <p:nvPr/>
          </p:nvGrpSpPr>
          <p:grpSpPr>
            <a:xfrm>
              <a:off x="3240661" y="1005909"/>
              <a:ext cx="540854" cy="333210"/>
              <a:chOff x="1926169" y="1632181"/>
              <a:chExt cx="540854" cy="333210"/>
            </a:xfrm>
          </p:grpSpPr>
          <p:sp>
            <p:nvSpPr>
              <p:cNvPr id="1656" name="Rectangle 1655"/>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657" name="Rectangle 1656"/>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1658" name="Group 1657"/>
              <p:cNvGrpSpPr/>
              <p:nvPr/>
            </p:nvGrpSpPr>
            <p:grpSpPr>
              <a:xfrm>
                <a:off x="1989961" y="1665409"/>
                <a:ext cx="413499" cy="266755"/>
                <a:chOff x="1371600" y="2038342"/>
                <a:chExt cx="609600" cy="393263"/>
              </a:xfrm>
            </p:grpSpPr>
            <p:cxnSp>
              <p:nvCxnSpPr>
                <p:cNvPr id="1662" name="Straight Connector 1661"/>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1663" name="Straight Connector 1662"/>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1664" name="Straight Connector 1663"/>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1665" name="Straight Connector 1664"/>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1666" name="Straight Connector 1665"/>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1667" name="Straight Connector 1666"/>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1668" name="Straight Connector 1667"/>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1669" name="Straight Connector 1668"/>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1670" name="Straight Connector 1669"/>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1659" name="Rectangle 1658"/>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660" name="Rectangle 1659"/>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661" name="Rectangle 1660"/>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1655" name="Rectangle 1654"/>
            <p:cNvSpPr/>
            <p:nvPr/>
          </p:nvSpPr>
          <p:spPr>
            <a:xfrm>
              <a:off x="3347642" y="1092724"/>
              <a:ext cx="324240" cy="164616"/>
            </a:xfrm>
            <a:prstGeom prst="rect">
              <a:avLst/>
            </a:prstGeom>
            <a:solidFill>
              <a:srgbClr val="7030A0"/>
            </a:solidFill>
            <a:ln w="25400" cap="flat" cmpd="sng" algn="ctr">
              <a:noFill/>
              <a:prstDash val="solid"/>
            </a:ln>
            <a:effectLst/>
          </p:spPr>
          <p:txBody>
            <a:bodyPr lIns="0" tIns="0" rIns="0" bIns="0" rtlCol="0" anchor="ctr"/>
            <a:lstStyle/>
            <a:p>
              <a:pPr algn="ctr" defTabSz="1218966">
                <a:defRPr/>
              </a:pPr>
              <a:r>
                <a:rPr lang="en-US" sz="900" kern="0">
                  <a:solidFill>
                    <a:srgbClr val="FFFFFF"/>
                  </a:solidFill>
                  <a:latin typeface="Calibri"/>
                </a:rPr>
                <a:t>web:1</a:t>
              </a:r>
            </a:p>
            <a:p>
              <a:pPr algn="ctr" defTabSz="1218966">
                <a:defRPr/>
              </a:pPr>
              <a:r>
                <a:rPr lang="en-US" sz="600" kern="0">
                  <a:solidFill>
                    <a:srgbClr val="FFFFFF"/>
                  </a:solidFill>
                  <a:latin typeface="Calibri"/>
                </a:rPr>
                <a:t>digest: 91e</a:t>
              </a:r>
            </a:p>
          </p:txBody>
        </p:sp>
      </p:grpSp>
      <p:grpSp>
        <p:nvGrpSpPr>
          <p:cNvPr id="465" name="Group 464">
            <a:extLst>
              <a:ext uri="{FF2B5EF4-FFF2-40B4-BE49-F238E27FC236}">
                <a16:creationId xmlns:a16="http://schemas.microsoft.com/office/drawing/2014/main" id="{475AA5EA-0C4B-4B2A-9D3A-96115E1AB387}"/>
              </a:ext>
            </a:extLst>
          </p:cNvPr>
          <p:cNvGrpSpPr/>
          <p:nvPr/>
        </p:nvGrpSpPr>
        <p:grpSpPr>
          <a:xfrm>
            <a:off x="10793567" y="2257354"/>
            <a:ext cx="721037" cy="444217"/>
            <a:chOff x="3240661" y="1005909"/>
            <a:chExt cx="540854" cy="333210"/>
          </a:xfrm>
        </p:grpSpPr>
        <p:grpSp>
          <p:nvGrpSpPr>
            <p:cNvPr id="466" name="Group 465">
              <a:extLst>
                <a:ext uri="{FF2B5EF4-FFF2-40B4-BE49-F238E27FC236}">
                  <a16:creationId xmlns:a16="http://schemas.microsoft.com/office/drawing/2014/main" id="{77FF03CE-70EE-46CC-B4A7-31CF7340405B}"/>
                </a:ext>
              </a:extLst>
            </p:cNvPr>
            <p:cNvGrpSpPr/>
            <p:nvPr/>
          </p:nvGrpSpPr>
          <p:grpSpPr>
            <a:xfrm>
              <a:off x="3240661" y="1005909"/>
              <a:ext cx="540854" cy="333210"/>
              <a:chOff x="1926169" y="1632181"/>
              <a:chExt cx="540854" cy="333210"/>
            </a:xfrm>
          </p:grpSpPr>
          <p:sp>
            <p:nvSpPr>
              <p:cNvPr id="468" name="Rectangle 467">
                <a:extLst>
                  <a:ext uri="{FF2B5EF4-FFF2-40B4-BE49-F238E27FC236}">
                    <a16:creationId xmlns:a16="http://schemas.microsoft.com/office/drawing/2014/main" id="{D2C0B01D-6C39-416F-91E7-D30B348EE787}"/>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69" name="Rectangle 468">
                <a:extLst>
                  <a:ext uri="{FF2B5EF4-FFF2-40B4-BE49-F238E27FC236}">
                    <a16:creationId xmlns:a16="http://schemas.microsoft.com/office/drawing/2014/main" id="{C11CD01C-F256-45CC-A52E-B9BC44105154}"/>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470" name="Group 469">
                <a:extLst>
                  <a:ext uri="{FF2B5EF4-FFF2-40B4-BE49-F238E27FC236}">
                    <a16:creationId xmlns:a16="http://schemas.microsoft.com/office/drawing/2014/main" id="{DC9833C1-1C6A-42A7-84F1-60959CBE3850}"/>
                  </a:ext>
                </a:extLst>
              </p:cNvPr>
              <p:cNvGrpSpPr/>
              <p:nvPr/>
            </p:nvGrpSpPr>
            <p:grpSpPr>
              <a:xfrm>
                <a:off x="1989961" y="1665409"/>
                <a:ext cx="413499" cy="266755"/>
                <a:chOff x="1371600" y="2038342"/>
                <a:chExt cx="609600" cy="393263"/>
              </a:xfrm>
            </p:grpSpPr>
            <p:cxnSp>
              <p:nvCxnSpPr>
                <p:cNvPr id="474" name="Straight Connector 473">
                  <a:extLst>
                    <a:ext uri="{FF2B5EF4-FFF2-40B4-BE49-F238E27FC236}">
                      <a16:creationId xmlns:a16="http://schemas.microsoft.com/office/drawing/2014/main" id="{7CD64795-65A6-4DC5-AF64-F8AB86208890}"/>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475" name="Straight Connector 474">
                  <a:extLst>
                    <a:ext uri="{FF2B5EF4-FFF2-40B4-BE49-F238E27FC236}">
                      <a16:creationId xmlns:a16="http://schemas.microsoft.com/office/drawing/2014/main" id="{211A406C-E538-41F3-9494-6F511C0B9BED}"/>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476" name="Straight Connector 475">
                  <a:extLst>
                    <a:ext uri="{FF2B5EF4-FFF2-40B4-BE49-F238E27FC236}">
                      <a16:creationId xmlns:a16="http://schemas.microsoft.com/office/drawing/2014/main" id="{3C01A3EA-024D-4E90-94E8-B60004207DDE}"/>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477" name="Straight Connector 476">
                  <a:extLst>
                    <a:ext uri="{FF2B5EF4-FFF2-40B4-BE49-F238E27FC236}">
                      <a16:creationId xmlns:a16="http://schemas.microsoft.com/office/drawing/2014/main" id="{42188D58-100D-4654-88B8-4CD9C7498915}"/>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478" name="Straight Connector 477">
                  <a:extLst>
                    <a:ext uri="{FF2B5EF4-FFF2-40B4-BE49-F238E27FC236}">
                      <a16:creationId xmlns:a16="http://schemas.microsoft.com/office/drawing/2014/main" id="{B012AB88-E06C-4249-8318-C5BA8B062142}"/>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479" name="Straight Connector 478">
                  <a:extLst>
                    <a:ext uri="{FF2B5EF4-FFF2-40B4-BE49-F238E27FC236}">
                      <a16:creationId xmlns:a16="http://schemas.microsoft.com/office/drawing/2014/main" id="{AB2670C8-B639-4F6C-91DB-F03891A50743}"/>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480" name="Straight Connector 479">
                  <a:extLst>
                    <a:ext uri="{FF2B5EF4-FFF2-40B4-BE49-F238E27FC236}">
                      <a16:creationId xmlns:a16="http://schemas.microsoft.com/office/drawing/2014/main" id="{667648A5-247D-4123-AC81-535A36A80804}"/>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481" name="Straight Connector 480">
                  <a:extLst>
                    <a:ext uri="{FF2B5EF4-FFF2-40B4-BE49-F238E27FC236}">
                      <a16:creationId xmlns:a16="http://schemas.microsoft.com/office/drawing/2014/main" id="{71FFD68E-EFEF-467F-B3EB-E328D161FCDA}"/>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482" name="Straight Connector 481">
                  <a:extLst>
                    <a:ext uri="{FF2B5EF4-FFF2-40B4-BE49-F238E27FC236}">
                      <a16:creationId xmlns:a16="http://schemas.microsoft.com/office/drawing/2014/main" id="{5C5D7D6C-A5C3-4556-A23B-41E552C2595F}"/>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471" name="Rectangle 470">
                <a:extLst>
                  <a:ext uri="{FF2B5EF4-FFF2-40B4-BE49-F238E27FC236}">
                    <a16:creationId xmlns:a16="http://schemas.microsoft.com/office/drawing/2014/main" id="{3FE9DC63-9283-4363-9647-D9118D5026D4}"/>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72" name="Rectangle 471">
                <a:extLst>
                  <a:ext uri="{FF2B5EF4-FFF2-40B4-BE49-F238E27FC236}">
                    <a16:creationId xmlns:a16="http://schemas.microsoft.com/office/drawing/2014/main" id="{80C4AFD8-5054-45D5-A569-B8DD7ABF3A03}"/>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73" name="Rectangle 472">
                <a:extLst>
                  <a:ext uri="{FF2B5EF4-FFF2-40B4-BE49-F238E27FC236}">
                    <a16:creationId xmlns:a16="http://schemas.microsoft.com/office/drawing/2014/main" id="{48F5B254-5192-423B-AABC-92E1EFB360B3}"/>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467" name="Rectangle 466">
              <a:extLst>
                <a:ext uri="{FF2B5EF4-FFF2-40B4-BE49-F238E27FC236}">
                  <a16:creationId xmlns:a16="http://schemas.microsoft.com/office/drawing/2014/main" id="{7154BC75-ABEA-49E3-A497-E1B17EB3A40B}"/>
                </a:ext>
              </a:extLst>
            </p:cNvPr>
            <p:cNvSpPr/>
            <p:nvPr/>
          </p:nvSpPr>
          <p:spPr>
            <a:xfrm>
              <a:off x="3347642" y="1092724"/>
              <a:ext cx="324240" cy="16461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solidFill>
                    <a:srgbClr val="353535"/>
                  </a:solidFill>
                  <a:latin typeface="Calibri"/>
                </a:rPr>
                <a:t>important:1</a:t>
              </a:r>
            </a:p>
            <a:p>
              <a:pPr algn="ctr" defTabSz="1218966">
                <a:defRPr/>
              </a:pPr>
              <a:r>
                <a:rPr lang="en-US" sz="600" kern="0">
                  <a:solidFill>
                    <a:srgbClr val="353535"/>
                  </a:solidFill>
                  <a:latin typeface="Calibri"/>
                </a:rPr>
                <a:t>digest: 2re</a:t>
              </a:r>
            </a:p>
          </p:txBody>
        </p:sp>
      </p:grpSp>
      <p:grpSp>
        <p:nvGrpSpPr>
          <p:cNvPr id="485" name="Group 484">
            <a:extLst>
              <a:ext uri="{FF2B5EF4-FFF2-40B4-BE49-F238E27FC236}">
                <a16:creationId xmlns:a16="http://schemas.microsoft.com/office/drawing/2014/main" id="{0BDEFC2E-9795-4850-84B7-CC5396AB11EF}"/>
              </a:ext>
            </a:extLst>
          </p:cNvPr>
          <p:cNvGrpSpPr/>
          <p:nvPr/>
        </p:nvGrpSpPr>
        <p:grpSpPr>
          <a:xfrm>
            <a:off x="8721117" y="2806966"/>
            <a:ext cx="2828131" cy="1633396"/>
            <a:chOff x="4156030" y="3448050"/>
            <a:chExt cx="2060234" cy="1191294"/>
          </a:xfrm>
        </p:grpSpPr>
        <p:sp>
          <p:nvSpPr>
            <p:cNvPr id="486" name="Rectangle 485">
              <a:extLst>
                <a:ext uri="{FF2B5EF4-FFF2-40B4-BE49-F238E27FC236}">
                  <a16:creationId xmlns:a16="http://schemas.microsoft.com/office/drawing/2014/main" id="{35175F28-89CB-44DD-8447-39A0E3526FC1}"/>
                </a:ext>
              </a:extLst>
            </p:cNvPr>
            <p:cNvSpPr/>
            <p:nvPr/>
          </p:nvSpPr>
          <p:spPr>
            <a:xfrm>
              <a:off x="4156030" y="3562350"/>
              <a:ext cx="2060234" cy="1076994"/>
            </a:xfrm>
            <a:prstGeom prst="rect">
              <a:avLst/>
            </a:prstGeom>
            <a:solidFill>
              <a:srgbClr val="ADE5F9"/>
            </a:solidFill>
            <a:ln w="19050" cap="flat" cmpd="sng" algn="ctr">
              <a:solidFill>
                <a:srgbClr val="00506E"/>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87" name="Flowchart: Alternate Process 486">
              <a:extLst>
                <a:ext uri="{FF2B5EF4-FFF2-40B4-BE49-F238E27FC236}">
                  <a16:creationId xmlns:a16="http://schemas.microsoft.com/office/drawing/2014/main" id="{FA2EE260-CD29-4897-98F8-8A8A677A90AC}"/>
                </a:ext>
              </a:extLst>
            </p:cNvPr>
            <p:cNvSpPr/>
            <p:nvPr/>
          </p:nvSpPr>
          <p:spPr>
            <a:xfrm>
              <a:off x="4156030" y="3448050"/>
              <a:ext cx="1230039" cy="228600"/>
            </a:xfrm>
            <a:prstGeom prst="flowChartAlternateProcess">
              <a:avLst/>
            </a:prstGeom>
            <a:solidFill>
              <a:sysClr val="window" lastClr="FFFFFF"/>
            </a:solidFill>
            <a:ln w="19050" cap="flat" cmpd="sng" algn="ctr">
              <a:solidFill>
                <a:srgbClr val="00506E"/>
              </a:solidFill>
              <a:prstDash val="solid"/>
            </a:ln>
            <a:effectLst/>
          </p:spPr>
          <p:txBody>
            <a:bodyPr rtlCol="0" anchor="ctr"/>
            <a:lstStyle/>
            <a:p>
              <a:pPr defTabSz="1218966">
                <a:defRPr/>
              </a:pPr>
              <a:r>
                <a:rPr lang="en-US" sz="1467" b="1" kern="0">
                  <a:solidFill>
                    <a:prstClr val="black"/>
                  </a:solidFill>
                  <a:latin typeface="Lucida Console" panose="020B0609040504020204" pitchFamily="49" charset="0"/>
                </a:rPr>
                <a:t>HOST-B</a:t>
              </a:r>
            </a:p>
          </p:txBody>
        </p:sp>
      </p:grpSp>
      <p:grpSp>
        <p:nvGrpSpPr>
          <p:cNvPr id="488" name="Group 487">
            <a:extLst>
              <a:ext uri="{FF2B5EF4-FFF2-40B4-BE49-F238E27FC236}">
                <a16:creationId xmlns:a16="http://schemas.microsoft.com/office/drawing/2014/main" id="{5E374A9F-7554-4D4B-B49E-AA1FC686362E}"/>
              </a:ext>
            </a:extLst>
          </p:cNvPr>
          <p:cNvGrpSpPr/>
          <p:nvPr/>
        </p:nvGrpSpPr>
        <p:grpSpPr>
          <a:xfrm>
            <a:off x="10078518" y="3160240"/>
            <a:ext cx="721037" cy="444217"/>
            <a:chOff x="3240661" y="1005909"/>
            <a:chExt cx="540854" cy="333210"/>
          </a:xfrm>
        </p:grpSpPr>
        <p:grpSp>
          <p:nvGrpSpPr>
            <p:cNvPr id="489" name="Group 488">
              <a:extLst>
                <a:ext uri="{FF2B5EF4-FFF2-40B4-BE49-F238E27FC236}">
                  <a16:creationId xmlns:a16="http://schemas.microsoft.com/office/drawing/2014/main" id="{D97514C1-D6BC-417F-96CB-146968CC7CC8}"/>
                </a:ext>
              </a:extLst>
            </p:cNvPr>
            <p:cNvGrpSpPr/>
            <p:nvPr/>
          </p:nvGrpSpPr>
          <p:grpSpPr>
            <a:xfrm>
              <a:off x="3240661" y="1005909"/>
              <a:ext cx="540854" cy="333210"/>
              <a:chOff x="1926169" y="1632181"/>
              <a:chExt cx="540854" cy="333210"/>
            </a:xfrm>
          </p:grpSpPr>
          <p:sp>
            <p:nvSpPr>
              <p:cNvPr id="491" name="Rectangle 490">
                <a:extLst>
                  <a:ext uri="{FF2B5EF4-FFF2-40B4-BE49-F238E27FC236}">
                    <a16:creationId xmlns:a16="http://schemas.microsoft.com/office/drawing/2014/main" id="{26F32946-D678-4853-94FC-CC6290959649}"/>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92" name="Rectangle 491">
                <a:extLst>
                  <a:ext uri="{FF2B5EF4-FFF2-40B4-BE49-F238E27FC236}">
                    <a16:creationId xmlns:a16="http://schemas.microsoft.com/office/drawing/2014/main" id="{297262E3-8E21-4785-8A47-7903D232842E}"/>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493" name="Group 492">
                <a:extLst>
                  <a:ext uri="{FF2B5EF4-FFF2-40B4-BE49-F238E27FC236}">
                    <a16:creationId xmlns:a16="http://schemas.microsoft.com/office/drawing/2014/main" id="{0897AB46-1855-48CE-9D69-CEF10E12E318}"/>
                  </a:ext>
                </a:extLst>
              </p:cNvPr>
              <p:cNvGrpSpPr/>
              <p:nvPr/>
            </p:nvGrpSpPr>
            <p:grpSpPr>
              <a:xfrm>
                <a:off x="1989961" y="1665409"/>
                <a:ext cx="413499" cy="266755"/>
                <a:chOff x="1371600" y="2038342"/>
                <a:chExt cx="609600" cy="393263"/>
              </a:xfrm>
            </p:grpSpPr>
            <p:cxnSp>
              <p:nvCxnSpPr>
                <p:cNvPr id="497" name="Straight Connector 496">
                  <a:extLst>
                    <a:ext uri="{FF2B5EF4-FFF2-40B4-BE49-F238E27FC236}">
                      <a16:creationId xmlns:a16="http://schemas.microsoft.com/office/drawing/2014/main" id="{7B92D8E9-1840-4E9F-9517-AA53DFA96FD5}"/>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498" name="Straight Connector 497">
                  <a:extLst>
                    <a:ext uri="{FF2B5EF4-FFF2-40B4-BE49-F238E27FC236}">
                      <a16:creationId xmlns:a16="http://schemas.microsoft.com/office/drawing/2014/main" id="{E2A3B3F2-3DDF-4ED2-89FD-7679D9DFEAEA}"/>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499" name="Straight Connector 498">
                  <a:extLst>
                    <a:ext uri="{FF2B5EF4-FFF2-40B4-BE49-F238E27FC236}">
                      <a16:creationId xmlns:a16="http://schemas.microsoft.com/office/drawing/2014/main" id="{B2947C88-1DE0-4081-A4CD-1DBC2BF450CB}"/>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500" name="Straight Connector 499">
                  <a:extLst>
                    <a:ext uri="{FF2B5EF4-FFF2-40B4-BE49-F238E27FC236}">
                      <a16:creationId xmlns:a16="http://schemas.microsoft.com/office/drawing/2014/main" id="{1D93822E-5D21-4CCA-8A66-8E951ADFB6AB}"/>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501" name="Straight Connector 500">
                  <a:extLst>
                    <a:ext uri="{FF2B5EF4-FFF2-40B4-BE49-F238E27FC236}">
                      <a16:creationId xmlns:a16="http://schemas.microsoft.com/office/drawing/2014/main" id="{27BA85C7-E1BB-4A50-A262-9766E697D1B9}"/>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502" name="Straight Connector 501">
                  <a:extLst>
                    <a:ext uri="{FF2B5EF4-FFF2-40B4-BE49-F238E27FC236}">
                      <a16:creationId xmlns:a16="http://schemas.microsoft.com/office/drawing/2014/main" id="{F0D6B110-466F-479D-B8D5-B3CE473BDF90}"/>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503" name="Straight Connector 502">
                  <a:extLst>
                    <a:ext uri="{FF2B5EF4-FFF2-40B4-BE49-F238E27FC236}">
                      <a16:creationId xmlns:a16="http://schemas.microsoft.com/office/drawing/2014/main" id="{57B651C4-B62B-4089-A862-7C82ECBF8032}"/>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504" name="Straight Connector 503">
                  <a:extLst>
                    <a:ext uri="{FF2B5EF4-FFF2-40B4-BE49-F238E27FC236}">
                      <a16:creationId xmlns:a16="http://schemas.microsoft.com/office/drawing/2014/main" id="{7EF961D9-808C-4995-A670-4D237D166FCE}"/>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505" name="Straight Connector 504">
                  <a:extLst>
                    <a:ext uri="{FF2B5EF4-FFF2-40B4-BE49-F238E27FC236}">
                      <a16:creationId xmlns:a16="http://schemas.microsoft.com/office/drawing/2014/main" id="{EB2C0646-5D83-4142-BC63-602E959AE995}"/>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494" name="Rectangle 493">
                <a:extLst>
                  <a:ext uri="{FF2B5EF4-FFF2-40B4-BE49-F238E27FC236}">
                    <a16:creationId xmlns:a16="http://schemas.microsoft.com/office/drawing/2014/main" id="{AA4C2DF3-FAE9-43CC-AD46-0B6A5CEC42DC}"/>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95" name="Rectangle 494">
                <a:extLst>
                  <a:ext uri="{FF2B5EF4-FFF2-40B4-BE49-F238E27FC236}">
                    <a16:creationId xmlns:a16="http://schemas.microsoft.com/office/drawing/2014/main" id="{927AB000-ACE5-4392-944B-89117161463C}"/>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96" name="Rectangle 495">
                <a:extLst>
                  <a:ext uri="{FF2B5EF4-FFF2-40B4-BE49-F238E27FC236}">
                    <a16:creationId xmlns:a16="http://schemas.microsoft.com/office/drawing/2014/main" id="{1728DB70-7C84-441D-B125-3C2A57701682}"/>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490" name="Rectangle 489">
              <a:extLst>
                <a:ext uri="{FF2B5EF4-FFF2-40B4-BE49-F238E27FC236}">
                  <a16:creationId xmlns:a16="http://schemas.microsoft.com/office/drawing/2014/main" id="{7A19CA2A-57BC-4DFD-8EE2-721F49AA95FC}"/>
                </a:ext>
              </a:extLst>
            </p:cNvPr>
            <p:cNvSpPr/>
            <p:nvPr/>
          </p:nvSpPr>
          <p:spPr>
            <a:xfrm>
              <a:off x="3347642" y="1092724"/>
              <a:ext cx="324240" cy="164616"/>
            </a:xfrm>
            <a:prstGeom prst="rect">
              <a:avLst/>
            </a:prstGeom>
            <a:solidFill>
              <a:srgbClr val="FFC000"/>
            </a:solidFill>
            <a:ln w="25400" cap="flat" cmpd="sng" algn="ctr">
              <a:noFill/>
              <a:prstDash val="solid"/>
            </a:ln>
            <a:effectLst/>
          </p:spPr>
          <p:txBody>
            <a:bodyPr lIns="0" tIns="0" rIns="0" bIns="0" rtlCol="0" anchor="ctr"/>
            <a:lstStyle/>
            <a:p>
              <a:pPr algn="ctr" defTabSz="1218966">
                <a:defRPr/>
              </a:pPr>
              <a:r>
                <a:rPr lang="en-US" sz="900" kern="0">
                  <a:solidFill>
                    <a:srgbClr val="353535"/>
                  </a:solidFill>
                  <a:latin typeface="Calibri"/>
                </a:rPr>
                <a:t>quotes:1</a:t>
              </a:r>
            </a:p>
            <a:p>
              <a:pPr algn="ctr" defTabSz="1218966">
                <a:defRPr/>
              </a:pPr>
              <a:r>
                <a:rPr lang="en-US" sz="600" kern="0">
                  <a:solidFill>
                    <a:srgbClr val="353535"/>
                  </a:solidFill>
                  <a:latin typeface="Calibri"/>
                </a:rPr>
                <a:t>digest: u82</a:t>
              </a:r>
            </a:p>
          </p:txBody>
        </p:sp>
      </p:grpSp>
      <p:grpSp>
        <p:nvGrpSpPr>
          <p:cNvPr id="506" name="Group 505">
            <a:extLst>
              <a:ext uri="{FF2B5EF4-FFF2-40B4-BE49-F238E27FC236}">
                <a16:creationId xmlns:a16="http://schemas.microsoft.com/office/drawing/2014/main" id="{451B42A7-4222-4E1F-B4DD-D73A318CC308}"/>
              </a:ext>
            </a:extLst>
          </p:cNvPr>
          <p:cNvGrpSpPr/>
          <p:nvPr/>
        </p:nvGrpSpPr>
        <p:grpSpPr>
          <a:xfrm>
            <a:off x="10078518" y="3563065"/>
            <a:ext cx="721037" cy="444217"/>
            <a:chOff x="3240661" y="1005909"/>
            <a:chExt cx="540854" cy="333210"/>
          </a:xfrm>
        </p:grpSpPr>
        <p:grpSp>
          <p:nvGrpSpPr>
            <p:cNvPr id="507" name="Group 506">
              <a:extLst>
                <a:ext uri="{FF2B5EF4-FFF2-40B4-BE49-F238E27FC236}">
                  <a16:creationId xmlns:a16="http://schemas.microsoft.com/office/drawing/2014/main" id="{A2A00BAB-1B5B-4EE8-80B1-84920AEABE2E}"/>
                </a:ext>
              </a:extLst>
            </p:cNvPr>
            <p:cNvGrpSpPr/>
            <p:nvPr/>
          </p:nvGrpSpPr>
          <p:grpSpPr>
            <a:xfrm>
              <a:off x="3240661" y="1005909"/>
              <a:ext cx="540854" cy="333210"/>
              <a:chOff x="1926169" y="1632181"/>
              <a:chExt cx="540854" cy="333210"/>
            </a:xfrm>
          </p:grpSpPr>
          <p:sp>
            <p:nvSpPr>
              <p:cNvPr id="509" name="Rectangle 508">
                <a:extLst>
                  <a:ext uri="{FF2B5EF4-FFF2-40B4-BE49-F238E27FC236}">
                    <a16:creationId xmlns:a16="http://schemas.microsoft.com/office/drawing/2014/main" id="{E22626DA-157A-4E8F-8673-B05751BC96F1}"/>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10" name="Rectangle 509">
                <a:extLst>
                  <a:ext uri="{FF2B5EF4-FFF2-40B4-BE49-F238E27FC236}">
                    <a16:creationId xmlns:a16="http://schemas.microsoft.com/office/drawing/2014/main" id="{CD2111F8-AF69-4A84-B57F-DDB7F608E1A3}"/>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511" name="Group 510">
                <a:extLst>
                  <a:ext uri="{FF2B5EF4-FFF2-40B4-BE49-F238E27FC236}">
                    <a16:creationId xmlns:a16="http://schemas.microsoft.com/office/drawing/2014/main" id="{4B79937C-A412-41F3-8B30-73971B3659A2}"/>
                  </a:ext>
                </a:extLst>
              </p:cNvPr>
              <p:cNvGrpSpPr/>
              <p:nvPr/>
            </p:nvGrpSpPr>
            <p:grpSpPr>
              <a:xfrm>
                <a:off x="1989961" y="1665409"/>
                <a:ext cx="413499" cy="266755"/>
                <a:chOff x="1371600" y="2038342"/>
                <a:chExt cx="609600" cy="393263"/>
              </a:xfrm>
            </p:grpSpPr>
            <p:cxnSp>
              <p:nvCxnSpPr>
                <p:cNvPr id="515" name="Straight Connector 514">
                  <a:extLst>
                    <a:ext uri="{FF2B5EF4-FFF2-40B4-BE49-F238E27FC236}">
                      <a16:creationId xmlns:a16="http://schemas.microsoft.com/office/drawing/2014/main" id="{29216E48-6C43-499C-9468-1008CA450C3D}"/>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516" name="Straight Connector 515">
                  <a:extLst>
                    <a:ext uri="{FF2B5EF4-FFF2-40B4-BE49-F238E27FC236}">
                      <a16:creationId xmlns:a16="http://schemas.microsoft.com/office/drawing/2014/main" id="{D6F385A9-35F6-4265-9BD3-11C8AC0D8565}"/>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517" name="Straight Connector 516">
                  <a:extLst>
                    <a:ext uri="{FF2B5EF4-FFF2-40B4-BE49-F238E27FC236}">
                      <a16:creationId xmlns:a16="http://schemas.microsoft.com/office/drawing/2014/main" id="{A41127C7-B6D2-4525-8131-685D8CB76FEC}"/>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518" name="Straight Connector 517">
                  <a:extLst>
                    <a:ext uri="{FF2B5EF4-FFF2-40B4-BE49-F238E27FC236}">
                      <a16:creationId xmlns:a16="http://schemas.microsoft.com/office/drawing/2014/main" id="{C6B8CDD7-694F-4D66-B4E1-28954D941511}"/>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519" name="Straight Connector 518">
                  <a:extLst>
                    <a:ext uri="{FF2B5EF4-FFF2-40B4-BE49-F238E27FC236}">
                      <a16:creationId xmlns:a16="http://schemas.microsoft.com/office/drawing/2014/main" id="{E0D9BC4C-3B44-4C71-A51F-B9FC64E9193A}"/>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520" name="Straight Connector 519">
                  <a:extLst>
                    <a:ext uri="{FF2B5EF4-FFF2-40B4-BE49-F238E27FC236}">
                      <a16:creationId xmlns:a16="http://schemas.microsoft.com/office/drawing/2014/main" id="{2508F89E-B9E0-4D4F-99E0-06B7D9C89411}"/>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521" name="Straight Connector 520">
                  <a:extLst>
                    <a:ext uri="{FF2B5EF4-FFF2-40B4-BE49-F238E27FC236}">
                      <a16:creationId xmlns:a16="http://schemas.microsoft.com/office/drawing/2014/main" id="{DCC1A7C8-3FBF-49D2-B198-063B9347AB74}"/>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522" name="Straight Connector 521">
                  <a:extLst>
                    <a:ext uri="{FF2B5EF4-FFF2-40B4-BE49-F238E27FC236}">
                      <a16:creationId xmlns:a16="http://schemas.microsoft.com/office/drawing/2014/main" id="{7A73A6FE-11BE-4EB5-9F7E-73AA9FBA9AD4}"/>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523" name="Straight Connector 522">
                  <a:extLst>
                    <a:ext uri="{FF2B5EF4-FFF2-40B4-BE49-F238E27FC236}">
                      <a16:creationId xmlns:a16="http://schemas.microsoft.com/office/drawing/2014/main" id="{7E0C1F0A-92A6-490A-9B57-12A2760FB1CA}"/>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512" name="Rectangle 511">
                <a:extLst>
                  <a:ext uri="{FF2B5EF4-FFF2-40B4-BE49-F238E27FC236}">
                    <a16:creationId xmlns:a16="http://schemas.microsoft.com/office/drawing/2014/main" id="{153F2403-904E-4F8F-A0E0-A4C1E3F0B859}"/>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13" name="Rectangle 512">
                <a:extLst>
                  <a:ext uri="{FF2B5EF4-FFF2-40B4-BE49-F238E27FC236}">
                    <a16:creationId xmlns:a16="http://schemas.microsoft.com/office/drawing/2014/main" id="{D81B29A6-A8F5-48F1-B781-53D66847E77E}"/>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14" name="Rectangle 513">
                <a:extLst>
                  <a:ext uri="{FF2B5EF4-FFF2-40B4-BE49-F238E27FC236}">
                    <a16:creationId xmlns:a16="http://schemas.microsoft.com/office/drawing/2014/main" id="{7FD056EE-0AF9-4D52-977F-ACFC2A8EC38E}"/>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508" name="Rectangle 507">
              <a:extLst>
                <a:ext uri="{FF2B5EF4-FFF2-40B4-BE49-F238E27FC236}">
                  <a16:creationId xmlns:a16="http://schemas.microsoft.com/office/drawing/2014/main" id="{9D1FAD10-845B-424C-A1BA-135BC74DCEEB}"/>
                </a:ext>
              </a:extLst>
            </p:cNvPr>
            <p:cNvSpPr/>
            <p:nvPr/>
          </p:nvSpPr>
          <p:spPr>
            <a:xfrm>
              <a:off x="3347642" y="1092724"/>
              <a:ext cx="324240" cy="16461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solidFill>
                    <a:srgbClr val="353535"/>
                  </a:solidFill>
                  <a:latin typeface="Calibri"/>
                </a:rPr>
                <a:t>important:1</a:t>
              </a:r>
            </a:p>
            <a:p>
              <a:pPr algn="ctr" defTabSz="1218966">
                <a:defRPr/>
              </a:pPr>
              <a:r>
                <a:rPr lang="en-US" sz="600" kern="0">
                  <a:solidFill>
                    <a:srgbClr val="353535"/>
                  </a:solidFill>
                  <a:latin typeface="Calibri"/>
                </a:rPr>
                <a:t>digest: 2re</a:t>
              </a:r>
            </a:p>
          </p:txBody>
        </p:sp>
      </p:grpSp>
      <p:grpSp>
        <p:nvGrpSpPr>
          <p:cNvPr id="542" name="Group 541">
            <a:extLst>
              <a:ext uri="{FF2B5EF4-FFF2-40B4-BE49-F238E27FC236}">
                <a16:creationId xmlns:a16="http://schemas.microsoft.com/office/drawing/2014/main" id="{48AE373A-CF84-48A3-94E7-9BDA85F97B31}"/>
              </a:ext>
            </a:extLst>
          </p:cNvPr>
          <p:cNvGrpSpPr/>
          <p:nvPr/>
        </p:nvGrpSpPr>
        <p:grpSpPr>
          <a:xfrm>
            <a:off x="10800803" y="3160240"/>
            <a:ext cx="721037" cy="444217"/>
            <a:chOff x="3240661" y="1005909"/>
            <a:chExt cx="540854" cy="333210"/>
          </a:xfrm>
        </p:grpSpPr>
        <p:grpSp>
          <p:nvGrpSpPr>
            <p:cNvPr id="543" name="Group 542">
              <a:extLst>
                <a:ext uri="{FF2B5EF4-FFF2-40B4-BE49-F238E27FC236}">
                  <a16:creationId xmlns:a16="http://schemas.microsoft.com/office/drawing/2014/main" id="{2F639D5D-9039-46D5-83F0-1A1CE98D7288}"/>
                </a:ext>
              </a:extLst>
            </p:cNvPr>
            <p:cNvGrpSpPr/>
            <p:nvPr/>
          </p:nvGrpSpPr>
          <p:grpSpPr>
            <a:xfrm>
              <a:off x="3240661" y="1005909"/>
              <a:ext cx="540854" cy="333210"/>
              <a:chOff x="1926169" y="1632181"/>
              <a:chExt cx="540854" cy="333210"/>
            </a:xfrm>
          </p:grpSpPr>
          <p:sp>
            <p:nvSpPr>
              <p:cNvPr id="545" name="Rectangle 544">
                <a:extLst>
                  <a:ext uri="{FF2B5EF4-FFF2-40B4-BE49-F238E27FC236}">
                    <a16:creationId xmlns:a16="http://schemas.microsoft.com/office/drawing/2014/main" id="{5D1CD045-3195-469C-AA31-034871DF91D2}"/>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46" name="Rectangle 545">
                <a:extLst>
                  <a:ext uri="{FF2B5EF4-FFF2-40B4-BE49-F238E27FC236}">
                    <a16:creationId xmlns:a16="http://schemas.microsoft.com/office/drawing/2014/main" id="{37449C19-D094-4437-BFEA-8A80F3DB7842}"/>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547" name="Group 546">
                <a:extLst>
                  <a:ext uri="{FF2B5EF4-FFF2-40B4-BE49-F238E27FC236}">
                    <a16:creationId xmlns:a16="http://schemas.microsoft.com/office/drawing/2014/main" id="{030DD284-108B-4E80-9543-2A83F5A42B0D}"/>
                  </a:ext>
                </a:extLst>
              </p:cNvPr>
              <p:cNvGrpSpPr/>
              <p:nvPr/>
            </p:nvGrpSpPr>
            <p:grpSpPr>
              <a:xfrm>
                <a:off x="1989961" y="1665409"/>
                <a:ext cx="413499" cy="266755"/>
                <a:chOff x="1371600" y="2038342"/>
                <a:chExt cx="609600" cy="393263"/>
              </a:xfrm>
            </p:grpSpPr>
            <p:cxnSp>
              <p:nvCxnSpPr>
                <p:cNvPr id="551" name="Straight Connector 550">
                  <a:extLst>
                    <a:ext uri="{FF2B5EF4-FFF2-40B4-BE49-F238E27FC236}">
                      <a16:creationId xmlns:a16="http://schemas.microsoft.com/office/drawing/2014/main" id="{65DD3C41-1ED9-4AF2-9C18-0AF06D4C7987}"/>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552" name="Straight Connector 551">
                  <a:extLst>
                    <a:ext uri="{FF2B5EF4-FFF2-40B4-BE49-F238E27FC236}">
                      <a16:creationId xmlns:a16="http://schemas.microsoft.com/office/drawing/2014/main" id="{E44630E5-DEC0-40D8-8C00-8B98F6DF2943}"/>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553" name="Straight Connector 552">
                  <a:extLst>
                    <a:ext uri="{FF2B5EF4-FFF2-40B4-BE49-F238E27FC236}">
                      <a16:creationId xmlns:a16="http://schemas.microsoft.com/office/drawing/2014/main" id="{3F7DB5C4-BE31-4484-84A8-0F628783607E}"/>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554" name="Straight Connector 553">
                  <a:extLst>
                    <a:ext uri="{FF2B5EF4-FFF2-40B4-BE49-F238E27FC236}">
                      <a16:creationId xmlns:a16="http://schemas.microsoft.com/office/drawing/2014/main" id="{E4FDFA14-888D-48EC-A0AC-520FA7A59696}"/>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555" name="Straight Connector 554">
                  <a:extLst>
                    <a:ext uri="{FF2B5EF4-FFF2-40B4-BE49-F238E27FC236}">
                      <a16:creationId xmlns:a16="http://schemas.microsoft.com/office/drawing/2014/main" id="{7A79F771-0FC3-4D21-8721-ACC3088F637F}"/>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556" name="Straight Connector 555">
                  <a:extLst>
                    <a:ext uri="{FF2B5EF4-FFF2-40B4-BE49-F238E27FC236}">
                      <a16:creationId xmlns:a16="http://schemas.microsoft.com/office/drawing/2014/main" id="{7CD85CDB-48E4-4D69-B2F9-9F75F239BAA0}"/>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557" name="Straight Connector 556">
                  <a:extLst>
                    <a:ext uri="{FF2B5EF4-FFF2-40B4-BE49-F238E27FC236}">
                      <a16:creationId xmlns:a16="http://schemas.microsoft.com/office/drawing/2014/main" id="{EB02981D-3FF3-41B9-B058-A66C3C5CFBA1}"/>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558" name="Straight Connector 557">
                  <a:extLst>
                    <a:ext uri="{FF2B5EF4-FFF2-40B4-BE49-F238E27FC236}">
                      <a16:creationId xmlns:a16="http://schemas.microsoft.com/office/drawing/2014/main" id="{CCE3B17A-DE9B-482F-BED0-B1E72C1A8A3F}"/>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559" name="Straight Connector 558">
                  <a:extLst>
                    <a:ext uri="{FF2B5EF4-FFF2-40B4-BE49-F238E27FC236}">
                      <a16:creationId xmlns:a16="http://schemas.microsoft.com/office/drawing/2014/main" id="{2C6F5BC7-EEA8-4474-B2C4-A56A992DDC6C}"/>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548" name="Rectangle 547">
                <a:extLst>
                  <a:ext uri="{FF2B5EF4-FFF2-40B4-BE49-F238E27FC236}">
                    <a16:creationId xmlns:a16="http://schemas.microsoft.com/office/drawing/2014/main" id="{C42D1F18-B5F3-400D-A808-7A0C60162665}"/>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49" name="Rectangle 548">
                <a:extLst>
                  <a:ext uri="{FF2B5EF4-FFF2-40B4-BE49-F238E27FC236}">
                    <a16:creationId xmlns:a16="http://schemas.microsoft.com/office/drawing/2014/main" id="{25747267-AD52-488C-8CCE-B27B0226BD15}"/>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50" name="Rectangle 549">
                <a:extLst>
                  <a:ext uri="{FF2B5EF4-FFF2-40B4-BE49-F238E27FC236}">
                    <a16:creationId xmlns:a16="http://schemas.microsoft.com/office/drawing/2014/main" id="{847F612D-BB00-48D6-AC71-307CC8FEF000}"/>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544" name="Rectangle 543">
              <a:extLst>
                <a:ext uri="{FF2B5EF4-FFF2-40B4-BE49-F238E27FC236}">
                  <a16:creationId xmlns:a16="http://schemas.microsoft.com/office/drawing/2014/main" id="{B38E0E55-D73C-425F-91A4-9D94580988B7}"/>
                </a:ext>
              </a:extLst>
            </p:cNvPr>
            <p:cNvSpPr/>
            <p:nvPr/>
          </p:nvSpPr>
          <p:spPr>
            <a:xfrm>
              <a:off x="3347642" y="1092724"/>
              <a:ext cx="324240" cy="164616"/>
            </a:xfrm>
            <a:prstGeom prst="rect">
              <a:avLst/>
            </a:prstGeom>
            <a:solidFill>
              <a:srgbClr val="FFC000"/>
            </a:solidFill>
            <a:ln w="25400" cap="flat" cmpd="sng" algn="ctr">
              <a:noFill/>
              <a:prstDash val="solid"/>
            </a:ln>
            <a:effectLst/>
          </p:spPr>
          <p:txBody>
            <a:bodyPr lIns="0" tIns="0" rIns="0" bIns="0" rtlCol="0" anchor="ctr"/>
            <a:lstStyle/>
            <a:p>
              <a:pPr algn="ctr" defTabSz="1218966">
                <a:defRPr/>
              </a:pPr>
              <a:r>
                <a:rPr lang="en-US" sz="900" kern="0">
                  <a:solidFill>
                    <a:srgbClr val="353535"/>
                  </a:solidFill>
                  <a:latin typeface="Calibri"/>
                </a:rPr>
                <a:t>quotes:1</a:t>
              </a:r>
            </a:p>
            <a:p>
              <a:pPr algn="ctr" defTabSz="1218966">
                <a:defRPr/>
              </a:pPr>
              <a:r>
                <a:rPr lang="en-US" sz="600" kern="0">
                  <a:solidFill>
                    <a:srgbClr val="353535"/>
                  </a:solidFill>
                  <a:latin typeface="Calibri"/>
                </a:rPr>
                <a:t>digest: u82</a:t>
              </a:r>
            </a:p>
          </p:txBody>
        </p:sp>
      </p:grpSp>
      <p:grpSp>
        <p:nvGrpSpPr>
          <p:cNvPr id="578" name="Group 577">
            <a:extLst>
              <a:ext uri="{FF2B5EF4-FFF2-40B4-BE49-F238E27FC236}">
                <a16:creationId xmlns:a16="http://schemas.microsoft.com/office/drawing/2014/main" id="{C24CB6A1-2858-49B4-86F0-43B9F66A8BE3}"/>
              </a:ext>
            </a:extLst>
          </p:cNvPr>
          <p:cNvGrpSpPr/>
          <p:nvPr/>
        </p:nvGrpSpPr>
        <p:grpSpPr>
          <a:xfrm>
            <a:off x="10800803" y="3562516"/>
            <a:ext cx="721037" cy="444217"/>
            <a:chOff x="3240661" y="1005909"/>
            <a:chExt cx="540854" cy="333210"/>
          </a:xfrm>
        </p:grpSpPr>
        <p:grpSp>
          <p:nvGrpSpPr>
            <p:cNvPr id="579" name="Group 578">
              <a:extLst>
                <a:ext uri="{FF2B5EF4-FFF2-40B4-BE49-F238E27FC236}">
                  <a16:creationId xmlns:a16="http://schemas.microsoft.com/office/drawing/2014/main" id="{680836AE-D2C6-493B-AB8C-4147193B42AC}"/>
                </a:ext>
              </a:extLst>
            </p:cNvPr>
            <p:cNvGrpSpPr/>
            <p:nvPr/>
          </p:nvGrpSpPr>
          <p:grpSpPr>
            <a:xfrm>
              <a:off x="3240661" y="1005909"/>
              <a:ext cx="540854" cy="333210"/>
              <a:chOff x="1926169" y="1632181"/>
              <a:chExt cx="540854" cy="333210"/>
            </a:xfrm>
          </p:grpSpPr>
          <p:sp>
            <p:nvSpPr>
              <p:cNvPr id="581" name="Rectangle 580">
                <a:extLst>
                  <a:ext uri="{FF2B5EF4-FFF2-40B4-BE49-F238E27FC236}">
                    <a16:creationId xmlns:a16="http://schemas.microsoft.com/office/drawing/2014/main" id="{9CBC11BA-C081-42F1-B718-7847665AEEA0}"/>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82" name="Rectangle 581">
                <a:extLst>
                  <a:ext uri="{FF2B5EF4-FFF2-40B4-BE49-F238E27FC236}">
                    <a16:creationId xmlns:a16="http://schemas.microsoft.com/office/drawing/2014/main" id="{C109340A-D0D6-40BA-B18A-00B3CA9131D3}"/>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583" name="Group 582">
                <a:extLst>
                  <a:ext uri="{FF2B5EF4-FFF2-40B4-BE49-F238E27FC236}">
                    <a16:creationId xmlns:a16="http://schemas.microsoft.com/office/drawing/2014/main" id="{3792D254-EB20-474A-8E2C-617663FA48DF}"/>
                  </a:ext>
                </a:extLst>
              </p:cNvPr>
              <p:cNvGrpSpPr/>
              <p:nvPr/>
            </p:nvGrpSpPr>
            <p:grpSpPr>
              <a:xfrm>
                <a:off x="1989961" y="1665409"/>
                <a:ext cx="413499" cy="266755"/>
                <a:chOff x="1371600" y="2038342"/>
                <a:chExt cx="609600" cy="393263"/>
              </a:xfrm>
            </p:grpSpPr>
            <p:cxnSp>
              <p:nvCxnSpPr>
                <p:cNvPr id="587" name="Straight Connector 586">
                  <a:extLst>
                    <a:ext uri="{FF2B5EF4-FFF2-40B4-BE49-F238E27FC236}">
                      <a16:creationId xmlns:a16="http://schemas.microsoft.com/office/drawing/2014/main" id="{D65EA43A-BB68-46CD-A1A9-B7CE6C2B0911}"/>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588" name="Straight Connector 587">
                  <a:extLst>
                    <a:ext uri="{FF2B5EF4-FFF2-40B4-BE49-F238E27FC236}">
                      <a16:creationId xmlns:a16="http://schemas.microsoft.com/office/drawing/2014/main" id="{A01AD31F-17CB-4597-A884-D1D26090E825}"/>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589" name="Straight Connector 588">
                  <a:extLst>
                    <a:ext uri="{FF2B5EF4-FFF2-40B4-BE49-F238E27FC236}">
                      <a16:creationId xmlns:a16="http://schemas.microsoft.com/office/drawing/2014/main" id="{D187A2EE-CAEF-4618-855F-9FAACC74F005}"/>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590" name="Straight Connector 589">
                  <a:extLst>
                    <a:ext uri="{FF2B5EF4-FFF2-40B4-BE49-F238E27FC236}">
                      <a16:creationId xmlns:a16="http://schemas.microsoft.com/office/drawing/2014/main" id="{58FAAD5D-A7AC-4F93-9AC0-0030715C0CC3}"/>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591" name="Straight Connector 590">
                  <a:extLst>
                    <a:ext uri="{FF2B5EF4-FFF2-40B4-BE49-F238E27FC236}">
                      <a16:creationId xmlns:a16="http://schemas.microsoft.com/office/drawing/2014/main" id="{A97CCFA3-425C-49E4-AA85-E7F722E360C9}"/>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592" name="Straight Connector 591">
                  <a:extLst>
                    <a:ext uri="{FF2B5EF4-FFF2-40B4-BE49-F238E27FC236}">
                      <a16:creationId xmlns:a16="http://schemas.microsoft.com/office/drawing/2014/main" id="{D9319882-8B45-4DC3-839F-D14E7A5EAA1B}"/>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593" name="Straight Connector 592">
                  <a:extLst>
                    <a:ext uri="{FF2B5EF4-FFF2-40B4-BE49-F238E27FC236}">
                      <a16:creationId xmlns:a16="http://schemas.microsoft.com/office/drawing/2014/main" id="{0EAD0812-17B9-437B-823E-3722EFDA67BD}"/>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594" name="Straight Connector 593">
                  <a:extLst>
                    <a:ext uri="{FF2B5EF4-FFF2-40B4-BE49-F238E27FC236}">
                      <a16:creationId xmlns:a16="http://schemas.microsoft.com/office/drawing/2014/main" id="{9ED33E77-01BE-4F74-86BC-AF3F7B5F5F2B}"/>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595" name="Straight Connector 594">
                  <a:extLst>
                    <a:ext uri="{FF2B5EF4-FFF2-40B4-BE49-F238E27FC236}">
                      <a16:creationId xmlns:a16="http://schemas.microsoft.com/office/drawing/2014/main" id="{744ECBF2-861D-410C-9EA7-D3632F961EB5}"/>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584" name="Rectangle 583">
                <a:extLst>
                  <a:ext uri="{FF2B5EF4-FFF2-40B4-BE49-F238E27FC236}">
                    <a16:creationId xmlns:a16="http://schemas.microsoft.com/office/drawing/2014/main" id="{8A3732E4-1DD1-4659-B4B1-FD4F553A0CBD}"/>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85" name="Rectangle 584">
                <a:extLst>
                  <a:ext uri="{FF2B5EF4-FFF2-40B4-BE49-F238E27FC236}">
                    <a16:creationId xmlns:a16="http://schemas.microsoft.com/office/drawing/2014/main" id="{35C9C433-26FA-49C0-8394-9B95F5FCD4C8}"/>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86" name="Rectangle 585">
                <a:extLst>
                  <a:ext uri="{FF2B5EF4-FFF2-40B4-BE49-F238E27FC236}">
                    <a16:creationId xmlns:a16="http://schemas.microsoft.com/office/drawing/2014/main" id="{FFEAD984-8318-406F-AEA8-4E0587D2AC2F}"/>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580" name="Rectangle 579">
              <a:extLst>
                <a:ext uri="{FF2B5EF4-FFF2-40B4-BE49-F238E27FC236}">
                  <a16:creationId xmlns:a16="http://schemas.microsoft.com/office/drawing/2014/main" id="{177A53C2-E837-4F49-9FB2-BA895F1C56E5}"/>
                </a:ext>
              </a:extLst>
            </p:cNvPr>
            <p:cNvSpPr/>
            <p:nvPr/>
          </p:nvSpPr>
          <p:spPr>
            <a:xfrm>
              <a:off x="3347642" y="1092724"/>
              <a:ext cx="324240" cy="16461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solidFill>
                    <a:srgbClr val="353535"/>
                  </a:solidFill>
                  <a:latin typeface="Calibri"/>
                </a:rPr>
                <a:t>important:1</a:t>
              </a:r>
            </a:p>
            <a:p>
              <a:pPr algn="ctr" defTabSz="1218966">
                <a:defRPr/>
              </a:pPr>
              <a:r>
                <a:rPr lang="en-US" sz="600" kern="0">
                  <a:solidFill>
                    <a:srgbClr val="353535"/>
                  </a:solidFill>
                  <a:latin typeface="Calibri"/>
                </a:rPr>
                <a:t>digest: 2re</a:t>
              </a:r>
            </a:p>
          </p:txBody>
        </p:sp>
      </p:grpSp>
      <p:grpSp>
        <p:nvGrpSpPr>
          <p:cNvPr id="596" name="Group 595">
            <a:extLst>
              <a:ext uri="{FF2B5EF4-FFF2-40B4-BE49-F238E27FC236}">
                <a16:creationId xmlns:a16="http://schemas.microsoft.com/office/drawing/2014/main" id="{19CF546A-D308-4843-901B-DB0FB0F0A2A8}"/>
              </a:ext>
            </a:extLst>
          </p:cNvPr>
          <p:cNvGrpSpPr/>
          <p:nvPr/>
        </p:nvGrpSpPr>
        <p:grpSpPr>
          <a:xfrm>
            <a:off x="8728354" y="4507993"/>
            <a:ext cx="2820895" cy="1633396"/>
            <a:chOff x="4156030" y="3448050"/>
            <a:chExt cx="2054962" cy="1191294"/>
          </a:xfrm>
        </p:grpSpPr>
        <p:sp>
          <p:nvSpPr>
            <p:cNvPr id="597" name="Rectangle 596">
              <a:extLst>
                <a:ext uri="{FF2B5EF4-FFF2-40B4-BE49-F238E27FC236}">
                  <a16:creationId xmlns:a16="http://schemas.microsoft.com/office/drawing/2014/main" id="{26913693-C4CC-49DC-BBFC-4F96037ADAE6}"/>
                </a:ext>
              </a:extLst>
            </p:cNvPr>
            <p:cNvSpPr/>
            <p:nvPr/>
          </p:nvSpPr>
          <p:spPr>
            <a:xfrm>
              <a:off x="4156030" y="3562350"/>
              <a:ext cx="2054962" cy="1076994"/>
            </a:xfrm>
            <a:prstGeom prst="rect">
              <a:avLst/>
            </a:prstGeom>
            <a:solidFill>
              <a:srgbClr val="ADE5F9"/>
            </a:solidFill>
            <a:ln w="19050" cap="flat" cmpd="sng" algn="ctr">
              <a:solidFill>
                <a:srgbClr val="00506E"/>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98" name="Flowchart: Alternate Process 597">
              <a:extLst>
                <a:ext uri="{FF2B5EF4-FFF2-40B4-BE49-F238E27FC236}">
                  <a16:creationId xmlns:a16="http://schemas.microsoft.com/office/drawing/2014/main" id="{B39850BF-CE20-4510-A9AF-538F0589324E}"/>
                </a:ext>
              </a:extLst>
            </p:cNvPr>
            <p:cNvSpPr/>
            <p:nvPr/>
          </p:nvSpPr>
          <p:spPr>
            <a:xfrm>
              <a:off x="4156030" y="3448050"/>
              <a:ext cx="1230039" cy="228600"/>
            </a:xfrm>
            <a:prstGeom prst="flowChartAlternateProcess">
              <a:avLst/>
            </a:prstGeom>
            <a:solidFill>
              <a:sysClr val="window" lastClr="FFFFFF"/>
            </a:solidFill>
            <a:ln w="19050" cap="flat" cmpd="sng" algn="ctr">
              <a:solidFill>
                <a:srgbClr val="00506E"/>
              </a:solidFill>
              <a:prstDash val="solid"/>
            </a:ln>
            <a:effectLst/>
          </p:spPr>
          <p:txBody>
            <a:bodyPr rtlCol="0" anchor="ctr"/>
            <a:lstStyle/>
            <a:p>
              <a:pPr defTabSz="1218966">
                <a:defRPr/>
              </a:pPr>
              <a:r>
                <a:rPr lang="en-US" sz="1467" b="1" kern="0">
                  <a:solidFill>
                    <a:prstClr val="black"/>
                  </a:solidFill>
                  <a:latin typeface="Lucida Console" panose="020B0609040504020204" pitchFamily="49" charset="0"/>
                </a:rPr>
                <a:t>HOST-C</a:t>
              </a:r>
            </a:p>
          </p:txBody>
        </p:sp>
      </p:grpSp>
      <p:grpSp>
        <p:nvGrpSpPr>
          <p:cNvPr id="599" name="Group 598">
            <a:extLst>
              <a:ext uri="{FF2B5EF4-FFF2-40B4-BE49-F238E27FC236}">
                <a16:creationId xmlns:a16="http://schemas.microsoft.com/office/drawing/2014/main" id="{93643303-3199-47E5-B558-05BF8996A92F}"/>
              </a:ext>
            </a:extLst>
          </p:cNvPr>
          <p:cNvGrpSpPr/>
          <p:nvPr/>
        </p:nvGrpSpPr>
        <p:grpSpPr>
          <a:xfrm>
            <a:off x="10085754" y="5257134"/>
            <a:ext cx="721037" cy="444217"/>
            <a:chOff x="3240661" y="1005909"/>
            <a:chExt cx="540854" cy="333210"/>
          </a:xfrm>
        </p:grpSpPr>
        <p:grpSp>
          <p:nvGrpSpPr>
            <p:cNvPr id="600" name="Group 599">
              <a:extLst>
                <a:ext uri="{FF2B5EF4-FFF2-40B4-BE49-F238E27FC236}">
                  <a16:creationId xmlns:a16="http://schemas.microsoft.com/office/drawing/2014/main" id="{BEB209DD-C6BF-4E63-B1ED-68096F32BC9D}"/>
                </a:ext>
              </a:extLst>
            </p:cNvPr>
            <p:cNvGrpSpPr/>
            <p:nvPr/>
          </p:nvGrpSpPr>
          <p:grpSpPr>
            <a:xfrm>
              <a:off x="3240661" y="1005909"/>
              <a:ext cx="540854" cy="333210"/>
              <a:chOff x="1926169" y="1632181"/>
              <a:chExt cx="540854" cy="333210"/>
            </a:xfrm>
          </p:grpSpPr>
          <p:sp>
            <p:nvSpPr>
              <p:cNvPr id="602" name="Rectangle 601">
                <a:extLst>
                  <a:ext uri="{FF2B5EF4-FFF2-40B4-BE49-F238E27FC236}">
                    <a16:creationId xmlns:a16="http://schemas.microsoft.com/office/drawing/2014/main" id="{40614727-2B1E-4C6F-B9A6-194CC44BD035}"/>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03" name="Rectangle 602">
                <a:extLst>
                  <a:ext uri="{FF2B5EF4-FFF2-40B4-BE49-F238E27FC236}">
                    <a16:creationId xmlns:a16="http://schemas.microsoft.com/office/drawing/2014/main" id="{B0C2155A-B6AE-44CB-BB5E-75BD99F5383E}"/>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604" name="Group 603">
                <a:extLst>
                  <a:ext uri="{FF2B5EF4-FFF2-40B4-BE49-F238E27FC236}">
                    <a16:creationId xmlns:a16="http://schemas.microsoft.com/office/drawing/2014/main" id="{78FC4203-5A9D-47A2-AD20-F3ACFF0A9937}"/>
                  </a:ext>
                </a:extLst>
              </p:cNvPr>
              <p:cNvGrpSpPr/>
              <p:nvPr/>
            </p:nvGrpSpPr>
            <p:grpSpPr>
              <a:xfrm>
                <a:off x="1989961" y="1665409"/>
                <a:ext cx="413499" cy="266755"/>
                <a:chOff x="1371600" y="2038342"/>
                <a:chExt cx="609600" cy="393263"/>
              </a:xfrm>
            </p:grpSpPr>
            <p:cxnSp>
              <p:nvCxnSpPr>
                <p:cNvPr id="608" name="Straight Connector 607">
                  <a:extLst>
                    <a:ext uri="{FF2B5EF4-FFF2-40B4-BE49-F238E27FC236}">
                      <a16:creationId xmlns:a16="http://schemas.microsoft.com/office/drawing/2014/main" id="{34297296-88AA-4C59-9B7C-8C85A0ACAB5A}"/>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609" name="Straight Connector 608">
                  <a:extLst>
                    <a:ext uri="{FF2B5EF4-FFF2-40B4-BE49-F238E27FC236}">
                      <a16:creationId xmlns:a16="http://schemas.microsoft.com/office/drawing/2014/main" id="{A85899D2-2EB0-42C9-9B17-F17441339DE0}"/>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610" name="Straight Connector 609">
                  <a:extLst>
                    <a:ext uri="{FF2B5EF4-FFF2-40B4-BE49-F238E27FC236}">
                      <a16:creationId xmlns:a16="http://schemas.microsoft.com/office/drawing/2014/main" id="{BEF511CB-1288-4A5B-A773-37BA165BF5B8}"/>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611" name="Straight Connector 610">
                  <a:extLst>
                    <a:ext uri="{FF2B5EF4-FFF2-40B4-BE49-F238E27FC236}">
                      <a16:creationId xmlns:a16="http://schemas.microsoft.com/office/drawing/2014/main" id="{08259F11-EE59-4446-8809-DF7AE672D955}"/>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612" name="Straight Connector 611">
                  <a:extLst>
                    <a:ext uri="{FF2B5EF4-FFF2-40B4-BE49-F238E27FC236}">
                      <a16:creationId xmlns:a16="http://schemas.microsoft.com/office/drawing/2014/main" id="{385AC9F2-8FD0-4FD0-9438-2F168D124BB7}"/>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613" name="Straight Connector 612">
                  <a:extLst>
                    <a:ext uri="{FF2B5EF4-FFF2-40B4-BE49-F238E27FC236}">
                      <a16:creationId xmlns:a16="http://schemas.microsoft.com/office/drawing/2014/main" id="{F58AA554-B53E-4566-8F31-60D79B938BDC}"/>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614" name="Straight Connector 613">
                  <a:extLst>
                    <a:ext uri="{FF2B5EF4-FFF2-40B4-BE49-F238E27FC236}">
                      <a16:creationId xmlns:a16="http://schemas.microsoft.com/office/drawing/2014/main" id="{198420ED-0DF3-40D4-A6D6-1502DB97292E}"/>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615" name="Straight Connector 614">
                  <a:extLst>
                    <a:ext uri="{FF2B5EF4-FFF2-40B4-BE49-F238E27FC236}">
                      <a16:creationId xmlns:a16="http://schemas.microsoft.com/office/drawing/2014/main" id="{095676B1-8757-4072-A437-5D9F81178BF9}"/>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616" name="Straight Connector 615">
                  <a:extLst>
                    <a:ext uri="{FF2B5EF4-FFF2-40B4-BE49-F238E27FC236}">
                      <a16:creationId xmlns:a16="http://schemas.microsoft.com/office/drawing/2014/main" id="{AEE8CA79-C0A6-4861-BAFA-9C2B5667C460}"/>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605" name="Rectangle 604">
                <a:extLst>
                  <a:ext uri="{FF2B5EF4-FFF2-40B4-BE49-F238E27FC236}">
                    <a16:creationId xmlns:a16="http://schemas.microsoft.com/office/drawing/2014/main" id="{E0613257-19A6-48A2-93FD-23658641D6BA}"/>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06" name="Rectangle 605">
                <a:extLst>
                  <a:ext uri="{FF2B5EF4-FFF2-40B4-BE49-F238E27FC236}">
                    <a16:creationId xmlns:a16="http://schemas.microsoft.com/office/drawing/2014/main" id="{03DD8362-0F8B-48CD-93AA-D86CCA222840}"/>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07" name="Rectangle 606">
                <a:extLst>
                  <a:ext uri="{FF2B5EF4-FFF2-40B4-BE49-F238E27FC236}">
                    <a16:creationId xmlns:a16="http://schemas.microsoft.com/office/drawing/2014/main" id="{B37120B6-14C9-41D3-BDBC-0B35598DC96A}"/>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601" name="Rectangle 600">
              <a:extLst>
                <a:ext uri="{FF2B5EF4-FFF2-40B4-BE49-F238E27FC236}">
                  <a16:creationId xmlns:a16="http://schemas.microsoft.com/office/drawing/2014/main" id="{7EAC41A0-DAAB-444C-A44D-8470EAA4F8D2}"/>
                </a:ext>
              </a:extLst>
            </p:cNvPr>
            <p:cNvSpPr/>
            <p:nvPr/>
          </p:nvSpPr>
          <p:spPr>
            <a:xfrm>
              <a:off x="3347642" y="1092724"/>
              <a:ext cx="324240" cy="164616"/>
            </a:xfrm>
            <a:prstGeom prst="rect">
              <a:avLst/>
            </a:prstGeom>
            <a:solidFill>
              <a:srgbClr val="00B050"/>
            </a:solidFill>
            <a:ln w="25400" cap="flat" cmpd="sng" algn="ctr">
              <a:noFill/>
              <a:prstDash val="solid"/>
            </a:ln>
            <a:effectLst/>
          </p:spPr>
          <p:txBody>
            <a:bodyPr lIns="0" tIns="0" rIns="0" bIns="0" rtlCol="0" anchor="ctr"/>
            <a:lstStyle/>
            <a:p>
              <a:pPr lvl="0" algn="ctr" defTabSz="1218966">
                <a:defRPr/>
              </a:pPr>
              <a:r>
                <a:rPr lang="en-US" sz="600" kern="0">
                  <a:solidFill>
                    <a:srgbClr val="353535"/>
                  </a:solidFill>
                  <a:latin typeface="Calibri"/>
                </a:rPr>
                <a:t>important:1</a:t>
              </a:r>
            </a:p>
            <a:p>
              <a:pPr lvl="0" algn="ctr" defTabSz="1218966">
                <a:defRPr/>
              </a:pPr>
              <a:r>
                <a:rPr lang="en-US" sz="600" kern="0">
                  <a:solidFill>
                    <a:srgbClr val="353535"/>
                  </a:solidFill>
                  <a:latin typeface="Calibri"/>
                </a:rPr>
                <a:t>digest: 2re</a:t>
              </a:r>
            </a:p>
          </p:txBody>
        </p:sp>
      </p:grpSp>
      <p:grpSp>
        <p:nvGrpSpPr>
          <p:cNvPr id="635" name="Group 634">
            <a:extLst>
              <a:ext uri="{FF2B5EF4-FFF2-40B4-BE49-F238E27FC236}">
                <a16:creationId xmlns:a16="http://schemas.microsoft.com/office/drawing/2014/main" id="{82D8ACAE-B30B-4508-A3DF-873D6DB97B89}"/>
              </a:ext>
            </a:extLst>
          </p:cNvPr>
          <p:cNvGrpSpPr/>
          <p:nvPr/>
        </p:nvGrpSpPr>
        <p:grpSpPr>
          <a:xfrm>
            <a:off x="10085754" y="4851244"/>
            <a:ext cx="721037" cy="444217"/>
            <a:chOff x="3240661" y="1005909"/>
            <a:chExt cx="540854" cy="333210"/>
          </a:xfrm>
        </p:grpSpPr>
        <p:grpSp>
          <p:nvGrpSpPr>
            <p:cNvPr id="636" name="Group 635">
              <a:extLst>
                <a:ext uri="{FF2B5EF4-FFF2-40B4-BE49-F238E27FC236}">
                  <a16:creationId xmlns:a16="http://schemas.microsoft.com/office/drawing/2014/main" id="{E4F45113-FF3F-4E6A-9664-1D8D2E3E972E}"/>
                </a:ext>
              </a:extLst>
            </p:cNvPr>
            <p:cNvGrpSpPr/>
            <p:nvPr/>
          </p:nvGrpSpPr>
          <p:grpSpPr>
            <a:xfrm>
              <a:off x="3240661" y="1005909"/>
              <a:ext cx="540854" cy="333210"/>
              <a:chOff x="1926169" y="1632181"/>
              <a:chExt cx="540854" cy="333210"/>
            </a:xfrm>
          </p:grpSpPr>
          <p:sp>
            <p:nvSpPr>
              <p:cNvPr id="638" name="Rectangle 637">
                <a:extLst>
                  <a:ext uri="{FF2B5EF4-FFF2-40B4-BE49-F238E27FC236}">
                    <a16:creationId xmlns:a16="http://schemas.microsoft.com/office/drawing/2014/main" id="{4AEF4DD4-5154-44E6-8A74-BEDB58F90D93}"/>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39" name="Rectangle 638">
                <a:extLst>
                  <a:ext uri="{FF2B5EF4-FFF2-40B4-BE49-F238E27FC236}">
                    <a16:creationId xmlns:a16="http://schemas.microsoft.com/office/drawing/2014/main" id="{1AB64F00-EEBC-4289-9942-DD7265EFAFCB}"/>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640" name="Group 639">
                <a:extLst>
                  <a:ext uri="{FF2B5EF4-FFF2-40B4-BE49-F238E27FC236}">
                    <a16:creationId xmlns:a16="http://schemas.microsoft.com/office/drawing/2014/main" id="{A75DD98D-1847-43BA-BCBC-D1E44D20B2BC}"/>
                  </a:ext>
                </a:extLst>
              </p:cNvPr>
              <p:cNvGrpSpPr/>
              <p:nvPr/>
            </p:nvGrpSpPr>
            <p:grpSpPr>
              <a:xfrm>
                <a:off x="1989961" y="1665409"/>
                <a:ext cx="413499" cy="266755"/>
                <a:chOff x="1371600" y="2038342"/>
                <a:chExt cx="609600" cy="393263"/>
              </a:xfrm>
            </p:grpSpPr>
            <p:cxnSp>
              <p:nvCxnSpPr>
                <p:cNvPr id="644" name="Straight Connector 643">
                  <a:extLst>
                    <a:ext uri="{FF2B5EF4-FFF2-40B4-BE49-F238E27FC236}">
                      <a16:creationId xmlns:a16="http://schemas.microsoft.com/office/drawing/2014/main" id="{3A8E4F64-A386-4272-997A-1264F913F31F}"/>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645" name="Straight Connector 644">
                  <a:extLst>
                    <a:ext uri="{FF2B5EF4-FFF2-40B4-BE49-F238E27FC236}">
                      <a16:creationId xmlns:a16="http://schemas.microsoft.com/office/drawing/2014/main" id="{1EEB9503-A570-4CE0-9D49-BCE544C166BD}"/>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646" name="Straight Connector 645">
                  <a:extLst>
                    <a:ext uri="{FF2B5EF4-FFF2-40B4-BE49-F238E27FC236}">
                      <a16:creationId xmlns:a16="http://schemas.microsoft.com/office/drawing/2014/main" id="{5A747415-7B74-4F8E-A333-6BAD681A3FAD}"/>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647" name="Straight Connector 646">
                  <a:extLst>
                    <a:ext uri="{FF2B5EF4-FFF2-40B4-BE49-F238E27FC236}">
                      <a16:creationId xmlns:a16="http://schemas.microsoft.com/office/drawing/2014/main" id="{4C981DB9-B828-4545-A5B6-8C5B2B4ED1FE}"/>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648" name="Straight Connector 647">
                  <a:extLst>
                    <a:ext uri="{FF2B5EF4-FFF2-40B4-BE49-F238E27FC236}">
                      <a16:creationId xmlns:a16="http://schemas.microsoft.com/office/drawing/2014/main" id="{D3114C4F-C4D4-42B9-98E8-D5C4B8D3E197}"/>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649" name="Straight Connector 648">
                  <a:extLst>
                    <a:ext uri="{FF2B5EF4-FFF2-40B4-BE49-F238E27FC236}">
                      <a16:creationId xmlns:a16="http://schemas.microsoft.com/office/drawing/2014/main" id="{D535AEDA-6A5A-489F-A438-A21B5E2BC733}"/>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650" name="Straight Connector 649">
                  <a:extLst>
                    <a:ext uri="{FF2B5EF4-FFF2-40B4-BE49-F238E27FC236}">
                      <a16:creationId xmlns:a16="http://schemas.microsoft.com/office/drawing/2014/main" id="{102651DB-9756-4DD3-97F9-A5D9158F320B}"/>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651" name="Straight Connector 650">
                  <a:extLst>
                    <a:ext uri="{FF2B5EF4-FFF2-40B4-BE49-F238E27FC236}">
                      <a16:creationId xmlns:a16="http://schemas.microsoft.com/office/drawing/2014/main" id="{85A4D083-79B7-482C-B892-EABBA1FE19E9}"/>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652" name="Straight Connector 651">
                  <a:extLst>
                    <a:ext uri="{FF2B5EF4-FFF2-40B4-BE49-F238E27FC236}">
                      <a16:creationId xmlns:a16="http://schemas.microsoft.com/office/drawing/2014/main" id="{A31CCE6F-D63C-4493-A375-A9DCAE5F1E36}"/>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641" name="Rectangle 640">
                <a:extLst>
                  <a:ext uri="{FF2B5EF4-FFF2-40B4-BE49-F238E27FC236}">
                    <a16:creationId xmlns:a16="http://schemas.microsoft.com/office/drawing/2014/main" id="{7D7F07D7-F544-4CA7-85EA-F3CBD44A2A7E}"/>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42" name="Rectangle 641">
                <a:extLst>
                  <a:ext uri="{FF2B5EF4-FFF2-40B4-BE49-F238E27FC236}">
                    <a16:creationId xmlns:a16="http://schemas.microsoft.com/office/drawing/2014/main" id="{AF52D6C5-F596-437B-B67B-9600EF5E961E}"/>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43" name="Rectangle 642">
                <a:extLst>
                  <a:ext uri="{FF2B5EF4-FFF2-40B4-BE49-F238E27FC236}">
                    <a16:creationId xmlns:a16="http://schemas.microsoft.com/office/drawing/2014/main" id="{84AA2D3B-3436-4B70-A10B-E39A71192BB9}"/>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637" name="Rectangle 636">
              <a:extLst>
                <a:ext uri="{FF2B5EF4-FFF2-40B4-BE49-F238E27FC236}">
                  <a16:creationId xmlns:a16="http://schemas.microsoft.com/office/drawing/2014/main" id="{F149E8A4-D810-4278-AC14-13C56AE3F31C}"/>
                </a:ext>
              </a:extLst>
            </p:cNvPr>
            <p:cNvSpPr/>
            <p:nvPr/>
          </p:nvSpPr>
          <p:spPr>
            <a:xfrm>
              <a:off x="3347642" y="1092724"/>
              <a:ext cx="324240" cy="164616"/>
            </a:xfrm>
            <a:prstGeom prst="rect">
              <a:avLst/>
            </a:prstGeom>
            <a:solidFill>
              <a:srgbClr val="FFC000"/>
            </a:solidFill>
            <a:ln w="25400" cap="flat" cmpd="sng" algn="ctr">
              <a:noFill/>
              <a:prstDash val="solid"/>
            </a:ln>
            <a:effectLst/>
          </p:spPr>
          <p:txBody>
            <a:bodyPr lIns="0" tIns="0" rIns="0" bIns="0" rtlCol="0" anchor="ctr"/>
            <a:lstStyle/>
            <a:p>
              <a:pPr lvl="0" algn="ctr" defTabSz="1218966">
                <a:defRPr/>
              </a:pPr>
              <a:r>
                <a:rPr lang="en-US" sz="900" kern="0">
                  <a:solidFill>
                    <a:srgbClr val="353535"/>
                  </a:solidFill>
                  <a:latin typeface="Calibri"/>
                </a:rPr>
                <a:t>quotes:1</a:t>
              </a:r>
            </a:p>
            <a:p>
              <a:pPr lvl="0" algn="ctr" defTabSz="1218966">
                <a:defRPr/>
              </a:pPr>
              <a:r>
                <a:rPr lang="en-US" sz="600" kern="0">
                  <a:solidFill>
                    <a:srgbClr val="353535"/>
                  </a:solidFill>
                  <a:latin typeface="Calibri"/>
                </a:rPr>
                <a:t>digest: u82</a:t>
              </a:r>
            </a:p>
          </p:txBody>
        </p:sp>
      </p:grpSp>
      <p:grpSp>
        <p:nvGrpSpPr>
          <p:cNvPr id="653" name="Group 652">
            <a:extLst>
              <a:ext uri="{FF2B5EF4-FFF2-40B4-BE49-F238E27FC236}">
                <a16:creationId xmlns:a16="http://schemas.microsoft.com/office/drawing/2014/main" id="{7455D86C-A3CB-4263-83DC-D71AB0D68C1C}"/>
              </a:ext>
            </a:extLst>
          </p:cNvPr>
          <p:cNvGrpSpPr/>
          <p:nvPr/>
        </p:nvGrpSpPr>
        <p:grpSpPr>
          <a:xfrm>
            <a:off x="10808039" y="5257134"/>
            <a:ext cx="721037" cy="444217"/>
            <a:chOff x="3240661" y="1005909"/>
            <a:chExt cx="540854" cy="333210"/>
          </a:xfrm>
        </p:grpSpPr>
        <p:grpSp>
          <p:nvGrpSpPr>
            <p:cNvPr id="654" name="Group 653">
              <a:extLst>
                <a:ext uri="{FF2B5EF4-FFF2-40B4-BE49-F238E27FC236}">
                  <a16:creationId xmlns:a16="http://schemas.microsoft.com/office/drawing/2014/main" id="{2F05B247-5773-460D-BA76-B2F2B43441BA}"/>
                </a:ext>
              </a:extLst>
            </p:cNvPr>
            <p:cNvGrpSpPr/>
            <p:nvPr/>
          </p:nvGrpSpPr>
          <p:grpSpPr>
            <a:xfrm>
              <a:off x="3240661" y="1005909"/>
              <a:ext cx="540854" cy="333210"/>
              <a:chOff x="1926169" y="1632181"/>
              <a:chExt cx="540854" cy="333210"/>
            </a:xfrm>
          </p:grpSpPr>
          <p:sp>
            <p:nvSpPr>
              <p:cNvPr id="656" name="Rectangle 655">
                <a:extLst>
                  <a:ext uri="{FF2B5EF4-FFF2-40B4-BE49-F238E27FC236}">
                    <a16:creationId xmlns:a16="http://schemas.microsoft.com/office/drawing/2014/main" id="{5082AC53-84B9-4B28-9AB4-E0919DA54771}"/>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57" name="Rectangle 656">
                <a:extLst>
                  <a:ext uri="{FF2B5EF4-FFF2-40B4-BE49-F238E27FC236}">
                    <a16:creationId xmlns:a16="http://schemas.microsoft.com/office/drawing/2014/main" id="{401EE0B3-E46F-4757-AEAA-BBB3B7E7A729}"/>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658" name="Group 657">
                <a:extLst>
                  <a:ext uri="{FF2B5EF4-FFF2-40B4-BE49-F238E27FC236}">
                    <a16:creationId xmlns:a16="http://schemas.microsoft.com/office/drawing/2014/main" id="{4EF7B0B6-4781-4D7D-A3D0-CD3F9E50555C}"/>
                  </a:ext>
                </a:extLst>
              </p:cNvPr>
              <p:cNvGrpSpPr/>
              <p:nvPr/>
            </p:nvGrpSpPr>
            <p:grpSpPr>
              <a:xfrm>
                <a:off x="1989961" y="1665409"/>
                <a:ext cx="413499" cy="266755"/>
                <a:chOff x="1371600" y="2038342"/>
                <a:chExt cx="609600" cy="393263"/>
              </a:xfrm>
            </p:grpSpPr>
            <p:cxnSp>
              <p:nvCxnSpPr>
                <p:cNvPr id="662" name="Straight Connector 661">
                  <a:extLst>
                    <a:ext uri="{FF2B5EF4-FFF2-40B4-BE49-F238E27FC236}">
                      <a16:creationId xmlns:a16="http://schemas.microsoft.com/office/drawing/2014/main" id="{D792C117-3918-4B3C-AAF9-46C162209DAA}"/>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663" name="Straight Connector 662">
                  <a:extLst>
                    <a:ext uri="{FF2B5EF4-FFF2-40B4-BE49-F238E27FC236}">
                      <a16:creationId xmlns:a16="http://schemas.microsoft.com/office/drawing/2014/main" id="{A4380A3C-09E5-4CD6-B88C-245FD378E11D}"/>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664" name="Straight Connector 663">
                  <a:extLst>
                    <a:ext uri="{FF2B5EF4-FFF2-40B4-BE49-F238E27FC236}">
                      <a16:creationId xmlns:a16="http://schemas.microsoft.com/office/drawing/2014/main" id="{D5882EF2-A1D4-4AA8-AACA-221E6228BCAA}"/>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665" name="Straight Connector 664">
                  <a:extLst>
                    <a:ext uri="{FF2B5EF4-FFF2-40B4-BE49-F238E27FC236}">
                      <a16:creationId xmlns:a16="http://schemas.microsoft.com/office/drawing/2014/main" id="{FF3193D9-109C-4F1D-A7DF-2AFDD8F0737C}"/>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666" name="Straight Connector 665">
                  <a:extLst>
                    <a:ext uri="{FF2B5EF4-FFF2-40B4-BE49-F238E27FC236}">
                      <a16:creationId xmlns:a16="http://schemas.microsoft.com/office/drawing/2014/main" id="{BFBC5B20-7058-4BC7-A3D6-87C607CEDB33}"/>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667" name="Straight Connector 666">
                  <a:extLst>
                    <a:ext uri="{FF2B5EF4-FFF2-40B4-BE49-F238E27FC236}">
                      <a16:creationId xmlns:a16="http://schemas.microsoft.com/office/drawing/2014/main" id="{B5331952-1ADE-417B-AE15-7F1AC40F06CA}"/>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668" name="Straight Connector 667">
                  <a:extLst>
                    <a:ext uri="{FF2B5EF4-FFF2-40B4-BE49-F238E27FC236}">
                      <a16:creationId xmlns:a16="http://schemas.microsoft.com/office/drawing/2014/main" id="{7C4C1303-C892-4E97-942F-9570204AA3CD}"/>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669" name="Straight Connector 668">
                  <a:extLst>
                    <a:ext uri="{FF2B5EF4-FFF2-40B4-BE49-F238E27FC236}">
                      <a16:creationId xmlns:a16="http://schemas.microsoft.com/office/drawing/2014/main" id="{DF9BEF95-6B46-4C13-B6D6-DA39E81B6D47}"/>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670" name="Straight Connector 669">
                  <a:extLst>
                    <a:ext uri="{FF2B5EF4-FFF2-40B4-BE49-F238E27FC236}">
                      <a16:creationId xmlns:a16="http://schemas.microsoft.com/office/drawing/2014/main" id="{9FE40751-F014-4930-916A-8D22999B624D}"/>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659" name="Rectangle 658">
                <a:extLst>
                  <a:ext uri="{FF2B5EF4-FFF2-40B4-BE49-F238E27FC236}">
                    <a16:creationId xmlns:a16="http://schemas.microsoft.com/office/drawing/2014/main" id="{E20B93C6-58EE-424D-BDC9-E2FF6B748C63}"/>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60" name="Rectangle 659">
                <a:extLst>
                  <a:ext uri="{FF2B5EF4-FFF2-40B4-BE49-F238E27FC236}">
                    <a16:creationId xmlns:a16="http://schemas.microsoft.com/office/drawing/2014/main" id="{E2644066-662F-4013-A045-D381164167D3}"/>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61" name="Rectangle 660">
                <a:extLst>
                  <a:ext uri="{FF2B5EF4-FFF2-40B4-BE49-F238E27FC236}">
                    <a16:creationId xmlns:a16="http://schemas.microsoft.com/office/drawing/2014/main" id="{7CD5CC4E-4804-4325-B1AB-D4442B65E73D}"/>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655" name="Rectangle 654">
              <a:extLst>
                <a:ext uri="{FF2B5EF4-FFF2-40B4-BE49-F238E27FC236}">
                  <a16:creationId xmlns:a16="http://schemas.microsoft.com/office/drawing/2014/main" id="{E01B3AA8-598D-447F-85D0-1B3CBF6B6CC3}"/>
                </a:ext>
              </a:extLst>
            </p:cNvPr>
            <p:cNvSpPr/>
            <p:nvPr/>
          </p:nvSpPr>
          <p:spPr>
            <a:xfrm>
              <a:off x="3347642" y="1092724"/>
              <a:ext cx="324240" cy="164616"/>
            </a:xfrm>
            <a:prstGeom prst="rect">
              <a:avLst/>
            </a:prstGeom>
            <a:solidFill>
              <a:srgbClr val="00B050"/>
            </a:solidFill>
            <a:ln w="25400" cap="flat" cmpd="sng" algn="ctr">
              <a:noFill/>
              <a:prstDash val="solid"/>
            </a:ln>
            <a:effectLst/>
          </p:spPr>
          <p:txBody>
            <a:bodyPr lIns="0" tIns="0" rIns="0" bIns="0" rtlCol="0" anchor="ctr"/>
            <a:lstStyle/>
            <a:p>
              <a:pPr lvl="0" algn="ctr" defTabSz="1218966">
                <a:defRPr/>
              </a:pPr>
              <a:r>
                <a:rPr lang="en-US" sz="600" kern="0">
                  <a:solidFill>
                    <a:srgbClr val="353535"/>
                  </a:solidFill>
                  <a:latin typeface="Calibri"/>
                </a:rPr>
                <a:t>important:1</a:t>
              </a:r>
            </a:p>
            <a:p>
              <a:pPr lvl="0" algn="ctr" defTabSz="1218966">
                <a:defRPr/>
              </a:pPr>
              <a:r>
                <a:rPr lang="en-US" sz="600" kern="0">
                  <a:solidFill>
                    <a:srgbClr val="353535"/>
                  </a:solidFill>
                  <a:latin typeface="Calibri"/>
                </a:rPr>
                <a:t>digest: 2re</a:t>
              </a:r>
            </a:p>
          </p:txBody>
        </p:sp>
      </p:grpSp>
      <p:grpSp>
        <p:nvGrpSpPr>
          <p:cNvPr id="671" name="Group 670">
            <a:extLst>
              <a:ext uri="{FF2B5EF4-FFF2-40B4-BE49-F238E27FC236}">
                <a16:creationId xmlns:a16="http://schemas.microsoft.com/office/drawing/2014/main" id="{A6EDF266-E5E0-452B-AF70-58509EF10E0D}"/>
              </a:ext>
            </a:extLst>
          </p:cNvPr>
          <p:cNvGrpSpPr/>
          <p:nvPr/>
        </p:nvGrpSpPr>
        <p:grpSpPr>
          <a:xfrm>
            <a:off x="10808039" y="4851244"/>
            <a:ext cx="721037" cy="444217"/>
            <a:chOff x="3240661" y="1005909"/>
            <a:chExt cx="540854" cy="333210"/>
          </a:xfrm>
        </p:grpSpPr>
        <p:grpSp>
          <p:nvGrpSpPr>
            <p:cNvPr id="672" name="Group 671">
              <a:extLst>
                <a:ext uri="{FF2B5EF4-FFF2-40B4-BE49-F238E27FC236}">
                  <a16:creationId xmlns:a16="http://schemas.microsoft.com/office/drawing/2014/main" id="{DAA5F8C1-49BA-4151-B229-894FE2FA1C26}"/>
                </a:ext>
              </a:extLst>
            </p:cNvPr>
            <p:cNvGrpSpPr/>
            <p:nvPr/>
          </p:nvGrpSpPr>
          <p:grpSpPr>
            <a:xfrm>
              <a:off x="3240661" y="1005909"/>
              <a:ext cx="540854" cy="333210"/>
              <a:chOff x="1926169" y="1632181"/>
              <a:chExt cx="540854" cy="333210"/>
            </a:xfrm>
          </p:grpSpPr>
          <p:sp>
            <p:nvSpPr>
              <p:cNvPr id="674" name="Rectangle 673">
                <a:extLst>
                  <a:ext uri="{FF2B5EF4-FFF2-40B4-BE49-F238E27FC236}">
                    <a16:creationId xmlns:a16="http://schemas.microsoft.com/office/drawing/2014/main" id="{14A64E39-9096-45CD-AF40-7FA920C8AD8A}"/>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75" name="Rectangle 674">
                <a:extLst>
                  <a:ext uri="{FF2B5EF4-FFF2-40B4-BE49-F238E27FC236}">
                    <a16:creationId xmlns:a16="http://schemas.microsoft.com/office/drawing/2014/main" id="{14956C43-C119-4D7A-964D-0E5FD27B3F74}"/>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676" name="Group 675">
                <a:extLst>
                  <a:ext uri="{FF2B5EF4-FFF2-40B4-BE49-F238E27FC236}">
                    <a16:creationId xmlns:a16="http://schemas.microsoft.com/office/drawing/2014/main" id="{F23D3BB3-7160-465A-B6DD-97E4B9B78AAA}"/>
                  </a:ext>
                </a:extLst>
              </p:cNvPr>
              <p:cNvGrpSpPr/>
              <p:nvPr/>
            </p:nvGrpSpPr>
            <p:grpSpPr>
              <a:xfrm>
                <a:off x="1989961" y="1665409"/>
                <a:ext cx="413499" cy="266755"/>
                <a:chOff x="1371600" y="2038342"/>
                <a:chExt cx="609600" cy="393263"/>
              </a:xfrm>
            </p:grpSpPr>
            <p:cxnSp>
              <p:nvCxnSpPr>
                <p:cNvPr id="680" name="Straight Connector 679">
                  <a:extLst>
                    <a:ext uri="{FF2B5EF4-FFF2-40B4-BE49-F238E27FC236}">
                      <a16:creationId xmlns:a16="http://schemas.microsoft.com/office/drawing/2014/main" id="{5CBF6B2E-A21B-4C1E-A58F-D7CEDF4D7570}"/>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681" name="Straight Connector 680">
                  <a:extLst>
                    <a:ext uri="{FF2B5EF4-FFF2-40B4-BE49-F238E27FC236}">
                      <a16:creationId xmlns:a16="http://schemas.microsoft.com/office/drawing/2014/main" id="{877FA19D-E106-4F15-B23F-2CBB8D41812D}"/>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682" name="Straight Connector 681">
                  <a:extLst>
                    <a:ext uri="{FF2B5EF4-FFF2-40B4-BE49-F238E27FC236}">
                      <a16:creationId xmlns:a16="http://schemas.microsoft.com/office/drawing/2014/main" id="{F649C8C4-F901-4DD8-AD0B-A2CDD5007813}"/>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683" name="Straight Connector 682">
                  <a:extLst>
                    <a:ext uri="{FF2B5EF4-FFF2-40B4-BE49-F238E27FC236}">
                      <a16:creationId xmlns:a16="http://schemas.microsoft.com/office/drawing/2014/main" id="{B1F28E71-F97D-44CA-97F1-967A270F38E5}"/>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684" name="Straight Connector 683">
                  <a:extLst>
                    <a:ext uri="{FF2B5EF4-FFF2-40B4-BE49-F238E27FC236}">
                      <a16:creationId xmlns:a16="http://schemas.microsoft.com/office/drawing/2014/main" id="{6E250D45-7B99-4A88-AAAB-698D4CD20653}"/>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685" name="Straight Connector 684">
                  <a:extLst>
                    <a:ext uri="{FF2B5EF4-FFF2-40B4-BE49-F238E27FC236}">
                      <a16:creationId xmlns:a16="http://schemas.microsoft.com/office/drawing/2014/main" id="{7692B209-22A1-4DCE-88C3-E6948A220275}"/>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686" name="Straight Connector 685">
                  <a:extLst>
                    <a:ext uri="{FF2B5EF4-FFF2-40B4-BE49-F238E27FC236}">
                      <a16:creationId xmlns:a16="http://schemas.microsoft.com/office/drawing/2014/main" id="{42488A63-F6C0-4DA1-8FCF-14687A479407}"/>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687" name="Straight Connector 686">
                  <a:extLst>
                    <a:ext uri="{FF2B5EF4-FFF2-40B4-BE49-F238E27FC236}">
                      <a16:creationId xmlns:a16="http://schemas.microsoft.com/office/drawing/2014/main" id="{73A65581-206A-4AAD-A473-E4357B6F7994}"/>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688" name="Straight Connector 687">
                  <a:extLst>
                    <a:ext uri="{FF2B5EF4-FFF2-40B4-BE49-F238E27FC236}">
                      <a16:creationId xmlns:a16="http://schemas.microsoft.com/office/drawing/2014/main" id="{369C0898-5666-449C-8403-3F0BB978FBA7}"/>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677" name="Rectangle 676">
                <a:extLst>
                  <a:ext uri="{FF2B5EF4-FFF2-40B4-BE49-F238E27FC236}">
                    <a16:creationId xmlns:a16="http://schemas.microsoft.com/office/drawing/2014/main" id="{EB49971A-CD80-453E-8816-34C263BEC66E}"/>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78" name="Rectangle 677">
                <a:extLst>
                  <a:ext uri="{FF2B5EF4-FFF2-40B4-BE49-F238E27FC236}">
                    <a16:creationId xmlns:a16="http://schemas.microsoft.com/office/drawing/2014/main" id="{3B9269A3-D342-44A4-9A94-2147F0A4F248}"/>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79" name="Rectangle 678">
                <a:extLst>
                  <a:ext uri="{FF2B5EF4-FFF2-40B4-BE49-F238E27FC236}">
                    <a16:creationId xmlns:a16="http://schemas.microsoft.com/office/drawing/2014/main" id="{B57CD542-5732-4640-A5EE-2DC793D0F286}"/>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673" name="Rectangle 672">
              <a:extLst>
                <a:ext uri="{FF2B5EF4-FFF2-40B4-BE49-F238E27FC236}">
                  <a16:creationId xmlns:a16="http://schemas.microsoft.com/office/drawing/2014/main" id="{87CCD053-0AC2-44B3-868F-A2E962BD17DE}"/>
                </a:ext>
              </a:extLst>
            </p:cNvPr>
            <p:cNvSpPr/>
            <p:nvPr/>
          </p:nvSpPr>
          <p:spPr>
            <a:xfrm>
              <a:off x="3347642" y="1092724"/>
              <a:ext cx="324240" cy="164616"/>
            </a:xfrm>
            <a:prstGeom prst="rect">
              <a:avLst/>
            </a:prstGeom>
            <a:solidFill>
              <a:srgbClr val="FFC000"/>
            </a:solidFill>
            <a:ln w="25400" cap="flat" cmpd="sng" algn="ctr">
              <a:noFill/>
              <a:prstDash val="solid"/>
            </a:ln>
            <a:effectLst/>
          </p:spPr>
          <p:txBody>
            <a:bodyPr lIns="0" tIns="0" rIns="0" bIns="0" rtlCol="0" anchor="ctr"/>
            <a:lstStyle/>
            <a:p>
              <a:pPr lvl="0" algn="ctr" defTabSz="1218966">
                <a:defRPr/>
              </a:pPr>
              <a:r>
                <a:rPr lang="en-US" sz="900" kern="0">
                  <a:solidFill>
                    <a:srgbClr val="353535"/>
                  </a:solidFill>
                  <a:latin typeface="Calibri"/>
                </a:rPr>
                <a:t>quotes:1</a:t>
              </a:r>
            </a:p>
            <a:p>
              <a:pPr lvl="0" algn="ctr" defTabSz="1218966">
                <a:defRPr/>
              </a:pPr>
              <a:r>
                <a:rPr lang="en-US" sz="600" kern="0">
                  <a:solidFill>
                    <a:srgbClr val="353535"/>
                  </a:solidFill>
                  <a:latin typeface="Calibri"/>
                </a:rPr>
                <a:t>digest: u82</a:t>
              </a:r>
            </a:p>
          </p:txBody>
        </p:sp>
      </p:grpSp>
      <p:sp>
        <p:nvSpPr>
          <p:cNvPr id="708" name="Rectangle 707">
            <a:extLst>
              <a:ext uri="{FF2B5EF4-FFF2-40B4-BE49-F238E27FC236}">
                <a16:creationId xmlns:a16="http://schemas.microsoft.com/office/drawing/2014/main" id="{CDBAE918-4F61-43D3-B89C-8AAA1586E8A5}"/>
              </a:ext>
            </a:extLst>
          </p:cNvPr>
          <p:cNvSpPr/>
          <p:nvPr/>
        </p:nvSpPr>
        <p:spPr>
          <a:xfrm>
            <a:off x="8748586" y="1644434"/>
            <a:ext cx="1293329" cy="1057137"/>
          </a:xfrm>
          <a:prstGeom prst="rect">
            <a:avLst/>
          </a:prstGeom>
          <a:solidFill>
            <a:schemeClr val="bg1"/>
          </a:solidFill>
          <a:ln w="12700" cap="flat" cmpd="sng" algn="ctr">
            <a:solidFill>
              <a:srgbClr val="32788F"/>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707" name="Flowchart: Alternate Process 706">
            <a:extLst>
              <a:ext uri="{FF2B5EF4-FFF2-40B4-BE49-F238E27FC236}">
                <a16:creationId xmlns:a16="http://schemas.microsoft.com/office/drawing/2014/main" id="{F63F8A07-B38E-48CE-B137-A8BF67F1F136}"/>
              </a:ext>
            </a:extLst>
          </p:cNvPr>
          <p:cNvSpPr/>
          <p:nvPr/>
        </p:nvSpPr>
        <p:spPr>
          <a:xfrm>
            <a:off x="8754309" y="1471999"/>
            <a:ext cx="1011979" cy="256684"/>
          </a:xfrm>
          <a:prstGeom prst="flowChartAlternateProcess">
            <a:avLst/>
          </a:prstGeom>
          <a:solidFill>
            <a:schemeClr val="bg1"/>
          </a:solidFill>
          <a:ln w="19050" cap="flat" cmpd="sng" algn="ctr">
            <a:solidFill>
              <a:srgbClr val="00506E"/>
            </a:solidFill>
            <a:prstDash val="solid"/>
          </a:ln>
          <a:effectLst/>
        </p:spPr>
        <p:txBody>
          <a:bodyPr rtlCol="0" anchor="ctr"/>
          <a:lstStyle/>
          <a:p>
            <a:pPr defTabSz="1218966">
              <a:defRPr/>
            </a:pPr>
            <a:r>
              <a:rPr lang="en-US" sz="1079" b="1" kern="0">
                <a:solidFill>
                  <a:prstClr val="black"/>
                </a:solidFill>
                <a:latin typeface="Calibri"/>
              </a:rPr>
              <a:t>Image Cache</a:t>
            </a:r>
          </a:p>
        </p:txBody>
      </p:sp>
      <p:sp>
        <p:nvSpPr>
          <p:cNvPr id="712" name="Rectangle 711">
            <a:extLst>
              <a:ext uri="{FF2B5EF4-FFF2-40B4-BE49-F238E27FC236}">
                <a16:creationId xmlns:a16="http://schemas.microsoft.com/office/drawing/2014/main" id="{0B295AC2-2B37-4EAE-A42A-C4826A17ED46}"/>
              </a:ext>
            </a:extLst>
          </p:cNvPr>
          <p:cNvSpPr/>
          <p:nvPr/>
        </p:nvSpPr>
        <p:spPr>
          <a:xfrm>
            <a:off x="8765924" y="3344752"/>
            <a:ext cx="1293329" cy="1057137"/>
          </a:xfrm>
          <a:prstGeom prst="rect">
            <a:avLst/>
          </a:prstGeom>
          <a:solidFill>
            <a:schemeClr val="bg1"/>
          </a:solidFill>
          <a:ln w="12700" cap="flat" cmpd="sng" algn="ctr">
            <a:solidFill>
              <a:srgbClr val="32788F"/>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713" name="Flowchart: Alternate Process 712">
            <a:extLst>
              <a:ext uri="{FF2B5EF4-FFF2-40B4-BE49-F238E27FC236}">
                <a16:creationId xmlns:a16="http://schemas.microsoft.com/office/drawing/2014/main" id="{0C9BFD05-AECE-444C-B340-8CFACF0FBD89}"/>
              </a:ext>
            </a:extLst>
          </p:cNvPr>
          <p:cNvSpPr/>
          <p:nvPr/>
        </p:nvSpPr>
        <p:spPr>
          <a:xfrm>
            <a:off x="8771645" y="3172317"/>
            <a:ext cx="1011979" cy="256684"/>
          </a:xfrm>
          <a:prstGeom prst="flowChartAlternateProcess">
            <a:avLst/>
          </a:prstGeom>
          <a:solidFill>
            <a:schemeClr val="bg1"/>
          </a:solidFill>
          <a:ln w="19050" cap="flat" cmpd="sng" algn="ctr">
            <a:solidFill>
              <a:srgbClr val="00506E"/>
            </a:solidFill>
            <a:prstDash val="solid"/>
          </a:ln>
          <a:effectLst/>
        </p:spPr>
        <p:txBody>
          <a:bodyPr rtlCol="0" anchor="ctr"/>
          <a:lstStyle/>
          <a:p>
            <a:pPr defTabSz="1218966">
              <a:defRPr/>
            </a:pPr>
            <a:r>
              <a:rPr lang="en-US" sz="1079" b="1" kern="0">
                <a:solidFill>
                  <a:prstClr val="black"/>
                </a:solidFill>
                <a:latin typeface="Calibri"/>
              </a:rPr>
              <a:t>Image Cache</a:t>
            </a:r>
          </a:p>
        </p:txBody>
      </p:sp>
      <p:sp>
        <p:nvSpPr>
          <p:cNvPr id="717" name="Rectangle 716">
            <a:extLst>
              <a:ext uri="{FF2B5EF4-FFF2-40B4-BE49-F238E27FC236}">
                <a16:creationId xmlns:a16="http://schemas.microsoft.com/office/drawing/2014/main" id="{75DB38AB-91D9-4612-B2BF-4E84CFF1CC4B}"/>
              </a:ext>
            </a:extLst>
          </p:cNvPr>
          <p:cNvSpPr/>
          <p:nvPr/>
        </p:nvSpPr>
        <p:spPr>
          <a:xfrm>
            <a:off x="8783261" y="5045069"/>
            <a:ext cx="1293329" cy="1057137"/>
          </a:xfrm>
          <a:prstGeom prst="rect">
            <a:avLst/>
          </a:prstGeom>
          <a:solidFill>
            <a:schemeClr val="bg1"/>
          </a:solidFill>
          <a:ln w="12700" cap="flat" cmpd="sng" algn="ctr">
            <a:solidFill>
              <a:srgbClr val="32788F"/>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718" name="Flowchart: Alternate Process 717">
            <a:extLst>
              <a:ext uri="{FF2B5EF4-FFF2-40B4-BE49-F238E27FC236}">
                <a16:creationId xmlns:a16="http://schemas.microsoft.com/office/drawing/2014/main" id="{40B065B7-5E5B-459B-93F7-371BE578C8BB}"/>
              </a:ext>
            </a:extLst>
          </p:cNvPr>
          <p:cNvSpPr/>
          <p:nvPr/>
        </p:nvSpPr>
        <p:spPr>
          <a:xfrm>
            <a:off x="8788983" y="4872635"/>
            <a:ext cx="1011979" cy="256684"/>
          </a:xfrm>
          <a:prstGeom prst="flowChartAlternateProcess">
            <a:avLst/>
          </a:prstGeom>
          <a:solidFill>
            <a:schemeClr val="bg1"/>
          </a:solidFill>
          <a:ln w="19050" cap="flat" cmpd="sng" algn="ctr">
            <a:solidFill>
              <a:srgbClr val="00506E"/>
            </a:solidFill>
            <a:prstDash val="solid"/>
          </a:ln>
          <a:effectLst/>
        </p:spPr>
        <p:txBody>
          <a:bodyPr rtlCol="0" anchor="ctr"/>
          <a:lstStyle/>
          <a:p>
            <a:pPr defTabSz="1218966">
              <a:defRPr/>
            </a:pPr>
            <a:r>
              <a:rPr lang="en-US" sz="1079" b="1" kern="0">
                <a:solidFill>
                  <a:prstClr val="black"/>
                </a:solidFill>
                <a:latin typeface="Calibri"/>
              </a:rPr>
              <a:t>Image Cache</a:t>
            </a:r>
          </a:p>
        </p:txBody>
      </p:sp>
      <p:sp>
        <p:nvSpPr>
          <p:cNvPr id="724" name="Flowchart: Alternate Process 723">
            <a:extLst>
              <a:ext uri="{FF2B5EF4-FFF2-40B4-BE49-F238E27FC236}">
                <a16:creationId xmlns:a16="http://schemas.microsoft.com/office/drawing/2014/main" id="{213B451D-F318-41FA-8928-A88E160B3432}"/>
              </a:ext>
            </a:extLst>
          </p:cNvPr>
          <p:cNvSpPr/>
          <p:nvPr/>
        </p:nvSpPr>
        <p:spPr>
          <a:xfrm>
            <a:off x="7160845" y="1419374"/>
            <a:ext cx="986113" cy="4722016"/>
          </a:xfrm>
          <a:prstGeom prst="flowChartAlternateProcess">
            <a:avLst/>
          </a:prstGeom>
          <a:solidFill>
            <a:sysClr val="window" lastClr="FFFFFF"/>
          </a:solidFill>
          <a:ln w="19050" cap="flat" cmpd="sng" algn="ctr">
            <a:solidFill>
              <a:srgbClr val="00506E"/>
            </a:solidFill>
            <a:prstDash val="solid"/>
          </a:ln>
          <a:effectLst/>
        </p:spPr>
        <p:txBody>
          <a:bodyPr rtlCol="0" anchor="ctr"/>
          <a:lstStyle/>
          <a:p>
            <a:pPr defTabSz="1218966">
              <a:defRPr/>
            </a:pPr>
            <a:endParaRPr lang="en-US" sz="1467" b="1" kern="0">
              <a:solidFill>
                <a:prstClr val="black"/>
              </a:solidFill>
              <a:latin typeface="Lucida Console" panose="020B0609040504020204" pitchFamily="49" charset="0"/>
            </a:endParaRPr>
          </a:p>
        </p:txBody>
      </p:sp>
      <p:sp>
        <p:nvSpPr>
          <p:cNvPr id="1385" name="Can 220"/>
          <p:cNvSpPr/>
          <p:nvPr/>
        </p:nvSpPr>
        <p:spPr>
          <a:xfrm>
            <a:off x="7201507" y="4830116"/>
            <a:ext cx="892405" cy="1171465"/>
          </a:xfrm>
          <a:prstGeom prst="can">
            <a:avLst/>
          </a:prstGeom>
          <a:ln/>
        </p:spPr>
        <p:style>
          <a:lnRef idx="2">
            <a:schemeClr val="accent1"/>
          </a:lnRef>
          <a:fillRef idx="1">
            <a:schemeClr val="lt1"/>
          </a:fillRef>
          <a:effectRef idx="0">
            <a:schemeClr val="accent1"/>
          </a:effectRef>
          <a:fontRef idx="minor">
            <a:schemeClr val="dk1"/>
          </a:fontRef>
        </p:style>
        <p:txBody>
          <a:bodyPr rtlCol="0" anchor="ctr"/>
          <a:lstStyle/>
          <a:p>
            <a:pPr algn="ctr" defTabSz="1218966">
              <a:defRPr/>
            </a:pPr>
            <a:endParaRPr lang="en-US" sz="2400" kern="0">
              <a:solidFill>
                <a:sysClr val="windowText" lastClr="000000"/>
              </a:solidFill>
              <a:latin typeface="Calibri"/>
            </a:endParaRPr>
          </a:p>
        </p:txBody>
      </p:sp>
      <p:pic>
        <p:nvPicPr>
          <p:cNvPr id="1026" name="Picture 2" descr="See the source image">
            <a:extLst>
              <a:ext uri="{FF2B5EF4-FFF2-40B4-BE49-F238E27FC236}">
                <a16:creationId xmlns:a16="http://schemas.microsoft.com/office/drawing/2014/main" id="{BB5DDECB-A17A-4956-8FF9-CEA0EF13AF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7424076" y="3273868"/>
            <a:ext cx="569208" cy="56920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Top Corners One Rounded and One Snipped 4">
            <a:extLst>
              <a:ext uri="{FF2B5EF4-FFF2-40B4-BE49-F238E27FC236}">
                <a16:creationId xmlns:a16="http://schemas.microsoft.com/office/drawing/2014/main" id="{A1E4EC40-18A7-4F9A-B5A5-B35AF6470452}"/>
              </a:ext>
            </a:extLst>
          </p:cNvPr>
          <p:cNvSpPr/>
          <p:nvPr/>
        </p:nvSpPr>
        <p:spPr bwMode="auto">
          <a:xfrm>
            <a:off x="2180280" y="1520019"/>
            <a:ext cx="2613521" cy="1114328"/>
          </a:xfrm>
          <a:prstGeom prst="snip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080" fontAlgn="base">
              <a:lnSpc>
                <a:spcPct val="90000"/>
              </a:lnSpc>
              <a:spcBef>
                <a:spcPct val="0"/>
              </a:spcBef>
              <a:spcAft>
                <a:spcPct val="0"/>
              </a:spcAft>
              <a:tabLst>
                <a:tab pos="166688" algn="l"/>
                <a:tab pos="1311275" algn="l"/>
              </a:tabLst>
            </a:pPr>
            <a:r>
              <a:rPr lang="en-US" sz="1568">
                <a:gradFill>
                  <a:gsLst>
                    <a:gs pos="0">
                      <a:srgbClr val="FFFFFF"/>
                    </a:gs>
                    <a:gs pos="100000">
                      <a:srgbClr val="FFFFFF"/>
                    </a:gs>
                  </a:gsLst>
                  <a:lin ang="5400000" scaled="0"/>
                </a:gradFill>
                <a:ea typeface="Segoe UI" pitchFamily="34" charset="0"/>
                <a:cs typeface="Segoe UI" pitchFamily="34" charset="0"/>
              </a:rPr>
              <a:t>Deploy:</a:t>
            </a:r>
          </a:p>
          <a:p>
            <a:pPr defTabSz="914080" fontAlgn="base">
              <a:lnSpc>
                <a:spcPct val="90000"/>
              </a:lnSpc>
              <a:spcBef>
                <a:spcPct val="0"/>
              </a:spcBef>
              <a:spcAft>
                <a:spcPct val="0"/>
              </a:spcAft>
              <a:tabLst>
                <a:tab pos="166688" algn="l"/>
                <a:tab pos="1311275" algn="l"/>
              </a:tabLst>
            </a:pPr>
            <a:r>
              <a:rPr lang="en-US" sz="1568">
                <a:gradFill>
                  <a:gsLst>
                    <a:gs pos="0">
                      <a:srgbClr val="FFFFFF"/>
                    </a:gs>
                    <a:gs pos="100000">
                      <a:srgbClr val="FFFFFF"/>
                    </a:gs>
                  </a:gsLst>
                  <a:lin ang="5400000" scaled="0"/>
                </a:gradFill>
                <a:ea typeface="Segoe UI" pitchFamily="34" charset="0"/>
                <a:cs typeface="Segoe UI" pitchFamily="34" charset="0"/>
              </a:rPr>
              <a:t>	web:1	x3</a:t>
            </a:r>
          </a:p>
          <a:p>
            <a:pPr defTabSz="914080" fontAlgn="base">
              <a:lnSpc>
                <a:spcPct val="90000"/>
              </a:lnSpc>
              <a:spcBef>
                <a:spcPct val="0"/>
              </a:spcBef>
              <a:spcAft>
                <a:spcPct val="0"/>
              </a:spcAft>
              <a:tabLst>
                <a:tab pos="166688" algn="l"/>
                <a:tab pos="1311275" algn="l"/>
              </a:tabLst>
            </a:pPr>
            <a:r>
              <a:rPr lang="en-US" sz="1568">
                <a:gradFill>
                  <a:gsLst>
                    <a:gs pos="0">
                      <a:srgbClr val="FFFFFF"/>
                    </a:gs>
                    <a:gs pos="100000">
                      <a:srgbClr val="FFFFFF"/>
                    </a:gs>
                  </a:gsLst>
                  <a:lin ang="5400000" scaled="0"/>
                </a:gradFill>
                <a:ea typeface="Segoe UI" pitchFamily="34" charset="0"/>
                <a:cs typeface="Segoe UI" pitchFamily="34" charset="0"/>
              </a:rPr>
              <a:t>	quotes:1	x3</a:t>
            </a:r>
          </a:p>
          <a:p>
            <a:pPr defTabSz="914080" fontAlgn="base">
              <a:lnSpc>
                <a:spcPct val="90000"/>
              </a:lnSpc>
              <a:spcBef>
                <a:spcPct val="0"/>
              </a:spcBef>
              <a:spcAft>
                <a:spcPct val="0"/>
              </a:spcAft>
              <a:tabLst>
                <a:tab pos="166688" algn="l"/>
                <a:tab pos="1311275" algn="l"/>
              </a:tabLst>
            </a:pPr>
            <a:r>
              <a:rPr lang="en-US" sz="1568">
                <a:gradFill>
                  <a:gsLst>
                    <a:gs pos="0">
                      <a:srgbClr val="FFFFFF"/>
                    </a:gs>
                    <a:gs pos="100000">
                      <a:srgbClr val="FFFFFF"/>
                    </a:gs>
                  </a:gsLst>
                  <a:lin ang="5400000" scaled="0"/>
                </a:gradFill>
                <a:ea typeface="Segoe UI" pitchFamily="34" charset="0"/>
                <a:cs typeface="Segoe UI" pitchFamily="34" charset="0"/>
              </a:rPr>
              <a:t>	important:1	x4</a:t>
            </a:r>
          </a:p>
        </p:txBody>
      </p:sp>
      <p:cxnSp>
        <p:nvCxnSpPr>
          <p:cNvPr id="7" name="Straight Arrow Connector 6">
            <a:extLst>
              <a:ext uri="{FF2B5EF4-FFF2-40B4-BE49-F238E27FC236}">
                <a16:creationId xmlns:a16="http://schemas.microsoft.com/office/drawing/2014/main" id="{6B5D1914-8461-4C34-8B45-5051B329DD1F}"/>
              </a:ext>
            </a:extLst>
          </p:cNvPr>
          <p:cNvCxnSpPr>
            <a:cxnSpLocks/>
          </p:cNvCxnSpPr>
          <p:nvPr/>
        </p:nvCxnSpPr>
        <p:spPr>
          <a:xfrm>
            <a:off x="4081670" y="2077183"/>
            <a:ext cx="3071688" cy="0"/>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30" name="Rectangle: Top Corners One Rounded and One Snipped 729">
            <a:extLst>
              <a:ext uri="{FF2B5EF4-FFF2-40B4-BE49-F238E27FC236}">
                <a16:creationId xmlns:a16="http://schemas.microsoft.com/office/drawing/2014/main" id="{9B33B784-45BD-4F93-9801-1D61BA406156}"/>
              </a:ext>
            </a:extLst>
          </p:cNvPr>
          <p:cNvSpPr/>
          <p:nvPr/>
        </p:nvSpPr>
        <p:spPr bwMode="auto">
          <a:xfrm>
            <a:off x="7182725" y="1869159"/>
            <a:ext cx="892405" cy="569208"/>
          </a:xfrm>
          <a:prstGeom prst="snip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3" rIns="0" bIns="143428" numCol="1" spcCol="0" rtlCol="0" fromWordArt="0" anchor="t" anchorCtr="0" forceAA="0" compatLnSpc="1">
            <a:prstTxWarp prst="textNoShape">
              <a:avLst/>
            </a:prstTxWarp>
            <a:noAutofit/>
          </a:bodyPr>
          <a:lstStyle/>
          <a:p>
            <a:pPr defTabSz="914080" fontAlgn="base">
              <a:lnSpc>
                <a:spcPct val="90000"/>
              </a:lnSpc>
              <a:spcBef>
                <a:spcPct val="0"/>
              </a:spcBef>
              <a:spcAft>
                <a:spcPct val="0"/>
              </a:spcAft>
              <a:tabLst>
                <a:tab pos="53975" algn="l"/>
                <a:tab pos="628650" algn="l"/>
              </a:tabLst>
            </a:pPr>
            <a:r>
              <a:rPr lang="en-US" sz="784">
                <a:gradFill>
                  <a:gsLst>
                    <a:gs pos="0">
                      <a:srgbClr val="FFFFFF"/>
                    </a:gs>
                    <a:gs pos="100000">
                      <a:srgbClr val="FFFFFF"/>
                    </a:gs>
                  </a:gsLst>
                  <a:lin ang="5400000" scaled="0"/>
                </a:gradFill>
                <a:ea typeface="Segoe UI" pitchFamily="34" charset="0"/>
                <a:cs typeface="Segoe UI" pitchFamily="34" charset="0"/>
              </a:rPr>
              <a:t>Foo:</a:t>
            </a:r>
          </a:p>
          <a:p>
            <a:pPr defTabSz="914080" fontAlgn="base">
              <a:lnSpc>
                <a:spcPct val="90000"/>
              </a:lnSpc>
              <a:spcBef>
                <a:spcPct val="0"/>
              </a:spcBef>
              <a:spcAft>
                <a:spcPct val="0"/>
              </a:spcAft>
              <a:tabLst>
                <a:tab pos="53975" algn="l"/>
                <a:tab pos="628650" algn="l"/>
              </a:tabLst>
            </a:pPr>
            <a:r>
              <a:rPr lang="en-US" sz="784">
                <a:gradFill>
                  <a:gsLst>
                    <a:gs pos="0">
                      <a:srgbClr val="FFFFFF"/>
                    </a:gs>
                    <a:gs pos="100000">
                      <a:srgbClr val="FFFFFF"/>
                    </a:gs>
                  </a:gsLst>
                  <a:lin ang="5400000" scaled="0"/>
                </a:gradFill>
                <a:ea typeface="Segoe UI" pitchFamily="34" charset="0"/>
                <a:cs typeface="Segoe UI" pitchFamily="34" charset="0"/>
              </a:rPr>
              <a:t>	web:1	x3</a:t>
            </a:r>
          </a:p>
          <a:p>
            <a:pPr defTabSz="914080" fontAlgn="base">
              <a:lnSpc>
                <a:spcPct val="90000"/>
              </a:lnSpc>
              <a:spcBef>
                <a:spcPct val="0"/>
              </a:spcBef>
              <a:spcAft>
                <a:spcPct val="0"/>
              </a:spcAft>
              <a:tabLst>
                <a:tab pos="53975" algn="l"/>
                <a:tab pos="628650" algn="l"/>
              </a:tabLst>
            </a:pPr>
            <a:r>
              <a:rPr lang="en-US" sz="784">
                <a:gradFill>
                  <a:gsLst>
                    <a:gs pos="0">
                      <a:srgbClr val="FFFFFF"/>
                    </a:gs>
                    <a:gs pos="100000">
                      <a:srgbClr val="FFFFFF"/>
                    </a:gs>
                  </a:gsLst>
                  <a:lin ang="5400000" scaled="0"/>
                </a:gradFill>
                <a:ea typeface="Segoe UI" pitchFamily="34" charset="0"/>
                <a:cs typeface="Segoe UI" pitchFamily="34" charset="0"/>
              </a:rPr>
              <a:t>	quotes:1	x3</a:t>
            </a:r>
          </a:p>
          <a:p>
            <a:pPr defTabSz="914080" fontAlgn="base">
              <a:lnSpc>
                <a:spcPct val="90000"/>
              </a:lnSpc>
              <a:spcBef>
                <a:spcPct val="0"/>
              </a:spcBef>
              <a:spcAft>
                <a:spcPct val="0"/>
              </a:spcAft>
              <a:tabLst>
                <a:tab pos="53975" algn="l"/>
                <a:tab pos="628650" algn="l"/>
              </a:tabLst>
            </a:pPr>
            <a:r>
              <a:rPr lang="en-US" sz="784">
                <a:gradFill>
                  <a:gsLst>
                    <a:gs pos="0">
                      <a:srgbClr val="FFFFFF"/>
                    </a:gs>
                    <a:gs pos="100000">
                      <a:srgbClr val="FFFFFF"/>
                    </a:gs>
                  </a:gsLst>
                  <a:lin ang="5400000" scaled="0"/>
                </a:gradFill>
                <a:ea typeface="Segoe UI" pitchFamily="34" charset="0"/>
                <a:cs typeface="Segoe UI" pitchFamily="34" charset="0"/>
              </a:rPr>
              <a:t>	important:1	x4</a:t>
            </a:r>
          </a:p>
        </p:txBody>
      </p:sp>
      <p:cxnSp>
        <p:nvCxnSpPr>
          <p:cNvPr id="734" name="Straight Arrow Connector 733">
            <a:extLst>
              <a:ext uri="{FF2B5EF4-FFF2-40B4-BE49-F238E27FC236}">
                <a16:creationId xmlns:a16="http://schemas.microsoft.com/office/drawing/2014/main" id="{AE9C63D6-BAF5-4984-83D8-961F870DDEFE}"/>
              </a:ext>
            </a:extLst>
          </p:cNvPr>
          <p:cNvCxnSpPr>
            <a:cxnSpLocks/>
            <a:stCxn id="724" idx="3"/>
            <a:endCxn id="1376" idx="1"/>
          </p:cNvCxnSpPr>
          <p:nvPr/>
        </p:nvCxnSpPr>
        <p:spPr>
          <a:xfrm flipV="1">
            <a:off x="8146958" y="1262656"/>
            <a:ext cx="566923" cy="2517726"/>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7" name="Straight Arrow Connector 736">
            <a:extLst>
              <a:ext uri="{FF2B5EF4-FFF2-40B4-BE49-F238E27FC236}">
                <a16:creationId xmlns:a16="http://schemas.microsoft.com/office/drawing/2014/main" id="{CC27BE56-8AFA-4F03-85A6-235DE1090F84}"/>
              </a:ext>
            </a:extLst>
          </p:cNvPr>
          <p:cNvCxnSpPr>
            <a:cxnSpLocks/>
            <a:stCxn id="724" idx="3"/>
            <a:endCxn id="487" idx="1"/>
          </p:cNvCxnSpPr>
          <p:nvPr/>
        </p:nvCxnSpPr>
        <p:spPr>
          <a:xfrm flipV="1">
            <a:off x="8146958" y="2963684"/>
            <a:ext cx="574159" cy="816698"/>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4" name="Straight Arrow Connector 743">
            <a:extLst>
              <a:ext uri="{FF2B5EF4-FFF2-40B4-BE49-F238E27FC236}">
                <a16:creationId xmlns:a16="http://schemas.microsoft.com/office/drawing/2014/main" id="{26696372-8FB1-450A-90AA-27A56F967D26}"/>
              </a:ext>
            </a:extLst>
          </p:cNvPr>
          <p:cNvCxnSpPr>
            <a:cxnSpLocks/>
            <a:stCxn id="724" idx="3"/>
            <a:endCxn id="598" idx="1"/>
          </p:cNvCxnSpPr>
          <p:nvPr/>
        </p:nvCxnSpPr>
        <p:spPr>
          <a:xfrm>
            <a:off x="8146958" y="3780382"/>
            <a:ext cx="581396" cy="884329"/>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54" name="Rectangle 753">
            <a:extLst>
              <a:ext uri="{FF2B5EF4-FFF2-40B4-BE49-F238E27FC236}">
                <a16:creationId xmlns:a16="http://schemas.microsoft.com/office/drawing/2014/main" id="{9736D616-15DE-4FBB-9537-B8B12A1D0314}"/>
              </a:ext>
            </a:extLst>
          </p:cNvPr>
          <p:cNvSpPr/>
          <p:nvPr/>
        </p:nvSpPr>
        <p:spPr>
          <a:xfrm>
            <a:off x="1630269" y="4904161"/>
            <a:ext cx="432259" cy="21945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solidFill>
                  <a:srgbClr val="353535"/>
                </a:solidFill>
                <a:latin typeface="Calibri"/>
              </a:rPr>
              <a:t>important:1</a:t>
            </a:r>
          </a:p>
          <a:p>
            <a:pPr algn="ctr" defTabSz="1218966">
              <a:defRPr/>
            </a:pPr>
            <a:r>
              <a:rPr lang="en-US" sz="491" kern="0">
                <a:solidFill>
                  <a:srgbClr val="353535"/>
                </a:solidFill>
                <a:latin typeface="Calibri"/>
              </a:rPr>
              <a:t>digest: 2re</a:t>
            </a:r>
          </a:p>
        </p:txBody>
      </p:sp>
      <p:sp>
        <p:nvSpPr>
          <p:cNvPr id="756" name="Rectangle 755">
            <a:extLst>
              <a:ext uri="{FF2B5EF4-FFF2-40B4-BE49-F238E27FC236}">
                <a16:creationId xmlns:a16="http://schemas.microsoft.com/office/drawing/2014/main" id="{D23B2C4A-24D9-4B2B-B8BC-313A83A3FD80}"/>
              </a:ext>
            </a:extLst>
          </p:cNvPr>
          <p:cNvSpPr/>
          <p:nvPr/>
        </p:nvSpPr>
        <p:spPr>
          <a:xfrm>
            <a:off x="1629689" y="4735669"/>
            <a:ext cx="432259" cy="219456"/>
          </a:xfrm>
          <a:prstGeom prst="rect">
            <a:avLst/>
          </a:prstGeom>
          <a:solidFill>
            <a:srgbClr val="FFC000"/>
          </a:solidFill>
          <a:ln w="25400" cap="flat" cmpd="sng" algn="ctr">
            <a:noFill/>
            <a:prstDash val="solid"/>
          </a:ln>
          <a:effectLst/>
        </p:spPr>
        <p:txBody>
          <a:bodyPr lIns="0" tIns="0" rIns="0" bIns="0" rtlCol="0" anchor="ctr"/>
          <a:lstStyle/>
          <a:p>
            <a:pPr algn="ctr" defTabSz="1218966">
              <a:defRPr/>
            </a:pPr>
            <a:r>
              <a:rPr lang="en-US" sz="900" kern="0">
                <a:solidFill>
                  <a:srgbClr val="353535"/>
                </a:solidFill>
                <a:latin typeface="Calibri"/>
              </a:rPr>
              <a:t>quotes:1</a:t>
            </a:r>
          </a:p>
          <a:p>
            <a:pPr algn="ctr" defTabSz="1218966">
              <a:defRPr/>
            </a:pPr>
            <a:r>
              <a:rPr lang="en-US" sz="491" kern="0">
                <a:solidFill>
                  <a:srgbClr val="353535"/>
                </a:solidFill>
                <a:latin typeface="Calibri"/>
              </a:rPr>
              <a:t>digest: u82</a:t>
            </a:r>
          </a:p>
        </p:txBody>
      </p:sp>
      <p:sp>
        <p:nvSpPr>
          <p:cNvPr id="757" name="Rectangle 756">
            <a:extLst>
              <a:ext uri="{FF2B5EF4-FFF2-40B4-BE49-F238E27FC236}">
                <a16:creationId xmlns:a16="http://schemas.microsoft.com/office/drawing/2014/main" id="{A03718C7-C372-4575-B925-E69EEA5973C1}"/>
              </a:ext>
            </a:extLst>
          </p:cNvPr>
          <p:cNvSpPr/>
          <p:nvPr/>
        </p:nvSpPr>
        <p:spPr>
          <a:xfrm>
            <a:off x="1611852" y="4612867"/>
            <a:ext cx="432259" cy="219456"/>
          </a:xfrm>
          <a:prstGeom prst="rect">
            <a:avLst/>
          </a:prstGeom>
          <a:solidFill>
            <a:srgbClr val="7030A0"/>
          </a:solidFill>
          <a:ln w="25400" cap="flat" cmpd="sng" algn="ctr">
            <a:noFill/>
            <a:prstDash val="solid"/>
          </a:ln>
          <a:effectLst/>
        </p:spPr>
        <p:txBody>
          <a:bodyPr lIns="0" tIns="0" rIns="0" bIns="0" rtlCol="0" anchor="ctr"/>
          <a:lstStyle/>
          <a:p>
            <a:pPr algn="ctr" defTabSz="1218966">
              <a:defRPr/>
            </a:pPr>
            <a:r>
              <a:rPr lang="en-US" sz="980" kern="0">
                <a:solidFill>
                  <a:srgbClr val="FFFFFF"/>
                </a:solidFill>
                <a:latin typeface="Calibri"/>
              </a:rPr>
              <a:t>web:1</a:t>
            </a:r>
          </a:p>
          <a:p>
            <a:pPr algn="ctr" defTabSz="1218966">
              <a:defRPr/>
            </a:pPr>
            <a:r>
              <a:rPr lang="en-US" sz="491" kern="0">
                <a:solidFill>
                  <a:srgbClr val="FFFFFF"/>
                </a:solidFill>
                <a:latin typeface="Calibri"/>
              </a:rPr>
              <a:t>digest: 91e</a:t>
            </a:r>
          </a:p>
        </p:txBody>
      </p:sp>
      <p:graphicFrame>
        <p:nvGraphicFramePr>
          <p:cNvPr id="2" name="Table 1">
            <a:extLst>
              <a:ext uri="{FF2B5EF4-FFF2-40B4-BE49-F238E27FC236}">
                <a16:creationId xmlns:a16="http://schemas.microsoft.com/office/drawing/2014/main" id="{4F6A9C0C-F3DC-4607-B974-79589A652457}"/>
              </a:ext>
            </a:extLst>
          </p:cNvPr>
          <p:cNvGraphicFramePr>
            <a:graphicFrameLocks noGrp="1"/>
          </p:cNvGraphicFramePr>
          <p:nvPr>
            <p:extLst/>
          </p:nvPr>
        </p:nvGraphicFramePr>
        <p:xfrm>
          <a:off x="4402729" y="4093293"/>
          <a:ext cx="1006210" cy="1090092"/>
        </p:xfrm>
        <a:graphic>
          <a:graphicData uri="http://schemas.openxmlformats.org/drawingml/2006/table">
            <a:tbl>
              <a:tblPr firstRow="1" bandRow="1">
                <a:tableStyleId>{5C22544A-7EE6-4342-B048-85BDC9FD1C3A}</a:tableStyleId>
              </a:tblPr>
              <a:tblGrid>
                <a:gridCol w="1006210">
                  <a:extLst>
                    <a:ext uri="{9D8B030D-6E8A-4147-A177-3AD203B41FA5}">
                      <a16:colId xmlns:a16="http://schemas.microsoft.com/office/drawing/2014/main" val="1766111431"/>
                    </a:ext>
                  </a:extLst>
                </a:gridCol>
              </a:tblGrid>
              <a:tr h="272523">
                <a:tc>
                  <a:txBody>
                    <a:bodyPr/>
                    <a:lstStyle/>
                    <a:p>
                      <a:r>
                        <a:rPr lang="en-US" sz="1200"/>
                        <a:t>Image</a:t>
                      </a:r>
                    </a:p>
                  </a:txBody>
                  <a:tcPr marL="89643" marR="89643" marT="44821" marB="44821"/>
                </a:tc>
                <a:extLst>
                  <a:ext uri="{0D108BD9-81ED-4DB2-BD59-A6C34878D82A}">
                    <a16:rowId xmlns:a16="http://schemas.microsoft.com/office/drawing/2014/main" val="285801108"/>
                  </a:ext>
                </a:extLst>
              </a:tr>
              <a:tr h="272523">
                <a:tc>
                  <a:txBody>
                    <a:bodyPr/>
                    <a:lstStyle/>
                    <a:p>
                      <a:r>
                        <a:rPr lang="en-US" sz="1200"/>
                        <a:t>web:1</a:t>
                      </a:r>
                    </a:p>
                  </a:txBody>
                  <a:tcPr marL="89643" marR="89643" marT="44821" marB="44821"/>
                </a:tc>
                <a:extLst>
                  <a:ext uri="{0D108BD9-81ED-4DB2-BD59-A6C34878D82A}">
                    <a16:rowId xmlns:a16="http://schemas.microsoft.com/office/drawing/2014/main" val="2235502092"/>
                  </a:ext>
                </a:extLst>
              </a:tr>
              <a:tr h="272523">
                <a:tc>
                  <a:txBody>
                    <a:bodyPr/>
                    <a:lstStyle/>
                    <a:p>
                      <a:r>
                        <a:rPr lang="en-US" sz="1200"/>
                        <a:t>quotes:1</a:t>
                      </a:r>
                    </a:p>
                  </a:txBody>
                  <a:tcPr marL="89643" marR="89643" marT="44821" marB="44821"/>
                </a:tc>
                <a:extLst>
                  <a:ext uri="{0D108BD9-81ED-4DB2-BD59-A6C34878D82A}">
                    <a16:rowId xmlns:a16="http://schemas.microsoft.com/office/drawing/2014/main" val="3496886193"/>
                  </a:ext>
                </a:extLst>
              </a:tr>
              <a:tr h="272523">
                <a:tc>
                  <a:txBody>
                    <a:bodyPr/>
                    <a:lstStyle/>
                    <a:p>
                      <a:r>
                        <a:rPr lang="en-US" sz="1200"/>
                        <a:t>important:1</a:t>
                      </a:r>
                    </a:p>
                  </a:txBody>
                  <a:tcPr marL="89643" marR="89643" marT="44821" marB="44821"/>
                </a:tc>
                <a:extLst>
                  <a:ext uri="{0D108BD9-81ED-4DB2-BD59-A6C34878D82A}">
                    <a16:rowId xmlns:a16="http://schemas.microsoft.com/office/drawing/2014/main" val="756993468"/>
                  </a:ext>
                </a:extLst>
              </a:tr>
            </a:tbl>
          </a:graphicData>
        </a:graphic>
      </p:graphicFrame>
      <p:graphicFrame>
        <p:nvGraphicFramePr>
          <p:cNvPr id="298" name="Table 297">
            <a:extLst>
              <a:ext uri="{FF2B5EF4-FFF2-40B4-BE49-F238E27FC236}">
                <a16:creationId xmlns:a16="http://schemas.microsoft.com/office/drawing/2014/main" id="{4353EA1E-0EE9-4C2A-9E8D-71AD91FBC78F}"/>
              </a:ext>
            </a:extLst>
          </p:cNvPr>
          <p:cNvGraphicFramePr>
            <a:graphicFrameLocks noGrp="1"/>
          </p:cNvGraphicFramePr>
          <p:nvPr>
            <p:extLst/>
          </p:nvPr>
        </p:nvGraphicFramePr>
        <p:xfrm>
          <a:off x="5891607" y="4091169"/>
          <a:ext cx="730728" cy="1090092"/>
        </p:xfrm>
        <a:graphic>
          <a:graphicData uri="http://schemas.openxmlformats.org/drawingml/2006/table">
            <a:tbl>
              <a:tblPr firstRow="1" bandRow="1">
                <a:tableStyleId>{5C22544A-7EE6-4342-B048-85BDC9FD1C3A}</a:tableStyleId>
              </a:tblPr>
              <a:tblGrid>
                <a:gridCol w="730728">
                  <a:extLst>
                    <a:ext uri="{9D8B030D-6E8A-4147-A177-3AD203B41FA5}">
                      <a16:colId xmlns:a16="http://schemas.microsoft.com/office/drawing/2014/main" val="1766111431"/>
                    </a:ext>
                  </a:extLst>
                </a:gridCol>
              </a:tblGrid>
              <a:tr h="272523">
                <a:tc>
                  <a:txBody>
                    <a:bodyPr/>
                    <a:lstStyle/>
                    <a:p>
                      <a:r>
                        <a:rPr lang="en-US" sz="1200"/>
                        <a:t>Digests</a:t>
                      </a:r>
                    </a:p>
                  </a:txBody>
                  <a:tcPr marL="89643" marR="89643" marT="44821" marB="44821"/>
                </a:tc>
                <a:extLst>
                  <a:ext uri="{0D108BD9-81ED-4DB2-BD59-A6C34878D82A}">
                    <a16:rowId xmlns:a16="http://schemas.microsoft.com/office/drawing/2014/main" val="285801108"/>
                  </a:ext>
                </a:extLst>
              </a:tr>
              <a:tr h="272523">
                <a:tc>
                  <a:txBody>
                    <a:bodyPr/>
                    <a:lstStyle/>
                    <a:p>
                      <a:r>
                        <a:rPr lang="en-US" sz="1200"/>
                        <a:t>91e</a:t>
                      </a:r>
                    </a:p>
                  </a:txBody>
                  <a:tcPr marL="89643" marR="89643" marT="44821" marB="44821"/>
                </a:tc>
                <a:extLst>
                  <a:ext uri="{0D108BD9-81ED-4DB2-BD59-A6C34878D82A}">
                    <a16:rowId xmlns:a16="http://schemas.microsoft.com/office/drawing/2014/main" val="2235502092"/>
                  </a:ext>
                </a:extLst>
              </a:tr>
              <a:tr h="272523">
                <a:tc>
                  <a:txBody>
                    <a:bodyPr/>
                    <a:lstStyle/>
                    <a:p>
                      <a:r>
                        <a:rPr lang="en-US" sz="1200"/>
                        <a:t>u82</a:t>
                      </a:r>
                    </a:p>
                  </a:txBody>
                  <a:tcPr marL="89643" marR="89643" marT="44821" marB="44821"/>
                </a:tc>
                <a:extLst>
                  <a:ext uri="{0D108BD9-81ED-4DB2-BD59-A6C34878D82A}">
                    <a16:rowId xmlns:a16="http://schemas.microsoft.com/office/drawing/2014/main" val="3496886193"/>
                  </a:ext>
                </a:extLst>
              </a:tr>
              <a:tr h="272523">
                <a:tc>
                  <a:txBody>
                    <a:bodyPr/>
                    <a:lstStyle/>
                    <a:p>
                      <a:r>
                        <a:rPr lang="en-US" sz="1200"/>
                        <a:t>2re</a:t>
                      </a:r>
                    </a:p>
                  </a:txBody>
                  <a:tcPr marL="89643" marR="89643" marT="44821" marB="44821"/>
                </a:tc>
                <a:extLst>
                  <a:ext uri="{0D108BD9-81ED-4DB2-BD59-A6C34878D82A}">
                    <a16:rowId xmlns:a16="http://schemas.microsoft.com/office/drawing/2014/main" val="756993468"/>
                  </a:ext>
                </a:extLst>
              </a:tr>
            </a:tbl>
          </a:graphicData>
        </a:graphic>
      </p:graphicFrame>
      <p:cxnSp>
        <p:nvCxnSpPr>
          <p:cNvPr id="299" name="Straight Arrow Connector 298">
            <a:extLst>
              <a:ext uri="{FF2B5EF4-FFF2-40B4-BE49-F238E27FC236}">
                <a16:creationId xmlns:a16="http://schemas.microsoft.com/office/drawing/2014/main" id="{06D7E473-F66B-4B02-8E9D-F5C52AB4E6D3}"/>
              </a:ext>
            </a:extLst>
          </p:cNvPr>
          <p:cNvCxnSpPr>
            <a:cxnSpLocks/>
          </p:cNvCxnSpPr>
          <p:nvPr/>
        </p:nvCxnSpPr>
        <p:spPr>
          <a:xfrm>
            <a:off x="5453907" y="4498409"/>
            <a:ext cx="436977"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3" name="Straight Arrow Connector 302">
            <a:extLst>
              <a:ext uri="{FF2B5EF4-FFF2-40B4-BE49-F238E27FC236}">
                <a16:creationId xmlns:a16="http://schemas.microsoft.com/office/drawing/2014/main" id="{11CEB7A2-ED17-4BC3-9786-D1D61C202B04}"/>
              </a:ext>
            </a:extLst>
          </p:cNvPr>
          <p:cNvCxnSpPr>
            <a:cxnSpLocks/>
          </p:cNvCxnSpPr>
          <p:nvPr/>
        </p:nvCxnSpPr>
        <p:spPr>
          <a:xfrm>
            <a:off x="5453907" y="4769645"/>
            <a:ext cx="436977"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4" name="Straight Arrow Connector 303">
            <a:extLst>
              <a:ext uri="{FF2B5EF4-FFF2-40B4-BE49-F238E27FC236}">
                <a16:creationId xmlns:a16="http://schemas.microsoft.com/office/drawing/2014/main" id="{189EBF52-7E16-4F60-A260-A943DCB208E5}"/>
              </a:ext>
            </a:extLst>
          </p:cNvPr>
          <p:cNvCxnSpPr>
            <a:cxnSpLocks/>
          </p:cNvCxnSpPr>
          <p:nvPr/>
        </p:nvCxnSpPr>
        <p:spPr>
          <a:xfrm>
            <a:off x="5211452" y="5040881"/>
            <a:ext cx="679432"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6" name="Oval 315">
            <a:extLst>
              <a:ext uri="{FF2B5EF4-FFF2-40B4-BE49-F238E27FC236}">
                <a16:creationId xmlns:a16="http://schemas.microsoft.com/office/drawing/2014/main" id="{875E9468-3F05-44AB-9665-3C146C379210}"/>
              </a:ext>
            </a:extLst>
          </p:cNvPr>
          <p:cNvSpPr/>
          <p:nvPr/>
        </p:nvSpPr>
        <p:spPr>
          <a:xfrm>
            <a:off x="128916" y="3564902"/>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1</a:t>
            </a:r>
          </a:p>
        </p:txBody>
      </p:sp>
      <p:sp>
        <p:nvSpPr>
          <p:cNvPr id="317" name="Oval 316">
            <a:extLst>
              <a:ext uri="{FF2B5EF4-FFF2-40B4-BE49-F238E27FC236}">
                <a16:creationId xmlns:a16="http://schemas.microsoft.com/office/drawing/2014/main" id="{3E40F525-AB87-4EA8-B643-A9330BE30460}"/>
              </a:ext>
            </a:extLst>
          </p:cNvPr>
          <p:cNvSpPr/>
          <p:nvPr/>
        </p:nvSpPr>
        <p:spPr>
          <a:xfrm>
            <a:off x="5416427" y="4092766"/>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2</a:t>
            </a:r>
          </a:p>
        </p:txBody>
      </p:sp>
      <p:sp>
        <p:nvSpPr>
          <p:cNvPr id="319" name="Oval 318">
            <a:extLst>
              <a:ext uri="{FF2B5EF4-FFF2-40B4-BE49-F238E27FC236}">
                <a16:creationId xmlns:a16="http://schemas.microsoft.com/office/drawing/2014/main" id="{F046D53E-3299-4B9B-9769-72D6D8D8D88E}"/>
              </a:ext>
            </a:extLst>
          </p:cNvPr>
          <p:cNvSpPr/>
          <p:nvPr/>
        </p:nvSpPr>
        <p:spPr>
          <a:xfrm>
            <a:off x="2107156" y="1550286"/>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3</a:t>
            </a:r>
          </a:p>
        </p:txBody>
      </p:sp>
      <p:sp>
        <p:nvSpPr>
          <p:cNvPr id="322" name="Oval 321">
            <a:extLst>
              <a:ext uri="{FF2B5EF4-FFF2-40B4-BE49-F238E27FC236}">
                <a16:creationId xmlns:a16="http://schemas.microsoft.com/office/drawing/2014/main" id="{B913DDD2-0602-44D2-9984-D1CDF78DE16F}"/>
              </a:ext>
            </a:extLst>
          </p:cNvPr>
          <p:cNvSpPr/>
          <p:nvPr/>
        </p:nvSpPr>
        <p:spPr>
          <a:xfrm>
            <a:off x="7242324" y="4814707"/>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4</a:t>
            </a:r>
          </a:p>
        </p:txBody>
      </p:sp>
      <p:sp>
        <p:nvSpPr>
          <p:cNvPr id="324" name="Oval 323">
            <a:extLst>
              <a:ext uri="{FF2B5EF4-FFF2-40B4-BE49-F238E27FC236}">
                <a16:creationId xmlns:a16="http://schemas.microsoft.com/office/drawing/2014/main" id="{ACE3DA51-0EC4-405D-BD89-C5DD9FF91551}"/>
              </a:ext>
            </a:extLst>
          </p:cNvPr>
          <p:cNvSpPr/>
          <p:nvPr/>
        </p:nvSpPr>
        <p:spPr>
          <a:xfrm>
            <a:off x="7298352" y="3343230"/>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5</a:t>
            </a:r>
          </a:p>
        </p:txBody>
      </p:sp>
      <p:sp>
        <p:nvSpPr>
          <p:cNvPr id="328" name="Oval 327">
            <a:extLst>
              <a:ext uri="{FF2B5EF4-FFF2-40B4-BE49-F238E27FC236}">
                <a16:creationId xmlns:a16="http://schemas.microsoft.com/office/drawing/2014/main" id="{8DB312A9-043D-4962-8CFA-D675C6AAD9F3}"/>
              </a:ext>
            </a:extLst>
          </p:cNvPr>
          <p:cNvSpPr/>
          <p:nvPr/>
        </p:nvSpPr>
        <p:spPr>
          <a:xfrm>
            <a:off x="8433816" y="3322474"/>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6</a:t>
            </a:r>
          </a:p>
        </p:txBody>
      </p:sp>
      <p:sp>
        <p:nvSpPr>
          <p:cNvPr id="329" name="Oval 328">
            <a:extLst>
              <a:ext uri="{FF2B5EF4-FFF2-40B4-BE49-F238E27FC236}">
                <a16:creationId xmlns:a16="http://schemas.microsoft.com/office/drawing/2014/main" id="{A50DB78E-CD12-423A-9EBA-7FC5D0513E04}"/>
              </a:ext>
            </a:extLst>
          </p:cNvPr>
          <p:cNvSpPr/>
          <p:nvPr/>
        </p:nvSpPr>
        <p:spPr>
          <a:xfrm>
            <a:off x="7290415" y="3343230"/>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7</a:t>
            </a:r>
          </a:p>
        </p:txBody>
      </p:sp>
      <p:sp>
        <p:nvSpPr>
          <p:cNvPr id="747" name="Rectangle 746">
            <a:extLst>
              <a:ext uri="{FF2B5EF4-FFF2-40B4-BE49-F238E27FC236}">
                <a16:creationId xmlns:a16="http://schemas.microsoft.com/office/drawing/2014/main" id="{8FB01D48-A3B0-464E-8AC1-C40FAE12038B}"/>
              </a:ext>
            </a:extLst>
          </p:cNvPr>
          <p:cNvSpPr/>
          <p:nvPr/>
        </p:nvSpPr>
        <p:spPr>
          <a:xfrm>
            <a:off x="5547433" y="3479903"/>
            <a:ext cx="423743" cy="219456"/>
          </a:xfrm>
          <a:prstGeom prst="rect">
            <a:avLst/>
          </a:prstGeom>
          <a:solidFill>
            <a:srgbClr val="00B050"/>
          </a:solidFill>
          <a:ln w="25400" cap="flat" cmpd="sng" algn="ctr">
            <a:noFill/>
            <a:prstDash val="solid"/>
          </a:ln>
          <a:effectLst/>
        </p:spPr>
        <p:txBody>
          <a:bodyPr lIns="0" tIns="0" rIns="0" bIns="0" rtlCol="0" anchor="ctr"/>
          <a:lstStyle/>
          <a:p>
            <a:pPr lvl="0" algn="ctr" defTabSz="1218966">
              <a:defRPr/>
            </a:pPr>
            <a:r>
              <a:rPr lang="en-US" sz="600" kern="0">
                <a:solidFill>
                  <a:srgbClr val="353535"/>
                </a:solidFill>
                <a:latin typeface="Calibri"/>
              </a:rPr>
              <a:t>important:1</a:t>
            </a:r>
          </a:p>
          <a:p>
            <a:pPr lvl="0" algn="ctr" defTabSz="1218966">
              <a:defRPr/>
            </a:pPr>
            <a:r>
              <a:rPr lang="en-US" sz="687" kern="0">
                <a:solidFill>
                  <a:srgbClr val="353535"/>
                </a:solidFill>
                <a:latin typeface="Calibri"/>
              </a:rPr>
              <a:t>digest: 2re</a:t>
            </a:r>
          </a:p>
        </p:txBody>
      </p:sp>
      <p:sp>
        <p:nvSpPr>
          <p:cNvPr id="748" name="Rectangle 747">
            <a:extLst>
              <a:ext uri="{FF2B5EF4-FFF2-40B4-BE49-F238E27FC236}">
                <a16:creationId xmlns:a16="http://schemas.microsoft.com/office/drawing/2014/main" id="{500DF5E9-4292-42BF-806E-AF9E161A257B}"/>
              </a:ext>
            </a:extLst>
          </p:cNvPr>
          <p:cNvSpPr/>
          <p:nvPr/>
        </p:nvSpPr>
        <p:spPr>
          <a:xfrm>
            <a:off x="5551168" y="3483054"/>
            <a:ext cx="432259" cy="219456"/>
          </a:xfrm>
          <a:prstGeom prst="rect">
            <a:avLst/>
          </a:prstGeom>
          <a:solidFill>
            <a:srgbClr val="FFC000"/>
          </a:solidFill>
          <a:ln w="25400" cap="flat" cmpd="sng" algn="ctr">
            <a:noFill/>
            <a:prstDash val="solid"/>
          </a:ln>
          <a:effectLst/>
        </p:spPr>
        <p:txBody>
          <a:bodyPr lIns="0" tIns="0" rIns="0" bIns="0" rtlCol="0" anchor="ctr"/>
          <a:lstStyle/>
          <a:p>
            <a:pPr lvl="0" algn="ctr" defTabSz="1218966">
              <a:defRPr/>
            </a:pPr>
            <a:r>
              <a:rPr lang="en-US" sz="800" kern="0">
                <a:solidFill>
                  <a:srgbClr val="353535"/>
                </a:solidFill>
                <a:latin typeface="Calibri"/>
              </a:rPr>
              <a:t>quotes:1</a:t>
            </a:r>
          </a:p>
          <a:p>
            <a:pPr lvl="0" algn="ctr" defTabSz="1218966">
              <a:defRPr/>
            </a:pPr>
            <a:r>
              <a:rPr lang="en-US" sz="687" kern="0">
                <a:solidFill>
                  <a:srgbClr val="353535"/>
                </a:solidFill>
                <a:latin typeface="Calibri"/>
              </a:rPr>
              <a:t>digest: u82</a:t>
            </a:r>
          </a:p>
        </p:txBody>
      </p:sp>
      <p:sp>
        <p:nvSpPr>
          <p:cNvPr id="731" name="Rectangle 730">
            <a:extLst>
              <a:ext uri="{FF2B5EF4-FFF2-40B4-BE49-F238E27FC236}">
                <a16:creationId xmlns:a16="http://schemas.microsoft.com/office/drawing/2014/main" id="{5E696055-1FB0-4FA8-ACFB-4B986261FDB2}"/>
              </a:ext>
            </a:extLst>
          </p:cNvPr>
          <p:cNvSpPr/>
          <p:nvPr/>
        </p:nvSpPr>
        <p:spPr>
          <a:xfrm>
            <a:off x="5544434" y="3478732"/>
            <a:ext cx="432259" cy="219456"/>
          </a:xfrm>
          <a:prstGeom prst="rect">
            <a:avLst/>
          </a:prstGeom>
          <a:solidFill>
            <a:srgbClr val="7030A0"/>
          </a:solidFill>
          <a:ln w="25400" cap="flat" cmpd="sng" algn="ctr">
            <a:noFill/>
            <a:prstDash val="solid"/>
          </a:ln>
          <a:effectLst/>
        </p:spPr>
        <p:txBody>
          <a:bodyPr lIns="0" tIns="0" rIns="0" bIns="0" rtlCol="0" anchor="ctr"/>
          <a:lstStyle/>
          <a:p>
            <a:pPr algn="ctr" defTabSz="1218966">
              <a:defRPr/>
            </a:pPr>
            <a:r>
              <a:rPr lang="en-US" sz="900" kern="0">
                <a:solidFill>
                  <a:srgbClr val="FFFFFF"/>
                </a:solidFill>
                <a:latin typeface="Calibri"/>
              </a:rPr>
              <a:t>web:1</a:t>
            </a:r>
          </a:p>
          <a:p>
            <a:pPr algn="ctr" defTabSz="1218966">
              <a:defRPr/>
            </a:pPr>
            <a:r>
              <a:rPr lang="en-US" sz="687" kern="0">
                <a:solidFill>
                  <a:srgbClr val="FFFFFF"/>
                </a:solidFill>
                <a:latin typeface="Calibri"/>
              </a:rPr>
              <a:t>digest: 91e</a:t>
            </a:r>
          </a:p>
        </p:txBody>
      </p:sp>
      <p:sp>
        <p:nvSpPr>
          <p:cNvPr id="732" name="Rectangle 731">
            <a:extLst>
              <a:ext uri="{FF2B5EF4-FFF2-40B4-BE49-F238E27FC236}">
                <a16:creationId xmlns:a16="http://schemas.microsoft.com/office/drawing/2014/main" id="{C78DA87A-78D2-43C2-92FE-D733EFBD04D3}"/>
              </a:ext>
            </a:extLst>
          </p:cNvPr>
          <p:cNvSpPr/>
          <p:nvPr/>
        </p:nvSpPr>
        <p:spPr>
          <a:xfrm>
            <a:off x="5547935" y="3484232"/>
            <a:ext cx="432259" cy="219456"/>
          </a:xfrm>
          <a:prstGeom prst="rect">
            <a:avLst/>
          </a:prstGeom>
          <a:solidFill>
            <a:srgbClr val="FFC000"/>
          </a:solidFill>
          <a:ln w="25400" cap="flat" cmpd="sng" algn="ctr">
            <a:noFill/>
            <a:prstDash val="solid"/>
          </a:ln>
          <a:effectLst/>
        </p:spPr>
        <p:txBody>
          <a:bodyPr lIns="0" tIns="0" rIns="0" bIns="0" rtlCol="0" anchor="ctr"/>
          <a:lstStyle/>
          <a:p>
            <a:pPr algn="ctr" defTabSz="1218966">
              <a:defRPr/>
            </a:pPr>
            <a:r>
              <a:rPr lang="en-US" sz="800" kern="0">
                <a:solidFill>
                  <a:srgbClr val="353535"/>
                </a:solidFill>
                <a:latin typeface="Calibri"/>
              </a:rPr>
              <a:t>quotes:1</a:t>
            </a:r>
          </a:p>
          <a:p>
            <a:pPr algn="ctr" defTabSz="1218966">
              <a:defRPr/>
            </a:pPr>
            <a:r>
              <a:rPr lang="en-US" sz="687" kern="0">
                <a:solidFill>
                  <a:srgbClr val="353535"/>
                </a:solidFill>
                <a:latin typeface="Calibri"/>
              </a:rPr>
              <a:t>digest: u82</a:t>
            </a:r>
          </a:p>
        </p:txBody>
      </p:sp>
      <p:sp>
        <p:nvSpPr>
          <p:cNvPr id="733" name="Rectangle 732">
            <a:extLst>
              <a:ext uri="{FF2B5EF4-FFF2-40B4-BE49-F238E27FC236}">
                <a16:creationId xmlns:a16="http://schemas.microsoft.com/office/drawing/2014/main" id="{EE548FF5-9F19-40E7-A4CC-F18EA7D1EE4E}"/>
              </a:ext>
            </a:extLst>
          </p:cNvPr>
          <p:cNvSpPr/>
          <p:nvPr/>
        </p:nvSpPr>
        <p:spPr>
          <a:xfrm>
            <a:off x="5549042" y="3481883"/>
            <a:ext cx="432259" cy="21945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solidFill>
                  <a:srgbClr val="353535"/>
                </a:solidFill>
                <a:latin typeface="Calibri"/>
              </a:rPr>
              <a:t>important:1</a:t>
            </a:r>
          </a:p>
          <a:p>
            <a:pPr algn="ctr" defTabSz="1218966">
              <a:defRPr/>
            </a:pPr>
            <a:r>
              <a:rPr lang="en-US" sz="600" kern="0">
                <a:solidFill>
                  <a:srgbClr val="353535"/>
                </a:solidFill>
                <a:latin typeface="Calibri"/>
              </a:rPr>
              <a:t>digest: 2re</a:t>
            </a:r>
          </a:p>
        </p:txBody>
      </p:sp>
      <p:sp>
        <p:nvSpPr>
          <p:cNvPr id="740" name="Rectangle 739">
            <a:extLst>
              <a:ext uri="{FF2B5EF4-FFF2-40B4-BE49-F238E27FC236}">
                <a16:creationId xmlns:a16="http://schemas.microsoft.com/office/drawing/2014/main" id="{0CAE9EE5-D2F0-4761-A0FC-D19413A19E6A}"/>
              </a:ext>
            </a:extLst>
          </p:cNvPr>
          <p:cNvSpPr/>
          <p:nvPr/>
        </p:nvSpPr>
        <p:spPr>
          <a:xfrm>
            <a:off x="5545682" y="3477742"/>
            <a:ext cx="432259" cy="219456"/>
          </a:xfrm>
          <a:prstGeom prst="rect">
            <a:avLst/>
          </a:prstGeom>
          <a:solidFill>
            <a:srgbClr val="FFC000"/>
          </a:solidFill>
          <a:ln w="25400" cap="flat" cmpd="sng" algn="ctr">
            <a:noFill/>
            <a:prstDash val="solid"/>
          </a:ln>
          <a:effectLst/>
        </p:spPr>
        <p:txBody>
          <a:bodyPr lIns="0" tIns="0" rIns="0" bIns="0" rtlCol="0" anchor="ctr"/>
          <a:lstStyle/>
          <a:p>
            <a:pPr algn="ctr" defTabSz="1218966">
              <a:defRPr/>
            </a:pPr>
            <a:r>
              <a:rPr lang="en-US" sz="800" kern="0">
                <a:solidFill>
                  <a:srgbClr val="353535"/>
                </a:solidFill>
                <a:latin typeface="Calibri"/>
              </a:rPr>
              <a:t>quotes:1</a:t>
            </a:r>
          </a:p>
          <a:p>
            <a:pPr algn="ctr" defTabSz="1218966">
              <a:defRPr/>
            </a:pPr>
            <a:r>
              <a:rPr lang="en-US" sz="687" kern="0">
                <a:solidFill>
                  <a:srgbClr val="353535"/>
                </a:solidFill>
                <a:latin typeface="Calibri"/>
              </a:rPr>
              <a:t>digest: u82</a:t>
            </a:r>
          </a:p>
        </p:txBody>
      </p:sp>
      <p:sp>
        <p:nvSpPr>
          <p:cNvPr id="741" name="Rectangle 740">
            <a:extLst>
              <a:ext uri="{FF2B5EF4-FFF2-40B4-BE49-F238E27FC236}">
                <a16:creationId xmlns:a16="http://schemas.microsoft.com/office/drawing/2014/main" id="{EB88E408-C4FC-4CE0-9A04-2F8242B5897B}"/>
              </a:ext>
            </a:extLst>
          </p:cNvPr>
          <p:cNvSpPr/>
          <p:nvPr/>
        </p:nvSpPr>
        <p:spPr>
          <a:xfrm>
            <a:off x="5551168" y="3480411"/>
            <a:ext cx="432259" cy="21945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solidFill>
                  <a:srgbClr val="353535"/>
                </a:solidFill>
                <a:latin typeface="Calibri"/>
              </a:rPr>
              <a:t>important:1</a:t>
            </a:r>
          </a:p>
          <a:p>
            <a:pPr algn="ctr" defTabSz="1218966">
              <a:defRPr/>
            </a:pPr>
            <a:r>
              <a:rPr lang="en-US" sz="687" kern="0">
                <a:solidFill>
                  <a:srgbClr val="353535"/>
                </a:solidFill>
                <a:latin typeface="Calibri"/>
              </a:rPr>
              <a:t>digest: 2re</a:t>
            </a:r>
          </a:p>
        </p:txBody>
      </p:sp>
      <p:sp>
        <p:nvSpPr>
          <p:cNvPr id="12" name="Rectangle 11">
            <a:extLst>
              <a:ext uri="{FF2B5EF4-FFF2-40B4-BE49-F238E27FC236}">
                <a16:creationId xmlns:a16="http://schemas.microsoft.com/office/drawing/2014/main" id="{7DD47A0A-DE48-4551-97A4-3604361133CF}"/>
              </a:ext>
            </a:extLst>
          </p:cNvPr>
          <p:cNvSpPr/>
          <p:nvPr/>
        </p:nvSpPr>
        <p:spPr bwMode="auto">
          <a:xfrm>
            <a:off x="5472341" y="3464236"/>
            <a:ext cx="632263" cy="3315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722" name="Picture 721">
            <a:extLst>
              <a:ext uri="{FF2B5EF4-FFF2-40B4-BE49-F238E27FC236}">
                <a16:creationId xmlns:a16="http://schemas.microsoft.com/office/drawing/2014/main" id="{21602983-03E0-405A-A9A0-D1ABA05FF0A6}"/>
              </a:ext>
            </a:extLst>
          </p:cNvPr>
          <p:cNvPicPr>
            <a:picLocks noChangeAspect="1"/>
          </p:cNvPicPr>
          <p:nvPr/>
        </p:nvPicPr>
        <p:blipFill>
          <a:blip r:embed="rId4"/>
          <a:stretch>
            <a:fillRect/>
          </a:stretch>
        </p:blipFill>
        <p:spPr>
          <a:xfrm>
            <a:off x="5079467" y="2955767"/>
            <a:ext cx="1145281" cy="1145281"/>
          </a:xfrm>
          <a:prstGeom prst="rect">
            <a:avLst/>
          </a:prstGeom>
        </p:spPr>
      </p:pic>
      <p:pic>
        <p:nvPicPr>
          <p:cNvPr id="330" name="Graphic 329">
            <a:extLst>
              <a:ext uri="{FF2B5EF4-FFF2-40B4-BE49-F238E27FC236}">
                <a16:creationId xmlns:a16="http://schemas.microsoft.com/office/drawing/2014/main" id="{5E7A01CF-C362-4D8E-B035-5CB0B55A16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9748" y="3029383"/>
            <a:ext cx="705926" cy="705926"/>
          </a:xfrm>
          <a:prstGeom prst="rect">
            <a:avLst/>
          </a:prstGeom>
        </p:spPr>
      </p:pic>
      <p:sp>
        <p:nvSpPr>
          <p:cNvPr id="331" name="Oval 330">
            <a:extLst>
              <a:ext uri="{FF2B5EF4-FFF2-40B4-BE49-F238E27FC236}">
                <a16:creationId xmlns:a16="http://schemas.microsoft.com/office/drawing/2014/main" id="{4C02F3E1-7D69-4290-8521-75A681E3AB47}"/>
              </a:ext>
            </a:extLst>
          </p:cNvPr>
          <p:cNvSpPr/>
          <p:nvPr/>
        </p:nvSpPr>
        <p:spPr>
          <a:xfrm>
            <a:off x="7242324" y="4816284"/>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8</a:t>
            </a:r>
          </a:p>
        </p:txBody>
      </p:sp>
      <p:sp>
        <p:nvSpPr>
          <p:cNvPr id="3" name="TextBox 2">
            <a:extLst>
              <a:ext uri="{FF2B5EF4-FFF2-40B4-BE49-F238E27FC236}">
                <a16:creationId xmlns:a16="http://schemas.microsoft.com/office/drawing/2014/main" id="{F7D8BEDB-38F1-4449-A736-19A7D1094F21}"/>
              </a:ext>
            </a:extLst>
          </p:cNvPr>
          <p:cNvSpPr txBox="1"/>
          <p:nvPr/>
        </p:nvSpPr>
        <p:spPr>
          <a:xfrm>
            <a:off x="4735925" y="2521602"/>
            <a:ext cx="1716374" cy="615553"/>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Container Registry</a:t>
            </a:r>
          </a:p>
        </p:txBody>
      </p:sp>
      <p:sp>
        <p:nvSpPr>
          <p:cNvPr id="332" name="TextBox 331">
            <a:extLst>
              <a:ext uri="{FF2B5EF4-FFF2-40B4-BE49-F238E27FC236}">
                <a16:creationId xmlns:a16="http://schemas.microsoft.com/office/drawing/2014/main" id="{0EFBF113-A55E-4379-B562-DBFE8AF297B9}"/>
              </a:ext>
            </a:extLst>
          </p:cNvPr>
          <p:cNvSpPr txBox="1"/>
          <p:nvPr/>
        </p:nvSpPr>
        <p:spPr>
          <a:xfrm>
            <a:off x="54322" y="2352429"/>
            <a:ext cx="1716374" cy="615553"/>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Container Builder</a:t>
            </a:r>
          </a:p>
        </p:txBody>
      </p:sp>
      <p:sp>
        <p:nvSpPr>
          <p:cNvPr id="333" name="TextBox 332">
            <a:extLst>
              <a:ext uri="{FF2B5EF4-FFF2-40B4-BE49-F238E27FC236}">
                <a16:creationId xmlns:a16="http://schemas.microsoft.com/office/drawing/2014/main" id="{D1C89061-C62E-4DD8-A898-05E10FF46FF6}"/>
              </a:ext>
            </a:extLst>
          </p:cNvPr>
          <p:cNvSpPr txBox="1"/>
          <p:nvPr/>
        </p:nvSpPr>
        <p:spPr>
          <a:xfrm>
            <a:off x="2124032" y="860821"/>
            <a:ext cx="1716374" cy="615553"/>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Release</a:t>
            </a:r>
            <a:br>
              <a:rPr lang="en-US" sz="2000">
                <a:gradFill>
                  <a:gsLst>
                    <a:gs pos="2917">
                      <a:schemeClr val="tx1"/>
                    </a:gs>
                    <a:gs pos="30000">
                      <a:schemeClr val="tx1"/>
                    </a:gs>
                  </a:gsLst>
                  <a:lin ang="5400000" scaled="0"/>
                </a:gradFill>
              </a:rPr>
            </a:br>
            <a:r>
              <a:rPr lang="en-US" sz="2000">
                <a:gradFill>
                  <a:gsLst>
                    <a:gs pos="2917">
                      <a:schemeClr val="tx1"/>
                    </a:gs>
                    <a:gs pos="30000">
                      <a:schemeClr val="tx1"/>
                    </a:gs>
                  </a:gsLst>
                  <a:lin ang="5400000" scaled="0"/>
                </a:gradFill>
              </a:rPr>
              <a:t>Management</a:t>
            </a:r>
          </a:p>
        </p:txBody>
      </p:sp>
      <p:sp>
        <p:nvSpPr>
          <p:cNvPr id="334" name="TextBox 333">
            <a:extLst>
              <a:ext uri="{FF2B5EF4-FFF2-40B4-BE49-F238E27FC236}">
                <a16:creationId xmlns:a16="http://schemas.microsoft.com/office/drawing/2014/main" id="{1BC89EF3-34F7-4773-B838-12D57CD1B3DC}"/>
              </a:ext>
            </a:extLst>
          </p:cNvPr>
          <p:cNvSpPr txBox="1"/>
          <p:nvPr/>
        </p:nvSpPr>
        <p:spPr>
          <a:xfrm>
            <a:off x="6682178" y="1023664"/>
            <a:ext cx="1716374" cy="307777"/>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Orchestration</a:t>
            </a:r>
          </a:p>
        </p:txBody>
      </p:sp>
      <p:sp>
        <p:nvSpPr>
          <p:cNvPr id="335" name="TextBox 334">
            <a:extLst>
              <a:ext uri="{FF2B5EF4-FFF2-40B4-BE49-F238E27FC236}">
                <a16:creationId xmlns:a16="http://schemas.microsoft.com/office/drawing/2014/main" id="{5541F46F-CFE9-43C0-B06D-FF0D4DA4698F}"/>
              </a:ext>
            </a:extLst>
          </p:cNvPr>
          <p:cNvSpPr txBox="1"/>
          <p:nvPr/>
        </p:nvSpPr>
        <p:spPr>
          <a:xfrm>
            <a:off x="8592237" y="801013"/>
            <a:ext cx="1984765" cy="307777"/>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Resource Pool</a:t>
            </a:r>
          </a:p>
        </p:txBody>
      </p:sp>
      <p:sp>
        <p:nvSpPr>
          <p:cNvPr id="13" name="Multiplication Sign 12">
            <a:extLst>
              <a:ext uri="{FF2B5EF4-FFF2-40B4-BE49-F238E27FC236}">
                <a16:creationId xmlns:a16="http://schemas.microsoft.com/office/drawing/2014/main" id="{948AE10D-366A-4A2A-A8E8-E1CB65A37219}"/>
              </a:ext>
            </a:extLst>
          </p:cNvPr>
          <p:cNvSpPr/>
          <p:nvPr/>
        </p:nvSpPr>
        <p:spPr bwMode="auto">
          <a:xfrm>
            <a:off x="8075130" y="2715151"/>
            <a:ext cx="3953423" cy="2107060"/>
          </a:xfrm>
          <a:prstGeom prst="mathMultiply">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07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wipe(left)">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6"/>
                                        </p:tgtEl>
                                        <p:attrNameLst>
                                          <p:attrName>style.visibility</p:attrName>
                                        </p:attrNameLst>
                                      </p:cBhvr>
                                      <p:to>
                                        <p:strVal val="visible"/>
                                      </p:to>
                                    </p:set>
                                    <p:animEffect transition="in" filter="fade">
                                      <p:cBhvr>
                                        <p:cTn id="10" dur="500"/>
                                        <p:tgtEl>
                                          <p:spTgt spid="316"/>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16">
                                            <p:txEl>
                                              <p:pRg st="1" end="1"/>
                                            </p:txEl>
                                          </p:spTgt>
                                        </p:tgtEl>
                                        <p:attrNameLst>
                                          <p:attrName>style.visibility</p:attrName>
                                        </p:attrNameLst>
                                      </p:cBhvr>
                                      <p:to>
                                        <p:strVal val="visible"/>
                                      </p:to>
                                    </p:set>
                                    <p:animEffect transition="in" filter="wipe(left)">
                                      <p:cBhvr>
                                        <p:cTn id="14" dur="500"/>
                                        <p:tgtEl>
                                          <p:spTgt spid="16">
                                            <p:txEl>
                                              <p:pRg st="1" end="1"/>
                                            </p:txEl>
                                          </p:spTgt>
                                        </p:tgtEl>
                                      </p:cBhvr>
                                    </p:animEffect>
                                  </p:childTnLst>
                                </p:cTn>
                              </p:par>
                            </p:childTnLst>
                          </p:cTn>
                        </p:par>
                        <p:par>
                          <p:cTn id="15" fill="hold">
                            <p:stCondLst>
                              <p:cond delay="1000"/>
                            </p:stCondLst>
                            <p:childTnLst>
                              <p:par>
                                <p:cTn id="16" presetID="22" presetClass="entr" presetSubtype="8" fill="hold" nodeType="afterEffect">
                                  <p:stCondLst>
                                    <p:cond delay="0"/>
                                  </p:stCondLst>
                                  <p:childTnLst>
                                    <p:set>
                                      <p:cBhvr>
                                        <p:cTn id="17" dur="1" fill="hold">
                                          <p:stCondLst>
                                            <p:cond delay="0"/>
                                          </p:stCondLst>
                                        </p:cTn>
                                        <p:tgtEl>
                                          <p:spTgt spid="16">
                                            <p:txEl>
                                              <p:pRg st="2" end="2"/>
                                            </p:txEl>
                                          </p:spTgt>
                                        </p:tgtEl>
                                        <p:attrNameLst>
                                          <p:attrName>style.visibility</p:attrName>
                                        </p:attrNameLst>
                                      </p:cBhvr>
                                      <p:to>
                                        <p:strVal val="visible"/>
                                      </p:to>
                                    </p:set>
                                    <p:animEffect transition="in" filter="wipe(left)">
                                      <p:cBhvr>
                                        <p:cTn id="18" dur="500"/>
                                        <p:tgtEl>
                                          <p:spTgt spid="16">
                                            <p:txEl>
                                              <p:pRg st="2" end="2"/>
                                            </p:txEl>
                                          </p:spTgt>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16">
                                            <p:txEl>
                                              <p:pRg st="4" end="4"/>
                                            </p:txEl>
                                          </p:spTgt>
                                        </p:tgtEl>
                                        <p:attrNameLst>
                                          <p:attrName>style.visibility</p:attrName>
                                        </p:attrNameLst>
                                      </p:cBhvr>
                                      <p:to>
                                        <p:strVal val="visible"/>
                                      </p:to>
                                    </p:set>
                                    <p:animEffect transition="in" filter="wipe(left)">
                                      <p:cBhvr>
                                        <p:cTn id="22" dur="500"/>
                                        <p:tgtEl>
                                          <p:spTgt spid="16">
                                            <p:txEl>
                                              <p:pRg st="4" end="4"/>
                                            </p:txEl>
                                          </p:spTgt>
                                        </p:tgtEl>
                                      </p:cBhvr>
                                    </p:animEffect>
                                  </p:childTnLst>
                                </p:cTn>
                              </p:par>
                            </p:childTnLst>
                          </p:cTn>
                        </p:par>
                        <p:par>
                          <p:cTn id="23" fill="hold">
                            <p:stCondLst>
                              <p:cond delay="2000"/>
                            </p:stCondLst>
                            <p:childTnLst>
                              <p:par>
                                <p:cTn id="24" presetID="10" presetClass="entr" presetSubtype="0" fill="hold" grpId="1" nodeType="afterEffect">
                                  <p:stCondLst>
                                    <p:cond delay="0"/>
                                  </p:stCondLst>
                                  <p:childTnLst>
                                    <p:set>
                                      <p:cBhvr>
                                        <p:cTn id="25" dur="1" fill="hold">
                                          <p:stCondLst>
                                            <p:cond delay="0"/>
                                          </p:stCondLst>
                                        </p:cTn>
                                        <p:tgtEl>
                                          <p:spTgt spid="757"/>
                                        </p:tgtEl>
                                        <p:attrNameLst>
                                          <p:attrName>style.visibility</p:attrName>
                                        </p:attrNameLst>
                                      </p:cBhvr>
                                      <p:to>
                                        <p:strVal val="visible"/>
                                      </p:to>
                                    </p:set>
                                    <p:animEffect transition="in" filter="fade">
                                      <p:cBhvr>
                                        <p:cTn id="26" dur="500"/>
                                        <p:tgtEl>
                                          <p:spTgt spid="757"/>
                                        </p:tgtEl>
                                      </p:cBhvr>
                                    </p:animEffect>
                                  </p:childTnLst>
                                </p:cTn>
                              </p:par>
                              <p:par>
                                <p:cTn id="27" presetID="42" presetClass="path" presetSubtype="0" accel="50000" decel="50000" fill="hold" grpId="0" nodeType="withEffect">
                                  <p:stCondLst>
                                    <p:cond delay="0"/>
                                  </p:stCondLst>
                                  <p:childTnLst>
                                    <p:animMotion origin="layout" path="M 2.08333E-7 2.59259E-6 L 0.32253 -0.16528 " pathEditMode="relative" rAng="0" ptsTypes="AA">
                                      <p:cBhvr>
                                        <p:cTn id="28" dur="2000" fill="hold"/>
                                        <p:tgtEl>
                                          <p:spTgt spid="757"/>
                                        </p:tgtEl>
                                        <p:attrNameLst>
                                          <p:attrName>ppt_x</p:attrName>
                                          <p:attrName>ppt_y</p:attrName>
                                        </p:attrNameLst>
                                      </p:cBhvr>
                                      <p:rCtr x="16120" y="-8264"/>
                                    </p:animMotion>
                                  </p:childTnLst>
                                </p:cTn>
                              </p:par>
                            </p:childTnLst>
                          </p:cTn>
                        </p:par>
                        <p:par>
                          <p:cTn id="29" fill="hold">
                            <p:stCondLst>
                              <p:cond delay="4000"/>
                            </p:stCondLst>
                            <p:childTnLst>
                              <p:par>
                                <p:cTn id="30" presetID="22" presetClass="entr" presetSubtype="8" fill="hold" nodeType="afterEffect">
                                  <p:stCondLst>
                                    <p:cond delay="0"/>
                                  </p:stCondLst>
                                  <p:childTnLst>
                                    <p:set>
                                      <p:cBhvr>
                                        <p:cTn id="31" dur="1" fill="hold">
                                          <p:stCondLst>
                                            <p:cond delay="0"/>
                                          </p:stCondLst>
                                        </p:cTn>
                                        <p:tgtEl>
                                          <p:spTgt spid="16">
                                            <p:txEl>
                                              <p:pRg st="5" end="5"/>
                                            </p:txEl>
                                          </p:spTgt>
                                        </p:tgtEl>
                                        <p:attrNameLst>
                                          <p:attrName>style.visibility</p:attrName>
                                        </p:attrNameLst>
                                      </p:cBhvr>
                                      <p:to>
                                        <p:strVal val="visible"/>
                                      </p:to>
                                    </p:set>
                                    <p:animEffect transition="in" filter="wipe(left)">
                                      <p:cBhvr>
                                        <p:cTn id="32" dur="500"/>
                                        <p:tgtEl>
                                          <p:spTgt spid="16">
                                            <p:txEl>
                                              <p:pRg st="5" end="5"/>
                                            </p:txEl>
                                          </p:spTgt>
                                        </p:tgtEl>
                                      </p:cBhvr>
                                    </p:animEffect>
                                  </p:childTnLst>
                                </p:cTn>
                              </p:par>
                            </p:childTnLst>
                          </p:cTn>
                        </p:par>
                        <p:par>
                          <p:cTn id="33" fill="hold">
                            <p:stCondLst>
                              <p:cond delay="4500"/>
                            </p:stCondLst>
                            <p:childTnLst>
                              <p:par>
                                <p:cTn id="34" presetID="10" presetClass="entr" presetSubtype="0" fill="hold" grpId="1" nodeType="afterEffect">
                                  <p:stCondLst>
                                    <p:cond delay="0"/>
                                  </p:stCondLst>
                                  <p:childTnLst>
                                    <p:set>
                                      <p:cBhvr>
                                        <p:cTn id="35" dur="1" fill="hold">
                                          <p:stCondLst>
                                            <p:cond delay="0"/>
                                          </p:stCondLst>
                                        </p:cTn>
                                        <p:tgtEl>
                                          <p:spTgt spid="756"/>
                                        </p:tgtEl>
                                        <p:attrNameLst>
                                          <p:attrName>style.visibility</p:attrName>
                                        </p:attrNameLst>
                                      </p:cBhvr>
                                      <p:to>
                                        <p:strVal val="visible"/>
                                      </p:to>
                                    </p:set>
                                    <p:animEffect transition="in" filter="fade">
                                      <p:cBhvr>
                                        <p:cTn id="36" dur="500"/>
                                        <p:tgtEl>
                                          <p:spTgt spid="756"/>
                                        </p:tgtEl>
                                      </p:cBhvr>
                                    </p:animEffect>
                                  </p:childTnLst>
                                </p:cTn>
                              </p:par>
                              <p:par>
                                <p:cTn id="37" presetID="42" presetClass="path" presetSubtype="0" accel="50000" decel="50000" fill="hold" grpId="0" nodeType="withEffect">
                                  <p:stCondLst>
                                    <p:cond delay="0"/>
                                  </p:stCondLst>
                                  <p:childTnLst>
                                    <p:animMotion origin="layout" path="M -2.29167E-6 -1.48148E-6 L 0.3211 -0.1831 " pathEditMode="relative" rAng="0" ptsTypes="AA">
                                      <p:cBhvr>
                                        <p:cTn id="38" dur="2000" fill="hold"/>
                                        <p:tgtEl>
                                          <p:spTgt spid="756"/>
                                        </p:tgtEl>
                                        <p:attrNameLst>
                                          <p:attrName>ppt_x</p:attrName>
                                          <p:attrName>ppt_y</p:attrName>
                                        </p:attrNameLst>
                                      </p:cBhvr>
                                      <p:rCtr x="16055" y="-9167"/>
                                    </p:animMotion>
                                  </p:childTnLst>
                                </p:cTn>
                              </p:par>
                            </p:childTnLst>
                          </p:cTn>
                        </p:par>
                        <p:par>
                          <p:cTn id="39" fill="hold">
                            <p:stCondLst>
                              <p:cond delay="6500"/>
                            </p:stCondLst>
                            <p:childTnLst>
                              <p:par>
                                <p:cTn id="40" presetID="22" presetClass="entr" presetSubtype="8" fill="hold" nodeType="afterEffect">
                                  <p:stCondLst>
                                    <p:cond delay="0"/>
                                  </p:stCondLst>
                                  <p:childTnLst>
                                    <p:set>
                                      <p:cBhvr>
                                        <p:cTn id="41" dur="1" fill="hold">
                                          <p:stCondLst>
                                            <p:cond delay="0"/>
                                          </p:stCondLst>
                                        </p:cTn>
                                        <p:tgtEl>
                                          <p:spTgt spid="16">
                                            <p:txEl>
                                              <p:pRg st="6" end="6"/>
                                            </p:txEl>
                                          </p:spTgt>
                                        </p:tgtEl>
                                        <p:attrNameLst>
                                          <p:attrName>style.visibility</p:attrName>
                                        </p:attrNameLst>
                                      </p:cBhvr>
                                      <p:to>
                                        <p:strVal val="visible"/>
                                      </p:to>
                                    </p:set>
                                    <p:animEffect transition="in" filter="wipe(left)">
                                      <p:cBhvr>
                                        <p:cTn id="42" dur="500"/>
                                        <p:tgtEl>
                                          <p:spTgt spid="16">
                                            <p:txEl>
                                              <p:pRg st="6" end="6"/>
                                            </p:txEl>
                                          </p:spTgt>
                                        </p:tgtEl>
                                      </p:cBhvr>
                                    </p:animEffect>
                                  </p:childTnLst>
                                </p:cTn>
                              </p:par>
                            </p:childTnLst>
                          </p:cTn>
                        </p:par>
                        <p:par>
                          <p:cTn id="43" fill="hold">
                            <p:stCondLst>
                              <p:cond delay="7000"/>
                            </p:stCondLst>
                            <p:childTnLst>
                              <p:par>
                                <p:cTn id="44" presetID="10" presetClass="entr" presetSubtype="0" fill="hold" grpId="1" nodeType="afterEffect">
                                  <p:stCondLst>
                                    <p:cond delay="0"/>
                                  </p:stCondLst>
                                  <p:childTnLst>
                                    <p:set>
                                      <p:cBhvr>
                                        <p:cTn id="45" dur="1" fill="hold">
                                          <p:stCondLst>
                                            <p:cond delay="0"/>
                                          </p:stCondLst>
                                        </p:cTn>
                                        <p:tgtEl>
                                          <p:spTgt spid="754"/>
                                        </p:tgtEl>
                                        <p:attrNameLst>
                                          <p:attrName>style.visibility</p:attrName>
                                        </p:attrNameLst>
                                      </p:cBhvr>
                                      <p:to>
                                        <p:strVal val="visible"/>
                                      </p:to>
                                    </p:set>
                                    <p:animEffect transition="in" filter="fade">
                                      <p:cBhvr>
                                        <p:cTn id="46" dur="500"/>
                                        <p:tgtEl>
                                          <p:spTgt spid="754"/>
                                        </p:tgtEl>
                                      </p:cBhvr>
                                    </p:animEffect>
                                  </p:childTnLst>
                                </p:cTn>
                              </p:par>
                              <p:par>
                                <p:cTn id="47" presetID="42" presetClass="path" presetSubtype="0" accel="50000" decel="50000" fill="hold" grpId="0" nodeType="withEffect">
                                  <p:stCondLst>
                                    <p:cond delay="0"/>
                                  </p:stCondLst>
                                  <p:childTnLst>
                                    <p:animMotion origin="layout" path="M -2.29167E-6 1.48148E-6 L 0.3211 -0.20764 " pathEditMode="relative" rAng="0" ptsTypes="AA">
                                      <p:cBhvr>
                                        <p:cTn id="48" dur="2000" fill="hold"/>
                                        <p:tgtEl>
                                          <p:spTgt spid="754"/>
                                        </p:tgtEl>
                                        <p:attrNameLst>
                                          <p:attrName>ppt_x</p:attrName>
                                          <p:attrName>ppt_y</p:attrName>
                                        </p:attrNameLst>
                                      </p:cBhvr>
                                      <p:rCtr x="16055" y="-10394"/>
                                    </p:animMotion>
                                  </p:childTnLst>
                                </p:cTn>
                              </p:par>
                            </p:childTnLst>
                          </p:cTn>
                        </p:par>
                        <p:par>
                          <p:cTn id="49" fill="hold">
                            <p:stCondLst>
                              <p:cond delay="9000"/>
                            </p:stCondLst>
                            <p:childTnLst>
                              <p:par>
                                <p:cTn id="50" presetID="22" presetClass="entr" presetSubtype="1" fill="hold" grpId="0" nodeType="afterEffect">
                                  <p:stCondLst>
                                    <p:cond delay="0"/>
                                  </p:stCondLst>
                                  <p:childTnLst>
                                    <p:set>
                                      <p:cBhvr>
                                        <p:cTn id="51" dur="1" fill="hold">
                                          <p:stCondLst>
                                            <p:cond delay="0"/>
                                          </p:stCondLst>
                                        </p:cTn>
                                        <p:tgtEl>
                                          <p:spTgt spid="27"/>
                                        </p:tgtEl>
                                        <p:attrNameLst>
                                          <p:attrName>style.visibility</p:attrName>
                                        </p:attrNameLst>
                                      </p:cBhvr>
                                      <p:to>
                                        <p:strVal val="visible"/>
                                      </p:to>
                                    </p:set>
                                    <p:animEffect transition="in" filter="wipe(up)">
                                      <p:cBhvr>
                                        <p:cTn id="52" dur="500"/>
                                        <p:tgtEl>
                                          <p:spTgt spid="27"/>
                                        </p:tgtEl>
                                      </p:cBhvr>
                                    </p:animEffect>
                                  </p:childTnLst>
                                </p:cTn>
                              </p:par>
                            </p:childTnLst>
                          </p:cTn>
                        </p:par>
                        <p:par>
                          <p:cTn id="53" fill="hold">
                            <p:stCondLst>
                              <p:cond delay="9500"/>
                            </p:stCondLst>
                            <p:childTnLst>
                              <p:par>
                                <p:cTn id="54" presetID="22" presetClass="entr" presetSubtype="1" fill="hold" nodeType="afterEffect">
                                  <p:stCondLst>
                                    <p:cond delay="0"/>
                                  </p:stCondLst>
                                  <p:childTnLst>
                                    <p:set>
                                      <p:cBhvr>
                                        <p:cTn id="55" dur="1" fill="hold">
                                          <p:stCondLst>
                                            <p:cond delay="0"/>
                                          </p:stCondLst>
                                        </p:cTn>
                                        <p:tgtEl>
                                          <p:spTgt spid="2"/>
                                        </p:tgtEl>
                                        <p:attrNameLst>
                                          <p:attrName>style.visibility</p:attrName>
                                        </p:attrNameLst>
                                      </p:cBhvr>
                                      <p:to>
                                        <p:strVal val="visible"/>
                                      </p:to>
                                    </p:set>
                                    <p:animEffect transition="in" filter="wipe(up)">
                                      <p:cBhvr>
                                        <p:cTn id="56" dur="500"/>
                                        <p:tgtEl>
                                          <p:spTgt spid="2"/>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17"/>
                                        </p:tgtEl>
                                        <p:attrNameLst>
                                          <p:attrName>style.visibility</p:attrName>
                                        </p:attrNameLst>
                                      </p:cBhvr>
                                      <p:to>
                                        <p:strVal val="visible"/>
                                      </p:to>
                                    </p:set>
                                    <p:animEffect transition="in" filter="fade">
                                      <p:cBhvr>
                                        <p:cTn id="59" dur="500"/>
                                        <p:tgtEl>
                                          <p:spTgt spid="317"/>
                                        </p:tgtEl>
                                      </p:cBhvr>
                                    </p:animEffect>
                                  </p:childTnLst>
                                </p:cTn>
                              </p:par>
                              <p:par>
                                <p:cTn id="60" presetID="22" presetClass="entr" presetSubtype="1" fill="hold" nodeType="withEffect">
                                  <p:stCondLst>
                                    <p:cond delay="0"/>
                                  </p:stCondLst>
                                  <p:childTnLst>
                                    <p:set>
                                      <p:cBhvr>
                                        <p:cTn id="61" dur="1" fill="hold">
                                          <p:stCondLst>
                                            <p:cond delay="0"/>
                                          </p:stCondLst>
                                        </p:cTn>
                                        <p:tgtEl>
                                          <p:spTgt spid="298"/>
                                        </p:tgtEl>
                                        <p:attrNameLst>
                                          <p:attrName>style.visibility</p:attrName>
                                        </p:attrNameLst>
                                      </p:cBhvr>
                                      <p:to>
                                        <p:strVal val="visible"/>
                                      </p:to>
                                    </p:set>
                                    <p:animEffect transition="in" filter="wipe(up)">
                                      <p:cBhvr>
                                        <p:cTn id="62" dur="500"/>
                                        <p:tgtEl>
                                          <p:spTgt spid="298"/>
                                        </p:tgtEl>
                                      </p:cBhvr>
                                    </p:animEffect>
                                  </p:childTnLst>
                                </p:cTn>
                              </p:par>
                              <p:par>
                                <p:cTn id="63" presetID="22" presetClass="entr" presetSubtype="8" fill="hold" nodeType="withEffect">
                                  <p:stCondLst>
                                    <p:cond delay="0"/>
                                  </p:stCondLst>
                                  <p:childTnLst>
                                    <p:set>
                                      <p:cBhvr>
                                        <p:cTn id="64" dur="1" fill="hold">
                                          <p:stCondLst>
                                            <p:cond delay="0"/>
                                          </p:stCondLst>
                                        </p:cTn>
                                        <p:tgtEl>
                                          <p:spTgt spid="299"/>
                                        </p:tgtEl>
                                        <p:attrNameLst>
                                          <p:attrName>style.visibility</p:attrName>
                                        </p:attrNameLst>
                                      </p:cBhvr>
                                      <p:to>
                                        <p:strVal val="visible"/>
                                      </p:to>
                                    </p:set>
                                    <p:animEffect transition="in" filter="wipe(left)">
                                      <p:cBhvr>
                                        <p:cTn id="65" dur="500"/>
                                        <p:tgtEl>
                                          <p:spTgt spid="299"/>
                                        </p:tgtEl>
                                      </p:cBhvr>
                                    </p:animEffect>
                                  </p:childTnLst>
                                </p:cTn>
                              </p:par>
                              <p:par>
                                <p:cTn id="66" presetID="22" presetClass="entr" presetSubtype="8" fill="hold" nodeType="withEffect">
                                  <p:stCondLst>
                                    <p:cond delay="0"/>
                                  </p:stCondLst>
                                  <p:childTnLst>
                                    <p:set>
                                      <p:cBhvr>
                                        <p:cTn id="67" dur="1" fill="hold">
                                          <p:stCondLst>
                                            <p:cond delay="0"/>
                                          </p:stCondLst>
                                        </p:cTn>
                                        <p:tgtEl>
                                          <p:spTgt spid="303"/>
                                        </p:tgtEl>
                                        <p:attrNameLst>
                                          <p:attrName>style.visibility</p:attrName>
                                        </p:attrNameLst>
                                      </p:cBhvr>
                                      <p:to>
                                        <p:strVal val="visible"/>
                                      </p:to>
                                    </p:set>
                                    <p:animEffect transition="in" filter="wipe(left)">
                                      <p:cBhvr>
                                        <p:cTn id="68" dur="500"/>
                                        <p:tgtEl>
                                          <p:spTgt spid="303"/>
                                        </p:tgtEl>
                                      </p:cBhvr>
                                    </p:animEffect>
                                  </p:childTnLst>
                                </p:cTn>
                              </p:par>
                              <p:par>
                                <p:cTn id="69" presetID="22" presetClass="entr" presetSubtype="8" fill="hold" nodeType="withEffect">
                                  <p:stCondLst>
                                    <p:cond delay="0"/>
                                  </p:stCondLst>
                                  <p:childTnLst>
                                    <p:set>
                                      <p:cBhvr>
                                        <p:cTn id="70" dur="1" fill="hold">
                                          <p:stCondLst>
                                            <p:cond delay="0"/>
                                          </p:stCondLst>
                                        </p:cTn>
                                        <p:tgtEl>
                                          <p:spTgt spid="304"/>
                                        </p:tgtEl>
                                        <p:attrNameLst>
                                          <p:attrName>style.visibility</p:attrName>
                                        </p:attrNameLst>
                                      </p:cBhvr>
                                      <p:to>
                                        <p:strVal val="visible"/>
                                      </p:to>
                                    </p:set>
                                    <p:animEffect transition="in" filter="wipe(left)">
                                      <p:cBhvr>
                                        <p:cTn id="71" dur="500"/>
                                        <p:tgtEl>
                                          <p:spTgt spid="304"/>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1" nodeType="clickEffect">
                                  <p:stCondLst>
                                    <p:cond delay="0"/>
                                  </p:stCondLst>
                                  <p:childTnLst>
                                    <p:set>
                                      <p:cBhvr>
                                        <p:cTn id="75" dur="1" fill="hold">
                                          <p:stCondLst>
                                            <p:cond delay="0"/>
                                          </p:stCondLst>
                                        </p:cTn>
                                        <p:tgtEl>
                                          <p:spTgt spid="5"/>
                                        </p:tgtEl>
                                        <p:attrNameLst>
                                          <p:attrName>style.visibility</p:attrName>
                                        </p:attrNameLst>
                                      </p:cBhvr>
                                      <p:to>
                                        <p:strVal val="visible"/>
                                      </p:to>
                                    </p:set>
                                    <p:animEffect transition="in" filter="fade">
                                      <p:cBhvr>
                                        <p:cTn id="76" dur="500"/>
                                        <p:tgtEl>
                                          <p:spTgt spid="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333"/>
                                        </p:tgtEl>
                                        <p:attrNameLst>
                                          <p:attrName>style.visibility</p:attrName>
                                        </p:attrNameLst>
                                      </p:cBhvr>
                                      <p:to>
                                        <p:strVal val="visible"/>
                                      </p:to>
                                    </p:set>
                                    <p:animEffect transition="in" filter="fade">
                                      <p:cBhvr>
                                        <p:cTn id="79" dur="500"/>
                                        <p:tgtEl>
                                          <p:spTgt spid="333"/>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19"/>
                                        </p:tgtEl>
                                        <p:attrNameLst>
                                          <p:attrName>style.visibility</p:attrName>
                                        </p:attrNameLst>
                                      </p:cBhvr>
                                      <p:to>
                                        <p:strVal val="visible"/>
                                      </p:to>
                                    </p:set>
                                    <p:animEffect transition="in" filter="fade">
                                      <p:cBhvr>
                                        <p:cTn id="82" dur="500"/>
                                        <p:tgtEl>
                                          <p:spTgt spid="319"/>
                                        </p:tgtEl>
                                      </p:cBhvr>
                                    </p:animEffect>
                                  </p:childTnLst>
                                </p:cTn>
                              </p:par>
                            </p:childTnLst>
                          </p:cTn>
                        </p:par>
                        <p:par>
                          <p:cTn id="83" fill="hold">
                            <p:stCondLst>
                              <p:cond delay="500"/>
                            </p:stCondLst>
                            <p:childTnLst>
                              <p:par>
                                <p:cTn id="84" presetID="22" presetClass="entr" presetSubtype="8" fill="hold" nodeType="afterEffect">
                                  <p:stCondLst>
                                    <p:cond delay="0"/>
                                  </p:stCondLst>
                                  <p:childTnLst>
                                    <p:set>
                                      <p:cBhvr>
                                        <p:cTn id="85" dur="1" fill="hold">
                                          <p:stCondLst>
                                            <p:cond delay="0"/>
                                          </p:stCondLst>
                                        </p:cTn>
                                        <p:tgtEl>
                                          <p:spTgt spid="7"/>
                                        </p:tgtEl>
                                        <p:attrNameLst>
                                          <p:attrName>style.visibility</p:attrName>
                                        </p:attrNameLst>
                                      </p:cBhvr>
                                      <p:to>
                                        <p:strVal val="visible"/>
                                      </p:to>
                                    </p:set>
                                    <p:animEffect transition="in" filter="wipe(left)">
                                      <p:cBhvr>
                                        <p:cTn id="86" dur="500"/>
                                        <p:tgtEl>
                                          <p:spTgt spid="7"/>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730"/>
                                        </p:tgtEl>
                                        <p:attrNameLst>
                                          <p:attrName>style.visibility</p:attrName>
                                        </p:attrNameLst>
                                      </p:cBhvr>
                                      <p:to>
                                        <p:strVal val="visible"/>
                                      </p:to>
                                    </p:set>
                                    <p:animEffect transition="in" filter="fade">
                                      <p:cBhvr>
                                        <p:cTn id="90" dur="500"/>
                                        <p:tgtEl>
                                          <p:spTgt spid="730"/>
                                        </p:tgtEl>
                                      </p:cBhvr>
                                    </p:animEffect>
                                  </p:childTnLst>
                                </p:cTn>
                              </p:par>
                            </p:childTnLst>
                          </p:cTn>
                        </p:par>
                        <p:par>
                          <p:cTn id="91" fill="hold">
                            <p:stCondLst>
                              <p:cond delay="1500"/>
                            </p:stCondLst>
                            <p:childTnLst>
                              <p:par>
                                <p:cTn id="92" presetID="42" presetClass="path" presetSubtype="0" accel="50000" decel="50000" fill="hold" grpId="1" nodeType="afterEffect">
                                  <p:stCondLst>
                                    <p:cond delay="0"/>
                                  </p:stCondLst>
                                  <p:childTnLst>
                                    <p:animMotion origin="layout" path="M -1.25E-6 1.11111E-6 L -1.25E-6 0.47292 " pathEditMode="relative" rAng="0" ptsTypes="AA">
                                      <p:cBhvr>
                                        <p:cTn id="93" dur="2000" fill="hold"/>
                                        <p:tgtEl>
                                          <p:spTgt spid="730"/>
                                        </p:tgtEl>
                                        <p:attrNameLst>
                                          <p:attrName>ppt_x</p:attrName>
                                          <p:attrName>ppt_y</p:attrName>
                                        </p:attrNameLst>
                                      </p:cBhvr>
                                      <p:rCtr x="0" y="23634"/>
                                    </p:animMotion>
                                  </p:childTnLst>
                                </p:cTn>
                              </p:par>
                              <p:par>
                                <p:cTn id="94" presetID="10" presetClass="entr" presetSubtype="0" fill="hold" grpId="0" nodeType="withEffect">
                                  <p:stCondLst>
                                    <p:cond delay="0"/>
                                  </p:stCondLst>
                                  <p:childTnLst>
                                    <p:set>
                                      <p:cBhvr>
                                        <p:cTn id="95" dur="1" fill="hold">
                                          <p:stCondLst>
                                            <p:cond delay="0"/>
                                          </p:stCondLst>
                                        </p:cTn>
                                        <p:tgtEl>
                                          <p:spTgt spid="322"/>
                                        </p:tgtEl>
                                        <p:attrNameLst>
                                          <p:attrName>style.visibility</p:attrName>
                                        </p:attrNameLst>
                                      </p:cBhvr>
                                      <p:to>
                                        <p:strVal val="visible"/>
                                      </p:to>
                                    </p:set>
                                    <p:animEffect transition="in" filter="fade">
                                      <p:cBhvr>
                                        <p:cTn id="96" dur="500"/>
                                        <p:tgtEl>
                                          <p:spTgt spid="322"/>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xit" presetSubtype="8" fill="hold" nodeType="clickEffect">
                                  <p:stCondLst>
                                    <p:cond delay="0"/>
                                  </p:stCondLst>
                                  <p:childTnLst>
                                    <p:animEffect transition="out" filter="wipe(left)">
                                      <p:cBhvr>
                                        <p:cTn id="100" dur="500"/>
                                        <p:tgtEl>
                                          <p:spTgt spid="7"/>
                                        </p:tgtEl>
                                      </p:cBhvr>
                                    </p:animEffect>
                                    <p:set>
                                      <p:cBhvr>
                                        <p:cTn id="101" dur="1" fill="hold">
                                          <p:stCondLst>
                                            <p:cond delay="499"/>
                                          </p:stCondLst>
                                        </p:cTn>
                                        <p:tgtEl>
                                          <p:spTgt spid="7"/>
                                        </p:tgtEl>
                                        <p:attrNameLst>
                                          <p:attrName>style.visibility</p:attrName>
                                        </p:attrNameLst>
                                      </p:cBhvr>
                                      <p:to>
                                        <p:strVal val="hidden"/>
                                      </p:to>
                                    </p:set>
                                  </p:childTnLst>
                                </p:cTn>
                              </p:par>
                            </p:childTnLst>
                          </p:cTn>
                        </p:par>
                        <p:par>
                          <p:cTn id="102" fill="hold">
                            <p:stCondLst>
                              <p:cond delay="500"/>
                            </p:stCondLst>
                            <p:childTnLst>
                              <p:par>
                                <p:cTn id="103" presetID="22" presetClass="entr" presetSubtype="4" fill="hold" nodeType="afterEffect">
                                  <p:stCondLst>
                                    <p:cond delay="0"/>
                                  </p:stCondLst>
                                  <p:childTnLst>
                                    <p:set>
                                      <p:cBhvr>
                                        <p:cTn id="104" dur="1" fill="hold">
                                          <p:stCondLst>
                                            <p:cond delay="0"/>
                                          </p:stCondLst>
                                        </p:cTn>
                                        <p:tgtEl>
                                          <p:spTgt spid="734"/>
                                        </p:tgtEl>
                                        <p:attrNameLst>
                                          <p:attrName>style.visibility</p:attrName>
                                        </p:attrNameLst>
                                      </p:cBhvr>
                                      <p:to>
                                        <p:strVal val="visible"/>
                                      </p:to>
                                    </p:set>
                                    <p:animEffect transition="in" filter="wipe(down)">
                                      <p:cBhvr>
                                        <p:cTn id="105" dur="500"/>
                                        <p:tgtEl>
                                          <p:spTgt spid="734"/>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324"/>
                                        </p:tgtEl>
                                        <p:attrNameLst>
                                          <p:attrName>style.visibility</p:attrName>
                                        </p:attrNameLst>
                                      </p:cBhvr>
                                      <p:to>
                                        <p:strVal val="visible"/>
                                      </p:to>
                                    </p:set>
                                    <p:animEffect transition="in" filter="fade">
                                      <p:cBhvr>
                                        <p:cTn id="108" dur="500"/>
                                        <p:tgtEl>
                                          <p:spTgt spid="324"/>
                                        </p:tgtEl>
                                      </p:cBhvr>
                                    </p:animEffect>
                                  </p:childTnLst>
                                </p:cTn>
                              </p:par>
                              <p:par>
                                <p:cTn id="109" presetID="22" presetClass="entr" presetSubtype="4" fill="hold" nodeType="withEffect">
                                  <p:stCondLst>
                                    <p:cond delay="0"/>
                                  </p:stCondLst>
                                  <p:childTnLst>
                                    <p:set>
                                      <p:cBhvr>
                                        <p:cTn id="110" dur="1" fill="hold">
                                          <p:stCondLst>
                                            <p:cond delay="0"/>
                                          </p:stCondLst>
                                        </p:cTn>
                                        <p:tgtEl>
                                          <p:spTgt spid="737"/>
                                        </p:tgtEl>
                                        <p:attrNameLst>
                                          <p:attrName>style.visibility</p:attrName>
                                        </p:attrNameLst>
                                      </p:cBhvr>
                                      <p:to>
                                        <p:strVal val="visible"/>
                                      </p:to>
                                    </p:set>
                                    <p:animEffect transition="in" filter="wipe(down)">
                                      <p:cBhvr>
                                        <p:cTn id="111" dur="500"/>
                                        <p:tgtEl>
                                          <p:spTgt spid="737"/>
                                        </p:tgtEl>
                                      </p:cBhvr>
                                    </p:animEffect>
                                  </p:childTnLst>
                                </p:cTn>
                              </p:par>
                              <p:par>
                                <p:cTn id="112" presetID="42" presetClass="path" presetSubtype="0" accel="50000" decel="50000" fill="hold" grpId="0" nodeType="withEffect">
                                  <p:stCondLst>
                                    <p:cond delay="0"/>
                                  </p:stCondLst>
                                  <p:childTnLst>
                                    <p:animMotion origin="layout" path="M 3.95833E-6 1.85185E-6 L 0.26718 -0.24954 " pathEditMode="relative" rAng="0" ptsTypes="AA">
                                      <p:cBhvr>
                                        <p:cTn id="113" dur="2000" fill="hold"/>
                                        <p:tgtEl>
                                          <p:spTgt spid="731"/>
                                        </p:tgtEl>
                                        <p:attrNameLst>
                                          <p:attrName>ppt_x</p:attrName>
                                          <p:attrName>ppt_y</p:attrName>
                                        </p:attrNameLst>
                                      </p:cBhvr>
                                      <p:rCtr x="13359" y="-12477"/>
                                    </p:animMotion>
                                  </p:childTnLst>
                                </p:cTn>
                              </p:par>
                              <p:par>
                                <p:cTn id="114" presetID="10" presetClass="entr" presetSubtype="0" fill="hold" nodeType="withEffect">
                                  <p:stCondLst>
                                    <p:cond delay="2000"/>
                                  </p:stCondLst>
                                  <p:childTnLst>
                                    <p:set>
                                      <p:cBhvr>
                                        <p:cTn id="115" dur="1" fill="hold">
                                          <p:stCondLst>
                                            <p:cond delay="0"/>
                                          </p:stCondLst>
                                        </p:cTn>
                                        <p:tgtEl>
                                          <p:spTgt spid="1599"/>
                                        </p:tgtEl>
                                        <p:attrNameLst>
                                          <p:attrName>style.visibility</p:attrName>
                                        </p:attrNameLst>
                                      </p:cBhvr>
                                      <p:to>
                                        <p:strVal val="visible"/>
                                      </p:to>
                                    </p:set>
                                    <p:animEffect transition="in" filter="fade">
                                      <p:cBhvr>
                                        <p:cTn id="116" dur="500"/>
                                        <p:tgtEl>
                                          <p:spTgt spid="1599"/>
                                        </p:tgtEl>
                                      </p:cBhvr>
                                    </p:animEffect>
                                  </p:childTnLst>
                                </p:cTn>
                              </p:par>
                              <p:par>
                                <p:cTn id="117" presetID="10" presetClass="entr" presetSubtype="0" fill="hold" nodeType="withEffect">
                                  <p:stCondLst>
                                    <p:cond delay="2300"/>
                                  </p:stCondLst>
                                  <p:childTnLst>
                                    <p:set>
                                      <p:cBhvr>
                                        <p:cTn id="118" dur="1" fill="hold">
                                          <p:stCondLst>
                                            <p:cond delay="0"/>
                                          </p:stCondLst>
                                        </p:cTn>
                                        <p:tgtEl>
                                          <p:spTgt spid="1653"/>
                                        </p:tgtEl>
                                        <p:attrNameLst>
                                          <p:attrName>style.visibility</p:attrName>
                                        </p:attrNameLst>
                                      </p:cBhvr>
                                      <p:to>
                                        <p:strVal val="visible"/>
                                      </p:to>
                                    </p:set>
                                    <p:animEffect transition="in" filter="fade">
                                      <p:cBhvr>
                                        <p:cTn id="119" dur="500"/>
                                        <p:tgtEl>
                                          <p:spTgt spid="1653"/>
                                        </p:tgtEl>
                                      </p:cBhvr>
                                    </p:animEffect>
                                  </p:childTnLst>
                                </p:cTn>
                              </p:par>
                              <p:par>
                                <p:cTn id="120" presetID="10" presetClass="entr" presetSubtype="0" fill="hold" nodeType="withEffect">
                                  <p:stCondLst>
                                    <p:cond delay="2600"/>
                                  </p:stCondLst>
                                  <p:childTnLst>
                                    <p:set>
                                      <p:cBhvr>
                                        <p:cTn id="121" dur="1" fill="hold">
                                          <p:stCondLst>
                                            <p:cond delay="0"/>
                                          </p:stCondLst>
                                        </p:cTn>
                                        <p:tgtEl>
                                          <p:spTgt spid="1509"/>
                                        </p:tgtEl>
                                        <p:attrNameLst>
                                          <p:attrName>style.visibility</p:attrName>
                                        </p:attrNameLst>
                                      </p:cBhvr>
                                      <p:to>
                                        <p:strVal val="visible"/>
                                      </p:to>
                                    </p:set>
                                    <p:animEffect transition="in" filter="fade">
                                      <p:cBhvr>
                                        <p:cTn id="122" dur="500"/>
                                        <p:tgtEl>
                                          <p:spTgt spid="1509"/>
                                        </p:tgtEl>
                                      </p:cBhvr>
                                    </p:animEffect>
                                  </p:childTnLst>
                                </p:cTn>
                              </p:par>
                              <p:par>
                                <p:cTn id="123" presetID="42" presetClass="path" presetSubtype="0" accel="50000" decel="50000" fill="hold" grpId="0" nodeType="withEffect">
                                  <p:stCondLst>
                                    <p:cond delay="400"/>
                                  </p:stCondLst>
                                  <p:childTnLst>
                                    <p:animMotion origin="layout" path="M 3.54167E-6 -4.07407E-6 L 0.30403 -0.24907 " pathEditMode="relative" rAng="0" ptsTypes="AA">
                                      <p:cBhvr>
                                        <p:cTn id="124" dur="2000" fill="hold"/>
                                        <p:tgtEl>
                                          <p:spTgt spid="732"/>
                                        </p:tgtEl>
                                        <p:attrNameLst>
                                          <p:attrName>ppt_x</p:attrName>
                                          <p:attrName>ppt_y</p:attrName>
                                        </p:attrNameLst>
                                      </p:cBhvr>
                                      <p:rCtr x="15195" y="-12454"/>
                                    </p:animMotion>
                                  </p:childTnLst>
                                </p:cTn>
                              </p:par>
                              <p:par>
                                <p:cTn id="125" presetID="10" presetClass="entr" presetSubtype="0" fill="hold" nodeType="withEffect">
                                  <p:stCondLst>
                                    <p:cond delay="2400"/>
                                  </p:stCondLst>
                                  <p:childTnLst>
                                    <p:set>
                                      <p:cBhvr>
                                        <p:cTn id="126" dur="1" fill="hold">
                                          <p:stCondLst>
                                            <p:cond delay="0"/>
                                          </p:stCondLst>
                                        </p:cTn>
                                        <p:tgtEl>
                                          <p:spTgt spid="1527"/>
                                        </p:tgtEl>
                                        <p:attrNameLst>
                                          <p:attrName>style.visibility</p:attrName>
                                        </p:attrNameLst>
                                      </p:cBhvr>
                                      <p:to>
                                        <p:strVal val="visible"/>
                                      </p:to>
                                    </p:set>
                                    <p:animEffect transition="in" filter="fade">
                                      <p:cBhvr>
                                        <p:cTn id="127" dur="500"/>
                                        <p:tgtEl>
                                          <p:spTgt spid="1527"/>
                                        </p:tgtEl>
                                      </p:cBhvr>
                                    </p:animEffect>
                                  </p:childTnLst>
                                </p:cTn>
                              </p:par>
                              <p:par>
                                <p:cTn id="128" presetID="42" presetClass="path" presetSubtype="0" accel="50000" decel="50000" fill="hold" grpId="0" nodeType="withEffect">
                                  <p:stCondLst>
                                    <p:cond delay="1000"/>
                                  </p:stCondLst>
                                  <p:childTnLst>
                                    <p:animMotion origin="layout" path="M 3.54167E-6 -1.11111E-6 L 0.26601 -0.21528 " pathEditMode="relative" rAng="0" ptsTypes="AA">
                                      <p:cBhvr>
                                        <p:cTn id="129" dur="2000" fill="hold"/>
                                        <p:tgtEl>
                                          <p:spTgt spid="733"/>
                                        </p:tgtEl>
                                        <p:attrNameLst>
                                          <p:attrName>ppt_x</p:attrName>
                                          <p:attrName>ppt_y</p:attrName>
                                        </p:attrNameLst>
                                      </p:cBhvr>
                                      <p:rCtr x="13294" y="-10764"/>
                                    </p:animMotion>
                                  </p:childTnLst>
                                </p:cTn>
                              </p:par>
                              <p:par>
                                <p:cTn id="130" presetID="10" presetClass="entr" presetSubtype="0" fill="hold" nodeType="withEffect">
                                  <p:stCondLst>
                                    <p:cond delay="3000"/>
                                  </p:stCondLst>
                                  <p:childTnLst>
                                    <p:set>
                                      <p:cBhvr>
                                        <p:cTn id="131" dur="1" fill="hold">
                                          <p:stCondLst>
                                            <p:cond delay="0"/>
                                          </p:stCondLst>
                                        </p:cTn>
                                        <p:tgtEl>
                                          <p:spTgt spid="1563"/>
                                        </p:tgtEl>
                                        <p:attrNameLst>
                                          <p:attrName>style.visibility</p:attrName>
                                        </p:attrNameLst>
                                      </p:cBhvr>
                                      <p:to>
                                        <p:strVal val="visible"/>
                                      </p:to>
                                    </p:set>
                                    <p:animEffect transition="in" filter="fade">
                                      <p:cBhvr>
                                        <p:cTn id="132" dur="500"/>
                                        <p:tgtEl>
                                          <p:spTgt spid="1563"/>
                                        </p:tgtEl>
                                      </p:cBhvr>
                                    </p:animEffect>
                                  </p:childTnLst>
                                </p:cTn>
                              </p:par>
                              <p:par>
                                <p:cTn id="133" presetID="10" presetClass="entr" presetSubtype="0" fill="hold" nodeType="withEffect">
                                  <p:stCondLst>
                                    <p:cond delay="3200"/>
                                  </p:stCondLst>
                                  <p:childTnLst>
                                    <p:set>
                                      <p:cBhvr>
                                        <p:cTn id="134" dur="1" fill="hold">
                                          <p:stCondLst>
                                            <p:cond delay="0"/>
                                          </p:stCondLst>
                                        </p:cTn>
                                        <p:tgtEl>
                                          <p:spTgt spid="465"/>
                                        </p:tgtEl>
                                        <p:attrNameLst>
                                          <p:attrName>style.visibility</p:attrName>
                                        </p:attrNameLst>
                                      </p:cBhvr>
                                      <p:to>
                                        <p:strVal val="visible"/>
                                      </p:to>
                                    </p:set>
                                    <p:animEffect transition="in" filter="fade">
                                      <p:cBhvr>
                                        <p:cTn id="135" dur="500"/>
                                        <p:tgtEl>
                                          <p:spTgt spid="465"/>
                                        </p:tgtEl>
                                      </p:cBhvr>
                                    </p:animEffect>
                                  </p:childTnLst>
                                </p:cTn>
                              </p:par>
                              <p:par>
                                <p:cTn id="136" presetID="42" presetClass="path" presetSubtype="0" accel="50000" decel="50000" fill="hold" grpId="0" nodeType="withEffect">
                                  <p:stCondLst>
                                    <p:cond delay="400"/>
                                  </p:stCondLst>
                                  <p:childTnLst>
                                    <p:animMotion origin="layout" path="M 3.95833E-6 1.85185E-6 L 0.2664 -0.00139 " pathEditMode="relative" rAng="0" ptsTypes="AA">
                                      <p:cBhvr>
                                        <p:cTn id="137" dur="2000" fill="hold"/>
                                        <p:tgtEl>
                                          <p:spTgt spid="740"/>
                                        </p:tgtEl>
                                        <p:attrNameLst>
                                          <p:attrName>ppt_x</p:attrName>
                                          <p:attrName>ppt_y</p:attrName>
                                        </p:attrNameLst>
                                      </p:cBhvr>
                                      <p:rCtr x="13320" y="-69"/>
                                    </p:animMotion>
                                  </p:childTnLst>
                                </p:cTn>
                              </p:par>
                              <p:par>
                                <p:cTn id="138" presetID="10" presetClass="entr" presetSubtype="0" fill="hold" nodeType="withEffect">
                                  <p:stCondLst>
                                    <p:cond delay="2200"/>
                                  </p:stCondLst>
                                  <p:childTnLst>
                                    <p:set>
                                      <p:cBhvr>
                                        <p:cTn id="139" dur="1" fill="hold">
                                          <p:stCondLst>
                                            <p:cond delay="0"/>
                                          </p:stCondLst>
                                        </p:cTn>
                                        <p:tgtEl>
                                          <p:spTgt spid="488"/>
                                        </p:tgtEl>
                                        <p:attrNameLst>
                                          <p:attrName>style.visibility</p:attrName>
                                        </p:attrNameLst>
                                      </p:cBhvr>
                                      <p:to>
                                        <p:strVal val="visible"/>
                                      </p:to>
                                    </p:set>
                                    <p:animEffect transition="in" filter="fade">
                                      <p:cBhvr>
                                        <p:cTn id="140" dur="500"/>
                                        <p:tgtEl>
                                          <p:spTgt spid="488"/>
                                        </p:tgtEl>
                                      </p:cBhvr>
                                    </p:animEffect>
                                  </p:childTnLst>
                                </p:cTn>
                              </p:par>
                              <p:par>
                                <p:cTn id="141" presetID="10" presetClass="entr" presetSubtype="0" fill="hold" nodeType="withEffect">
                                  <p:stCondLst>
                                    <p:cond delay="2500"/>
                                  </p:stCondLst>
                                  <p:childTnLst>
                                    <p:set>
                                      <p:cBhvr>
                                        <p:cTn id="142" dur="1" fill="hold">
                                          <p:stCondLst>
                                            <p:cond delay="0"/>
                                          </p:stCondLst>
                                        </p:cTn>
                                        <p:tgtEl>
                                          <p:spTgt spid="542"/>
                                        </p:tgtEl>
                                        <p:attrNameLst>
                                          <p:attrName>style.visibility</p:attrName>
                                        </p:attrNameLst>
                                      </p:cBhvr>
                                      <p:to>
                                        <p:strVal val="visible"/>
                                      </p:to>
                                    </p:set>
                                    <p:animEffect transition="in" filter="fade">
                                      <p:cBhvr>
                                        <p:cTn id="143" dur="500"/>
                                        <p:tgtEl>
                                          <p:spTgt spid="542"/>
                                        </p:tgtEl>
                                      </p:cBhvr>
                                    </p:animEffect>
                                  </p:childTnLst>
                                </p:cTn>
                              </p:par>
                              <p:par>
                                <p:cTn id="144" presetID="42" presetClass="path" presetSubtype="0" accel="50000" decel="50000" fill="hold" grpId="0" nodeType="withEffect">
                                  <p:stCondLst>
                                    <p:cond delay="1000"/>
                                  </p:stCondLst>
                                  <p:childTnLst>
                                    <p:animMotion origin="layout" path="M 3.125E-6 3.7037E-7 L 0.26601 0.03194 " pathEditMode="relative" rAng="0" ptsTypes="AA">
                                      <p:cBhvr>
                                        <p:cTn id="145" dur="2000" fill="hold"/>
                                        <p:tgtEl>
                                          <p:spTgt spid="741"/>
                                        </p:tgtEl>
                                        <p:attrNameLst>
                                          <p:attrName>ppt_x</p:attrName>
                                          <p:attrName>ppt_y</p:attrName>
                                        </p:attrNameLst>
                                      </p:cBhvr>
                                      <p:rCtr x="13294" y="1597"/>
                                    </p:animMotion>
                                  </p:childTnLst>
                                </p:cTn>
                              </p:par>
                              <p:par>
                                <p:cTn id="146" presetID="10" presetClass="entr" presetSubtype="0" fill="hold" nodeType="withEffect">
                                  <p:stCondLst>
                                    <p:cond delay="3000"/>
                                  </p:stCondLst>
                                  <p:childTnLst>
                                    <p:set>
                                      <p:cBhvr>
                                        <p:cTn id="147" dur="1" fill="hold">
                                          <p:stCondLst>
                                            <p:cond delay="0"/>
                                          </p:stCondLst>
                                        </p:cTn>
                                        <p:tgtEl>
                                          <p:spTgt spid="506"/>
                                        </p:tgtEl>
                                        <p:attrNameLst>
                                          <p:attrName>style.visibility</p:attrName>
                                        </p:attrNameLst>
                                      </p:cBhvr>
                                      <p:to>
                                        <p:strVal val="visible"/>
                                      </p:to>
                                    </p:set>
                                    <p:animEffect transition="in" filter="fade">
                                      <p:cBhvr>
                                        <p:cTn id="148" dur="500"/>
                                        <p:tgtEl>
                                          <p:spTgt spid="506"/>
                                        </p:tgtEl>
                                      </p:cBhvr>
                                    </p:animEffect>
                                  </p:childTnLst>
                                </p:cTn>
                              </p:par>
                              <p:par>
                                <p:cTn id="149" presetID="10" presetClass="entr" presetSubtype="0" fill="hold" nodeType="withEffect">
                                  <p:stCondLst>
                                    <p:cond delay="3100"/>
                                  </p:stCondLst>
                                  <p:childTnLst>
                                    <p:set>
                                      <p:cBhvr>
                                        <p:cTn id="150" dur="1" fill="hold">
                                          <p:stCondLst>
                                            <p:cond delay="0"/>
                                          </p:stCondLst>
                                        </p:cTn>
                                        <p:tgtEl>
                                          <p:spTgt spid="578"/>
                                        </p:tgtEl>
                                        <p:attrNameLst>
                                          <p:attrName>style.visibility</p:attrName>
                                        </p:attrNameLst>
                                      </p:cBhvr>
                                      <p:to>
                                        <p:strVal val="visible"/>
                                      </p:to>
                                    </p:set>
                                    <p:animEffect transition="in" filter="fade">
                                      <p:cBhvr>
                                        <p:cTn id="151" dur="500"/>
                                        <p:tgtEl>
                                          <p:spTgt spid="578"/>
                                        </p:tgtEl>
                                      </p:cBhvr>
                                    </p:animEffect>
                                  </p:childTnLst>
                                </p:cTn>
                              </p:par>
                            </p:childTnLst>
                          </p:cTn>
                        </p:par>
                      </p:childTnLst>
                    </p:cTn>
                  </p:par>
                  <p:par>
                    <p:cTn id="152" fill="hold">
                      <p:stCondLst>
                        <p:cond delay="indefinite"/>
                      </p:stCondLst>
                      <p:childTnLst>
                        <p:par>
                          <p:cTn id="153" fill="hold">
                            <p:stCondLst>
                              <p:cond delay="0"/>
                            </p:stCondLst>
                            <p:childTnLst>
                              <p:par>
                                <p:cTn id="154" presetID="22" presetClass="exit" presetSubtype="4" fill="hold" nodeType="clickEffect">
                                  <p:stCondLst>
                                    <p:cond delay="0"/>
                                  </p:stCondLst>
                                  <p:childTnLst>
                                    <p:animEffect transition="out" filter="wipe(down)">
                                      <p:cBhvr>
                                        <p:cTn id="155" dur="500"/>
                                        <p:tgtEl>
                                          <p:spTgt spid="734"/>
                                        </p:tgtEl>
                                      </p:cBhvr>
                                    </p:animEffect>
                                    <p:set>
                                      <p:cBhvr>
                                        <p:cTn id="156" dur="1" fill="hold">
                                          <p:stCondLst>
                                            <p:cond delay="499"/>
                                          </p:stCondLst>
                                        </p:cTn>
                                        <p:tgtEl>
                                          <p:spTgt spid="734"/>
                                        </p:tgtEl>
                                        <p:attrNameLst>
                                          <p:attrName>style.visibility</p:attrName>
                                        </p:attrNameLst>
                                      </p:cBhvr>
                                      <p:to>
                                        <p:strVal val="hidden"/>
                                      </p:to>
                                    </p:set>
                                  </p:childTnLst>
                                </p:cTn>
                              </p:par>
                              <p:par>
                                <p:cTn id="157" presetID="22" presetClass="exit" presetSubtype="4" fill="hold" nodeType="withEffect">
                                  <p:stCondLst>
                                    <p:cond delay="0"/>
                                  </p:stCondLst>
                                  <p:childTnLst>
                                    <p:animEffect transition="out" filter="wipe(down)">
                                      <p:cBhvr>
                                        <p:cTn id="158" dur="500"/>
                                        <p:tgtEl>
                                          <p:spTgt spid="737"/>
                                        </p:tgtEl>
                                      </p:cBhvr>
                                    </p:animEffect>
                                    <p:set>
                                      <p:cBhvr>
                                        <p:cTn id="159" dur="1" fill="hold">
                                          <p:stCondLst>
                                            <p:cond delay="499"/>
                                          </p:stCondLst>
                                        </p:cTn>
                                        <p:tgtEl>
                                          <p:spTgt spid="737"/>
                                        </p:tgtEl>
                                        <p:attrNameLst>
                                          <p:attrName>style.visibility</p:attrName>
                                        </p:attrNameLst>
                                      </p:cBhvr>
                                      <p:to>
                                        <p:strVal val="hidden"/>
                                      </p:to>
                                    </p:set>
                                  </p:childTnLst>
                                </p:cTn>
                              </p:par>
                              <p:par>
                                <p:cTn id="160" presetID="10" presetClass="exit" presetSubtype="0" fill="hold" grpId="0" nodeType="withEffect">
                                  <p:stCondLst>
                                    <p:cond delay="0"/>
                                  </p:stCondLst>
                                  <p:childTnLst>
                                    <p:animEffect transition="out" filter="fade">
                                      <p:cBhvr>
                                        <p:cTn id="161" dur="500"/>
                                        <p:tgtEl>
                                          <p:spTgt spid="5"/>
                                        </p:tgtEl>
                                      </p:cBhvr>
                                    </p:animEffect>
                                    <p:set>
                                      <p:cBhvr>
                                        <p:cTn id="162" dur="1" fill="hold">
                                          <p:stCondLst>
                                            <p:cond delay="499"/>
                                          </p:stCondLst>
                                        </p:cTn>
                                        <p:tgtEl>
                                          <p:spTgt spid="5"/>
                                        </p:tgtEl>
                                        <p:attrNameLst>
                                          <p:attrName>style.visibility</p:attrName>
                                        </p:attrNameLst>
                                      </p:cBhvr>
                                      <p:to>
                                        <p:strVal val="hidden"/>
                                      </p:to>
                                    </p:set>
                                  </p:childTnLst>
                                </p:cTn>
                              </p:par>
                              <p:par>
                                <p:cTn id="163" presetID="10" presetClass="exit" presetSubtype="0" fill="hold" grpId="1" nodeType="withEffect">
                                  <p:stCondLst>
                                    <p:cond delay="0"/>
                                  </p:stCondLst>
                                  <p:childTnLst>
                                    <p:animEffect transition="out" filter="fade">
                                      <p:cBhvr>
                                        <p:cTn id="164" dur="500"/>
                                        <p:tgtEl>
                                          <p:spTgt spid="319"/>
                                        </p:tgtEl>
                                      </p:cBhvr>
                                    </p:animEffect>
                                    <p:set>
                                      <p:cBhvr>
                                        <p:cTn id="165" dur="1" fill="hold">
                                          <p:stCondLst>
                                            <p:cond delay="499"/>
                                          </p:stCondLst>
                                        </p:cTn>
                                        <p:tgtEl>
                                          <p:spTgt spid="319"/>
                                        </p:tgtEl>
                                        <p:attrNameLst>
                                          <p:attrName>style.visibility</p:attrName>
                                        </p:attrNameLst>
                                      </p:cBhvr>
                                      <p:to>
                                        <p:strVal val="hidden"/>
                                      </p:to>
                                    </p:set>
                                  </p:childTnLst>
                                </p:cTn>
                              </p:par>
                              <p:par>
                                <p:cTn id="166" presetID="10" presetClass="exit" presetSubtype="0" fill="hold" grpId="1" nodeType="withEffect">
                                  <p:stCondLst>
                                    <p:cond delay="0"/>
                                  </p:stCondLst>
                                  <p:childTnLst>
                                    <p:animEffect transition="out" filter="fade">
                                      <p:cBhvr>
                                        <p:cTn id="167" dur="500"/>
                                        <p:tgtEl>
                                          <p:spTgt spid="322"/>
                                        </p:tgtEl>
                                      </p:cBhvr>
                                    </p:animEffect>
                                    <p:set>
                                      <p:cBhvr>
                                        <p:cTn id="168" dur="1" fill="hold">
                                          <p:stCondLst>
                                            <p:cond delay="499"/>
                                          </p:stCondLst>
                                        </p:cTn>
                                        <p:tgtEl>
                                          <p:spTgt spid="322"/>
                                        </p:tgtEl>
                                        <p:attrNameLst>
                                          <p:attrName>style.visibility</p:attrName>
                                        </p:attrNameLst>
                                      </p:cBhvr>
                                      <p:to>
                                        <p:strVal val="hidden"/>
                                      </p:to>
                                    </p:set>
                                  </p:childTnLst>
                                </p:cTn>
                              </p:par>
                              <p:par>
                                <p:cTn id="169" presetID="10" presetClass="exit" presetSubtype="0" fill="hold" grpId="1" nodeType="withEffect">
                                  <p:stCondLst>
                                    <p:cond delay="0"/>
                                  </p:stCondLst>
                                  <p:childTnLst>
                                    <p:animEffect transition="out" filter="fade">
                                      <p:cBhvr>
                                        <p:cTn id="170" dur="500"/>
                                        <p:tgtEl>
                                          <p:spTgt spid="324"/>
                                        </p:tgtEl>
                                      </p:cBhvr>
                                    </p:animEffect>
                                    <p:set>
                                      <p:cBhvr>
                                        <p:cTn id="171" dur="1" fill="hold">
                                          <p:stCondLst>
                                            <p:cond delay="499"/>
                                          </p:stCondLst>
                                        </p:cTn>
                                        <p:tgtEl>
                                          <p:spTgt spid="324"/>
                                        </p:tgtEl>
                                        <p:attrNameLst>
                                          <p:attrName>style.visibility</p:attrName>
                                        </p:attrNameLst>
                                      </p:cBhvr>
                                      <p:to>
                                        <p:strVal val="hidden"/>
                                      </p:to>
                                    </p:set>
                                  </p:childTnLst>
                                </p:cTn>
                              </p:par>
                            </p:childTnLst>
                          </p:cTn>
                        </p:par>
                      </p:childTnLst>
                    </p:cTn>
                  </p:par>
                  <p:par>
                    <p:cTn id="172" fill="hold">
                      <p:stCondLst>
                        <p:cond delay="indefinite"/>
                      </p:stCondLst>
                      <p:childTnLst>
                        <p:par>
                          <p:cTn id="173" fill="hold">
                            <p:stCondLst>
                              <p:cond delay="0"/>
                            </p:stCondLst>
                            <p:childTnLst>
                              <p:par>
                                <p:cTn id="174" presetID="44" presetClass="path" presetSubtype="0" accel="50000" decel="50000" fill="hold" grpId="0" nodeType="clickEffect">
                                  <p:stCondLst>
                                    <p:cond delay="0"/>
                                  </p:stCondLst>
                                  <p:childTnLst>
                                    <p:animMotion origin="layout" path="M -3.125E-6 1.85185E-6 C 0.20196 -0.20834 0.16198 -0.60301 0.6056 -0.62454 C 1.26003 -0.64607 1.35391 -0.04259 1.37683 -0.02917 " pathEditMode="relative" rAng="0" ptsTypes="AAA">
                                      <p:cBhvr>
                                        <p:cTn id="175" dur="8000" fill="hold"/>
                                        <p:tgtEl>
                                          <p:spTgt spid="9"/>
                                        </p:tgtEl>
                                        <p:attrNameLst>
                                          <p:attrName>ppt_x</p:attrName>
                                          <p:attrName>ppt_y</p:attrName>
                                        </p:attrNameLst>
                                      </p:cBhvr>
                                      <p:rCtr x="68841" y="-31273"/>
                                    </p:animMotion>
                                  </p:childTnLst>
                                </p:cTn>
                              </p:par>
                              <p:par>
                                <p:cTn id="176" presetID="10" presetClass="entr" presetSubtype="0" fill="hold" grpId="0" nodeType="withEffect">
                                  <p:stCondLst>
                                    <p:cond delay="0"/>
                                  </p:stCondLst>
                                  <p:childTnLst>
                                    <p:set>
                                      <p:cBhvr>
                                        <p:cTn id="177" dur="1" fill="hold">
                                          <p:stCondLst>
                                            <p:cond delay="0"/>
                                          </p:stCondLst>
                                        </p:cTn>
                                        <p:tgtEl>
                                          <p:spTgt spid="10"/>
                                        </p:tgtEl>
                                        <p:attrNameLst>
                                          <p:attrName>style.visibility</p:attrName>
                                        </p:attrNameLst>
                                      </p:cBhvr>
                                      <p:to>
                                        <p:strVal val="visible"/>
                                      </p:to>
                                    </p:set>
                                    <p:animEffect transition="in" filter="fade">
                                      <p:cBhvr>
                                        <p:cTn id="178" dur="4000"/>
                                        <p:tgtEl>
                                          <p:spTgt spid="10"/>
                                        </p:tgtEl>
                                      </p:cBhvr>
                                    </p:animEffect>
                                  </p:childTnLst>
                                </p:cTn>
                              </p:par>
                              <p:par>
                                <p:cTn id="179" presetID="10" presetClass="entr" presetSubtype="0" fill="hold" grpId="0" nodeType="withEffect">
                                  <p:stCondLst>
                                    <p:cond delay="4000"/>
                                  </p:stCondLst>
                                  <p:childTnLst>
                                    <p:set>
                                      <p:cBhvr>
                                        <p:cTn id="180" dur="1" fill="hold">
                                          <p:stCondLst>
                                            <p:cond delay="0"/>
                                          </p:stCondLst>
                                        </p:cTn>
                                        <p:tgtEl>
                                          <p:spTgt spid="13"/>
                                        </p:tgtEl>
                                        <p:attrNameLst>
                                          <p:attrName>style.visibility</p:attrName>
                                        </p:attrNameLst>
                                      </p:cBhvr>
                                      <p:to>
                                        <p:strVal val="visible"/>
                                      </p:to>
                                    </p:set>
                                    <p:animEffect transition="in" filter="fade">
                                      <p:cBhvr>
                                        <p:cTn id="181" dur="500"/>
                                        <p:tgtEl>
                                          <p:spTgt spid="13"/>
                                        </p:tgtEl>
                                      </p:cBhvr>
                                    </p:animEffect>
                                  </p:childTnLst>
                                </p:cTn>
                              </p:par>
                              <p:par>
                                <p:cTn id="182" presetID="10" presetClass="entr" presetSubtype="0" fill="hold" grpId="0" nodeType="withEffect">
                                  <p:stCondLst>
                                    <p:cond delay="4200"/>
                                  </p:stCondLst>
                                  <p:childTnLst>
                                    <p:set>
                                      <p:cBhvr>
                                        <p:cTn id="183" dur="1" fill="hold">
                                          <p:stCondLst>
                                            <p:cond delay="0"/>
                                          </p:stCondLst>
                                        </p:cTn>
                                        <p:tgtEl>
                                          <p:spTgt spid="328"/>
                                        </p:tgtEl>
                                        <p:attrNameLst>
                                          <p:attrName>style.visibility</p:attrName>
                                        </p:attrNameLst>
                                      </p:cBhvr>
                                      <p:to>
                                        <p:strVal val="visible"/>
                                      </p:to>
                                    </p:set>
                                    <p:animEffect transition="in" filter="fade">
                                      <p:cBhvr>
                                        <p:cTn id="184" dur="500"/>
                                        <p:tgtEl>
                                          <p:spTgt spid="328"/>
                                        </p:tgtEl>
                                      </p:cBhvr>
                                    </p:animEffect>
                                  </p:childTnLst>
                                </p:cTn>
                              </p:par>
                            </p:childTnLst>
                          </p:cTn>
                        </p:par>
                        <p:par>
                          <p:cTn id="185" fill="hold">
                            <p:stCondLst>
                              <p:cond delay="8000"/>
                            </p:stCondLst>
                            <p:childTnLst>
                              <p:par>
                                <p:cTn id="186" presetID="9" presetClass="emph" presetSubtype="0" nodeType="afterEffect">
                                  <p:stCondLst>
                                    <p:cond delay="0"/>
                                  </p:stCondLst>
                                  <p:childTnLst>
                                    <p:set>
                                      <p:cBhvr>
                                        <p:cTn id="187" dur="indefinite"/>
                                        <p:tgtEl>
                                          <p:spTgt spid="488"/>
                                        </p:tgtEl>
                                        <p:attrNameLst>
                                          <p:attrName>style.opacity</p:attrName>
                                        </p:attrNameLst>
                                      </p:cBhvr>
                                      <p:to>
                                        <p:strVal val="0.25"/>
                                      </p:to>
                                    </p:set>
                                    <p:animEffect filter="image" prLst="opacity: 0.25">
                                      <p:cBhvr rctx="IE">
                                        <p:cTn id="188" dur="indefinite"/>
                                        <p:tgtEl>
                                          <p:spTgt spid="488"/>
                                        </p:tgtEl>
                                      </p:cBhvr>
                                    </p:animEffect>
                                  </p:childTnLst>
                                </p:cTn>
                              </p:par>
                              <p:par>
                                <p:cTn id="189" presetID="9" presetClass="emph" presetSubtype="0" nodeType="withEffect">
                                  <p:stCondLst>
                                    <p:cond delay="0"/>
                                  </p:stCondLst>
                                  <p:childTnLst>
                                    <p:set>
                                      <p:cBhvr>
                                        <p:cTn id="190" dur="indefinite"/>
                                        <p:tgtEl>
                                          <p:spTgt spid="542"/>
                                        </p:tgtEl>
                                        <p:attrNameLst>
                                          <p:attrName>style.opacity</p:attrName>
                                        </p:attrNameLst>
                                      </p:cBhvr>
                                      <p:to>
                                        <p:strVal val="0.25"/>
                                      </p:to>
                                    </p:set>
                                    <p:animEffect filter="image" prLst="opacity: 0.25">
                                      <p:cBhvr rctx="IE">
                                        <p:cTn id="191" dur="indefinite"/>
                                        <p:tgtEl>
                                          <p:spTgt spid="542"/>
                                        </p:tgtEl>
                                      </p:cBhvr>
                                    </p:animEffect>
                                  </p:childTnLst>
                                </p:cTn>
                              </p:par>
                              <p:par>
                                <p:cTn id="192" presetID="9" presetClass="emph" presetSubtype="0" nodeType="withEffect">
                                  <p:stCondLst>
                                    <p:cond delay="0"/>
                                  </p:stCondLst>
                                  <p:childTnLst>
                                    <p:set>
                                      <p:cBhvr>
                                        <p:cTn id="193" dur="indefinite"/>
                                        <p:tgtEl>
                                          <p:spTgt spid="506"/>
                                        </p:tgtEl>
                                        <p:attrNameLst>
                                          <p:attrName>style.opacity</p:attrName>
                                        </p:attrNameLst>
                                      </p:cBhvr>
                                      <p:to>
                                        <p:strVal val="0.25"/>
                                      </p:to>
                                    </p:set>
                                    <p:animEffect filter="image" prLst="opacity: 0.25">
                                      <p:cBhvr rctx="IE">
                                        <p:cTn id="194" dur="indefinite"/>
                                        <p:tgtEl>
                                          <p:spTgt spid="506"/>
                                        </p:tgtEl>
                                      </p:cBhvr>
                                    </p:animEffect>
                                  </p:childTnLst>
                                </p:cTn>
                              </p:par>
                              <p:par>
                                <p:cTn id="195" presetID="9" presetClass="emph" presetSubtype="0" nodeType="withEffect">
                                  <p:stCondLst>
                                    <p:cond delay="0"/>
                                  </p:stCondLst>
                                  <p:childTnLst>
                                    <p:set>
                                      <p:cBhvr>
                                        <p:cTn id="196" dur="indefinite"/>
                                        <p:tgtEl>
                                          <p:spTgt spid="578"/>
                                        </p:tgtEl>
                                        <p:attrNameLst>
                                          <p:attrName>style.opacity</p:attrName>
                                        </p:attrNameLst>
                                      </p:cBhvr>
                                      <p:to>
                                        <p:strVal val="0.25"/>
                                      </p:to>
                                    </p:set>
                                    <p:animEffect filter="image" prLst="opacity: 0.25">
                                      <p:cBhvr rctx="IE">
                                        <p:cTn id="197" dur="indefinite"/>
                                        <p:tgtEl>
                                          <p:spTgt spid="578"/>
                                        </p:tgtEl>
                                      </p:cBhvr>
                                    </p:animEffect>
                                  </p:childTnLst>
                                </p:cTn>
                              </p:par>
                              <p:par>
                                <p:cTn id="198" presetID="9" presetClass="emph" presetSubtype="0" nodeType="withEffect">
                                  <p:stCondLst>
                                    <p:cond delay="0"/>
                                  </p:stCondLst>
                                  <p:childTnLst>
                                    <p:set>
                                      <p:cBhvr>
                                        <p:cTn id="199" dur="indefinite"/>
                                        <p:tgtEl>
                                          <p:spTgt spid="485"/>
                                        </p:tgtEl>
                                        <p:attrNameLst>
                                          <p:attrName>style.opacity</p:attrName>
                                        </p:attrNameLst>
                                      </p:cBhvr>
                                      <p:to>
                                        <p:strVal val="0.25"/>
                                      </p:to>
                                    </p:set>
                                    <p:animEffect filter="image" prLst="opacity: 0.25">
                                      <p:cBhvr rctx="IE">
                                        <p:cTn id="200" dur="indefinite"/>
                                        <p:tgtEl>
                                          <p:spTgt spid="485"/>
                                        </p:tgtEl>
                                      </p:cBhvr>
                                    </p:animEffect>
                                  </p:childTnLst>
                                </p:cTn>
                              </p:par>
                              <p:par>
                                <p:cTn id="201" presetID="9" presetClass="emph" presetSubtype="0" grpId="0" nodeType="withEffect">
                                  <p:stCondLst>
                                    <p:cond delay="0"/>
                                  </p:stCondLst>
                                  <p:childTnLst>
                                    <p:set>
                                      <p:cBhvr>
                                        <p:cTn id="202" dur="indefinite"/>
                                        <p:tgtEl>
                                          <p:spTgt spid="712"/>
                                        </p:tgtEl>
                                        <p:attrNameLst>
                                          <p:attrName>style.opacity</p:attrName>
                                        </p:attrNameLst>
                                      </p:cBhvr>
                                      <p:to>
                                        <p:strVal val="0.25"/>
                                      </p:to>
                                    </p:set>
                                    <p:animEffect filter="image" prLst="opacity: 0.25">
                                      <p:cBhvr rctx="IE">
                                        <p:cTn id="203" dur="indefinite"/>
                                        <p:tgtEl>
                                          <p:spTgt spid="712"/>
                                        </p:tgtEl>
                                      </p:cBhvr>
                                    </p:animEffect>
                                  </p:childTnLst>
                                </p:cTn>
                              </p:par>
                              <p:par>
                                <p:cTn id="204" presetID="9" presetClass="emph" presetSubtype="0" grpId="0" nodeType="withEffect">
                                  <p:stCondLst>
                                    <p:cond delay="0"/>
                                  </p:stCondLst>
                                  <p:childTnLst>
                                    <p:set>
                                      <p:cBhvr>
                                        <p:cTn id="205" dur="indefinite"/>
                                        <p:tgtEl>
                                          <p:spTgt spid="713"/>
                                        </p:tgtEl>
                                        <p:attrNameLst>
                                          <p:attrName>style.opacity</p:attrName>
                                        </p:attrNameLst>
                                      </p:cBhvr>
                                      <p:to>
                                        <p:strVal val="0.25"/>
                                      </p:to>
                                    </p:set>
                                    <p:animEffect filter="image" prLst="opacity: 0.25">
                                      <p:cBhvr rctx="IE">
                                        <p:cTn id="206" dur="indefinite"/>
                                        <p:tgtEl>
                                          <p:spTgt spid="713"/>
                                        </p:tgtEl>
                                      </p:cBhvr>
                                    </p:animEffect>
                                  </p:childTnLst>
                                </p:cTn>
                              </p:par>
                              <p:par>
                                <p:cTn id="207" presetID="9" presetClass="emph" presetSubtype="0" grpId="1" nodeType="withEffect">
                                  <p:stCondLst>
                                    <p:cond delay="0"/>
                                  </p:stCondLst>
                                  <p:childTnLst>
                                    <p:set>
                                      <p:cBhvr>
                                        <p:cTn id="208" dur="indefinite"/>
                                        <p:tgtEl>
                                          <p:spTgt spid="740"/>
                                        </p:tgtEl>
                                        <p:attrNameLst>
                                          <p:attrName>style.opacity</p:attrName>
                                        </p:attrNameLst>
                                      </p:cBhvr>
                                      <p:to>
                                        <p:strVal val="0.25"/>
                                      </p:to>
                                    </p:set>
                                    <p:animEffect filter="image" prLst="opacity: 0.25">
                                      <p:cBhvr rctx="IE">
                                        <p:cTn id="209" dur="indefinite"/>
                                        <p:tgtEl>
                                          <p:spTgt spid="740"/>
                                        </p:tgtEl>
                                      </p:cBhvr>
                                    </p:animEffect>
                                  </p:childTnLst>
                                </p:cTn>
                              </p:par>
                              <p:par>
                                <p:cTn id="210" presetID="9" presetClass="emph" presetSubtype="0" grpId="1" nodeType="withEffect">
                                  <p:stCondLst>
                                    <p:cond delay="0"/>
                                  </p:stCondLst>
                                  <p:childTnLst>
                                    <p:set>
                                      <p:cBhvr>
                                        <p:cTn id="211" dur="indefinite"/>
                                        <p:tgtEl>
                                          <p:spTgt spid="741"/>
                                        </p:tgtEl>
                                        <p:attrNameLst>
                                          <p:attrName>style.opacity</p:attrName>
                                        </p:attrNameLst>
                                      </p:cBhvr>
                                      <p:to>
                                        <p:strVal val="0.25"/>
                                      </p:to>
                                    </p:set>
                                    <p:animEffect filter="image" prLst="opacity: 0.25">
                                      <p:cBhvr rctx="IE">
                                        <p:cTn id="212" dur="indefinite"/>
                                        <p:tgtEl>
                                          <p:spTgt spid="741"/>
                                        </p:tgtEl>
                                      </p:cBhvr>
                                    </p:animEffect>
                                  </p:childTnLst>
                                </p:cTn>
                              </p:par>
                              <p:par>
                                <p:cTn id="213" presetID="10" presetClass="exit" presetSubtype="0" fill="hold" grpId="1" nodeType="withEffect">
                                  <p:stCondLst>
                                    <p:cond delay="0"/>
                                  </p:stCondLst>
                                  <p:childTnLst>
                                    <p:animEffect transition="out" filter="fade">
                                      <p:cBhvr>
                                        <p:cTn id="214" dur="4000"/>
                                        <p:tgtEl>
                                          <p:spTgt spid="10"/>
                                        </p:tgtEl>
                                      </p:cBhvr>
                                    </p:animEffect>
                                    <p:set>
                                      <p:cBhvr>
                                        <p:cTn id="215" dur="1" fill="hold">
                                          <p:stCondLst>
                                            <p:cond delay="3999"/>
                                          </p:stCondLst>
                                        </p:cTn>
                                        <p:tgtEl>
                                          <p:spTgt spid="10"/>
                                        </p:tgtEl>
                                        <p:attrNameLst>
                                          <p:attrName>style.visibility</p:attrName>
                                        </p:attrNameLst>
                                      </p:cBhvr>
                                      <p:to>
                                        <p:strVal val="hidden"/>
                                      </p:to>
                                    </p:set>
                                  </p:childTnLst>
                                </p:cTn>
                              </p:par>
                              <p:par>
                                <p:cTn id="216" presetID="10" presetClass="entr" presetSubtype="0" fill="hold" grpId="0" nodeType="withEffect">
                                  <p:stCondLst>
                                    <p:cond delay="0"/>
                                  </p:stCondLst>
                                  <p:childTnLst>
                                    <p:set>
                                      <p:cBhvr>
                                        <p:cTn id="217" dur="1" fill="hold">
                                          <p:stCondLst>
                                            <p:cond delay="0"/>
                                          </p:stCondLst>
                                        </p:cTn>
                                        <p:tgtEl>
                                          <p:spTgt spid="329"/>
                                        </p:tgtEl>
                                        <p:attrNameLst>
                                          <p:attrName>style.visibility</p:attrName>
                                        </p:attrNameLst>
                                      </p:cBhvr>
                                      <p:to>
                                        <p:strVal val="visible"/>
                                      </p:to>
                                    </p:set>
                                    <p:animEffect transition="in" filter="fade">
                                      <p:cBhvr>
                                        <p:cTn id="218" dur="500"/>
                                        <p:tgtEl>
                                          <p:spTgt spid="329"/>
                                        </p:tgtEl>
                                      </p:cBhvr>
                                    </p:animEffect>
                                  </p:childTnLst>
                                </p:cTn>
                              </p:par>
                              <p:par>
                                <p:cTn id="219" presetID="10" presetClass="entr" presetSubtype="0" fill="hold" grpId="0" nodeType="withEffect">
                                  <p:stCondLst>
                                    <p:cond delay="0"/>
                                  </p:stCondLst>
                                  <p:childTnLst>
                                    <p:set>
                                      <p:cBhvr>
                                        <p:cTn id="220" dur="1" fill="hold">
                                          <p:stCondLst>
                                            <p:cond delay="0"/>
                                          </p:stCondLst>
                                        </p:cTn>
                                        <p:tgtEl>
                                          <p:spTgt spid="331"/>
                                        </p:tgtEl>
                                        <p:attrNameLst>
                                          <p:attrName>style.visibility</p:attrName>
                                        </p:attrNameLst>
                                      </p:cBhvr>
                                      <p:to>
                                        <p:strVal val="visible"/>
                                      </p:to>
                                    </p:set>
                                    <p:animEffect transition="in" filter="fade">
                                      <p:cBhvr>
                                        <p:cTn id="221" dur="500"/>
                                        <p:tgtEl>
                                          <p:spTgt spid="331"/>
                                        </p:tgtEl>
                                      </p:cBhvr>
                                    </p:animEffect>
                                  </p:childTnLst>
                                </p:cTn>
                              </p:par>
                              <p:par>
                                <p:cTn id="222" presetID="22" presetClass="entr" presetSubtype="1" fill="hold" nodeType="withEffect">
                                  <p:stCondLst>
                                    <p:cond delay="1000"/>
                                  </p:stCondLst>
                                  <p:childTnLst>
                                    <p:set>
                                      <p:cBhvr>
                                        <p:cTn id="223" dur="1" fill="hold">
                                          <p:stCondLst>
                                            <p:cond delay="0"/>
                                          </p:stCondLst>
                                        </p:cTn>
                                        <p:tgtEl>
                                          <p:spTgt spid="744"/>
                                        </p:tgtEl>
                                        <p:attrNameLst>
                                          <p:attrName>style.visibility</p:attrName>
                                        </p:attrNameLst>
                                      </p:cBhvr>
                                      <p:to>
                                        <p:strVal val="visible"/>
                                      </p:to>
                                    </p:set>
                                    <p:animEffect transition="in" filter="wipe(up)">
                                      <p:cBhvr>
                                        <p:cTn id="224" dur="500"/>
                                        <p:tgtEl>
                                          <p:spTgt spid="744"/>
                                        </p:tgtEl>
                                      </p:cBhvr>
                                    </p:animEffect>
                                  </p:childTnLst>
                                </p:cTn>
                              </p:par>
                              <p:par>
                                <p:cTn id="225" presetID="10" presetClass="entr" presetSubtype="0" fill="hold" nodeType="withEffect">
                                  <p:stCondLst>
                                    <p:cond delay="1000"/>
                                  </p:stCondLst>
                                  <p:childTnLst>
                                    <p:set>
                                      <p:cBhvr>
                                        <p:cTn id="226" dur="1" fill="hold">
                                          <p:stCondLst>
                                            <p:cond delay="0"/>
                                          </p:stCondLst>
                                        </p:cTn>
                                        <p:tgtEl>
                                          <p:spTgt spid="596"/>
                                        </p:tgtEl>
                                        <p:attrNameLst>
                                          <p:attrName>style.visibility</p:attrName>
                                        </p:attrNameLst>
                                      </p:cBhvr>
                                      <p:to>
                                        <p:strVal val="visible"/>
                                      </p:to>
                                    </p:set>
                                    <p:animEffect transition="in" filter="fade">
                                      <p:cBhvr>
                                        <p:cTn id="227" dur="500"/>
                                        <p:tgtEl>
                                          <p:spTgt spid="596"/>
                                        </p:tgtEl>
                                      </p:cBhvr>
                                    </p:animEffect>
                                  </p:childTnLst>
                                </p:cTn>
                              </p:par>
                              <p:par>
                                <p:cTn id="228" presetID="10" presetClass="entr" presetSubtype="0" fill="hold" grpId="0" nodeType="withEffect">
                                  <p:stCondLst>
                                    <p:cond delay="0"/>
                                  </p:stCondLst>
                                  <p:childTnLst>
                                    <p:set>
                                      <p:cBhvr>
                                        <p:cTn id="229" dur="1" fill="hold">
                                          <p:stCondLst>
                                            <p:cond delay="0"/>
                                          </p:stCondLst>
                                        </p:cTn>
                                        <p:tgtEl>
                                          <p:spTgt spid="717"/>
                                        </p:tgtEl>
                                        <p:attrNameLst>
                                          <p:attrName>style.visibility</p:attrName>
                                        </p:attrNameLst>
                                      </p:cBhvr>
                                      <p:to>
                                        <p:strVal val="visible"/>
                                      </p:to>
                                    </p:set>
                                    <p:animEffect transition="in" filter="fade">
                                      <p:cBhvr>
                                        <p:cTn id="230" dur="500"/>
                                        <p:tgtEl>
                                          <p:spTgt spid="717"/>
                                        </p:tgtEl>
                                      </p:cBhvr>
                                    </p:animEffect>
                                  </p:childTnLst>
                                </p:cTn>
                              </p:par>
                              <p:par>
                                <p:cTn id="231" presetID="10" presetClass="entr" presetSubtype="0" fill="hold" grpId="0" nodeType="withEffect">
                                  <p:stCondLst>
                                    <p:cond delay="0"/>
                                  </p:stCondLst>
                                  <p:childTnLst>
                                    <p:set>
                                      <p:cBhvr>
                                        <p:cTn id="232" dur="1" fill="hold">
                                          <p:stCondLst>
                                            <p:cond delay="0"/>
                                          </p:stCondLst>
                                        </p:cTn>
                                        <p:tgtEl>
                                          <p:spTgt spid="718"/>
                                        </p:tgtEl>
                                        <p:attrNameLst>
                                          <p:attrName>style.visibility</p:attrName>
                                        </p:attrNameLst>
                                      </p:cBhvr>
                                      <p:to>
                                        <p:strVal val="visible"/>
                                      </p:to>
                                    </p:set>
                                    <p:animEffect transition="in" filter="fade">
                                      <p:cBhvr>
                                        <p:cTn id="233" dur="500"/>
                                        <p:tgtEl>
                                          <p:spTgt spid="718"/>
                                        </p:tgtEl>
                                      </p:cBhvr>
                                    </p:animEffect>
                                  </p:childTnLst>
                                </p:cTn>
                              </p:par>
                              <p:par>
                                <p:cTn id="234" presetID="42" presetClass="path" presetSubtype="0" accel="50000" decel="50000" fill="hold" grpId="0" nodeType="withEffect">
                                  <p:stCondLst>
                                    <p:cond delay="0"/>
                                  </p:stCondLst>
                                  <p:childTnLst>
                                    <p:animMotion origin="layout" path="M 4.375E-6 3.7037E-7 L 0.26757 0.2463 " pathEditMode="relative" rAng="0" ptsTypes="AA">
                                      <p:cBhvr>
                                        <p:cTn id="235" dur="2000" fill="hold"/>
                                        <p:tgtEl>
                                          <p:spTgt spid="747"/>
                                        </p:tgtEl>
                                        <p:attrNameLst>
                                          <p:attrName>ppt_x</p:attrName>
                                          <p:attrName>ppt_y</p:attrName>
                                        </p:attrNameLst>
                                      </p:cBhvr>
                                      <p:rCtr x="13372" y="12315"/>
                                    </p:animMotion>
                                  </p:childTnLst>
                                </p:cTn>
                              </p:par>
                              <p:par>
                                <p:cTn id="236" presetID="10" presetClass="entr" presetSubtype="0" fill="hold" nodeType="withEffect">
                                  <p:stCondLst>
                                    <p:cond delay="2000"/>
                                  </p:stCondLst>
                                  <p:childTnLst>
                                    <p:set>
                                      <p:cBhvr>
                                        <p:cTn id="237" dur="1" fill="hold">
                                          <p:stCondLst>
                                            <p:cond delay="0"/>
                                          </p:stCondLst>
                                        </p:cTn>
                                        <p:tgtEl>
                                          <p:spTgt spid="635"/>
                                        </p:tgtEl>
                                        <p:attrNameLst>
                                          <p:attrName>style.visibility</p:attrName>
                                        </p:attrNameLst>
                                      </p:cBhvr>
                                      <p:to>
                                        <p:strVal val="visible"/>
                                      </p:to>
                                    </p:set>
                                    <p:animEffect transition="in" filter="fade">
                                      <p:cBhvr>
                                        <p:cTn id="238" dur="500"/>
                                        <p:tgtEl>
                                          <p:spTgt spid="635"/>
                                        </p:tgtEl>
                                      </p:cBhvr>
                                    </p:animEffect>
                                  </p:childTnLst>
                                </p:cTn>
                              </p:par>
                              <p:par>
                                <p:cTn id="239" presetID="10" presetClass="entr" presetSubtype="0" fill="hold" nodeType="withEffect">
                                  <p:stCondLst>
                                    <p:cond delay="2300"/>
                                  </p:stCondLst>
                                  <p:childTnLst>
                                    <p:set>
                                      <p:cBhvr>
                                        <p:cTn id="240" dur="1" fill="hold">
                                          <p:stCondLst>
                                            <p:cond delay="0"/>
                                          </p:stCondLst>
                                        </p:cTn>
                                        <p:tgtEl>
                                          <p:spTgt spid="671"/>
                                        </p:tgtEl>
                                        <p:attrNameLst>
                                          <p:attrName>style.visibility</p:attrName>
                                        </p:attrNameLst>
                                      </p:cBhvr>
                                      <p:to>
                                        <p:strVal val="visible"/>
                                      </p:to>
                                    </p:set>
                                    <p:animEffect transition="in" filter="fade">
                                      <p:cBhvr>
                                        <p:cTn id="241" dur="500"/>
                                        <p:tgtEl>
                                          <p:spTgt spid="671"/>
                                        </p:tgtEl>
                                      </p:cBhvr>
                                    </p:animEffect>
                                  </p:childTnLst>
                                </p:cTn>
                              </p:par>
                              <p:par>
                                <p:cTn id="242" presetID="42" presetClass="path" presetSubtype="0" accel="50000" decel="50000" fill="hold" grpId="0" nodeType="withEffect">
                                  <p:stCondLst>
                                    <p:cond delay="300"/>
                                  </p:stCondLst>
                                  <p:childTnLst>
                                    <p:animMotion origin="layout" path="M 3.125E-6 -2.59259E-6 L 0.30781 0.2463 " pathEditMode="relative" rAng="0" ptsTypes="AA">
                                      <p:cBhvr>
                                        <p:cTn id="243" dur="2000" fill="hold"/>
                                        <p:tgtEl>
                                          <p:spTgt spid="748"/>
                                        </p:tgtEl>
                                        <p:attrNameLst>
                                          <p:attrName>ppt_x</p:attrName>
                                          <p:attrName>ppt_y</p:attrName>
                                        </p:attrNameLst>
                                      </p:cBhvr>
                                      <p:rCtr x="15391" y="12315"/>
                                    </p:animMotion>
                                  </p:childTnLst>
                                </p:cTn>
                              </p:par>
                              <p:par>
                                <p:cTn id="244" presetID="10" presetClass="entr" presetSubtype="0" fill="hold" nodeType="withEffect">
                                  <p:stCondLst>
                                    <p:cond delay="2000"/>
                                  </p:stCondLst>
                                  <p:childTnLst>
                                    <p:set>
                                      <p:cBhvr>
                                        <p:cTn id="245" dur="1" fill="hold">
                                          <p:stCondLst>
                                            <p:cond delay="0"/>
                                          </p:stCondLst>
                                        </p:cTn>
                                        <p:tgtEl>
                                          <p:spTgt spid="599"/>
                                        </p:tgtEl>
                                        <p:attrNameLst>
                                          <p:attrName>style.visibility</p:attrName>
                                        </p:attrNameLst>
                                      </p:cBhvr>
                                      <p:to>
                                        <p:strVal val="visible"/>
                                      </p:to>
                                    </p:set>
                                    <p:animEffect transition="in" filter="fade">
                                      <p:cBhvr>
                                        <p:cTn id="246" dur="500"/>
                                        <p:tgtEl>
                                          <p:spTgt spid="599"/>
                                        </p:tgtEl>
                                      </p:cBhvr>
                                    </p:animEffect>
                                  </p:childTnLst>
                                </p:cTn>
                              </p:par>
                              <p:par>
                                <p:cTn id="247" presetID="10" presetClass="entr" presetSubtype="0" fill="hold" nodeType="withEffect">
                                  <p:stCondLst>
                                    <p:cond delay="2400"/>
                                  </p:stCondLst>
                                  <p:childTnLst>
                                    <p:set>
                                      <p:cBhvr>
                                        <p:cTn id="248" dur="1" fill="hold">
                                          <p:stCondLst>
                                            <p:cond delay="0"/>
                                          </p:stCondLst>
                                        </p:cTn>
                                        <p:tgtEl>
                                          <p:spTgt spid="653"/>
                                        </p:tgtEl>
                                        <p:attrNameLst>
                                          <p:attrName>style.visibility</p:attrName>
                                        </p:attrNameLst>
                                      </p:cBhvr>
                                      <p:to>
                                        <p:strVal val="visible"/>
                                      </p:to>
                                    </p:set>
                                    <p:animEffect transition="in" filter="fade">
                                      <p:cBhvr>
                                        <p:cTn id="249" dur="500"/>
                                        <p:tgtEl>
                                          <p:spTgt spid="653"/>
                                        </p:tgtEl>
                                      </p:cBhvr>
                                    </p:animEffect>
                                  </p:childTnLst>
                                </p:cTn>
                              </p:par>
                              <p:par>
                                <p:cTn id="250" presetID="44" presetClass="path" presetSubtype="0" accel="50000" decel="50000" fill="hold" grpId="0" nodeType="withEffect">
                                  <p:stCondLst>
                                    <p:cond delay="2400"/>
                                  </p:stCondLst>
                                  <p:childTnLst>
                                    <p:animMotion origin="layout" path="M -1.25E-6 -2.59259E-6 C 0.03425 -0.22708 0.13177 -0.37106 0.21068 -0.47222 C 0.33177 -0.6199 0.39662 -0.60393 0.61875 -0.63819 " pathEditMode="relative" rAng="0" ptsTypes="AAA">
                                      <p:cBhvr>
                                        <p:cTn id="251" dur="2000" fill="hold"/>
                                        <p:tgtEl>
                                          <p:spTgt spid="4"/>
                                        </p:tgtEl>
                                        <p:attrNameLst>
                                          <p:attrName>ppt_x</p:attrName>
                                          <p:attrName>ppt_y</p:attrName>
                                        </p:attrNameLst>
                                      </p:cBhvr>
                                      <p:rCtr x="30937" y="-31921"/>
                                    </p:animMotion>
                                  </p:childTnLst>
                                </p:cTn>
                              </p:par>
                              <p:par>
                                <p:cTn id="252" presetID="22" presetClass="exit" presetSubtype="8" fill="hold" nodeType="withEffect">
                                  <p:stCondLst>
                                    <p:cond delay="2400"/>
                                  </p:stCondLst>
                                  <p:childTnLst>
                                    <p:animEffect transition="out" filter="wipe(left)">
                                      <p:cBhvr>
                                        <p:cTn id="253" dur="500"/>
                                        <p:tgtEl>
                                          <p:spTgt spid="744"/>
                                        </p:tgtEl>
                                      </p:cBhvr>
                                    </p:animEffect>
                                    <p:set>
                                      <p:cBhvr>
                                        <p:cTn id="254" dur="1" fill="hold">
                                          <p:stCondLst>
                                            <p:cond delay="499"/>
                                          </p:stCondLst>
                                        </p:cTn>
                                        <p:tgtEl>
                                          <p:spTgt spid="74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9" grpId="0" animBg="1"/>
      <p:bldP spid="4" grpId="0" animBg="1"/>
      <p:bldP spid="27" grpId="0" animBg="1"/>
      <p:bldP spid="712" grpId="0" animBg="1"/>
      <p:bldP spid="713" grpId="0" animBg="1"/>
      <p:bldP spid="717" grpId="0" animBg="1"/>
      <p:bldP spid="718" grpId="0" animBg="1"/>
      <p:bldP spid="5" grpId="0" animBg="1"/>
      <p:bldP spid="5" grpId="1" animBg="1"/>
      <p:bldP spid="730" grpId="0" animBg="1"/>
      <p:bldP spid="730" grpId="1" animBg="1"/>
      <p:bldP spid="754" grpId="0" animBg="1"/>
      <p:bldP spid="754" grpId="1" animBg="1"/>
      <p:bldP spid="756" grpId="0" animBg="1"/>
      <p:bldP spid="756" grpId="1" animBg="1"/>
      <p:bldP spid="757" grpId="0" animBg="1"/>
      <p:bldP spid="757" grpId="1" animBg="1"/>
      <p:bldP spid="316" grpId="0" animBg="1"/>
      <p:bldP spid="317" grpId="0" animBg="1"/>
      <p:bldP spid="319" grpId="0" animBg="1"/>
      <p:bldP spid="319" grpId="1" animBg="1"/>
      <p:bldP spid="322" grpId="0" animBg="1"/>
      <p:bldP spid="322" grpId="1" animBg="1"/>
      <p:bldP spid="324" grpId="0" animBg="1"/>
      <p:bldP spid="324" grpId="1" animBg="1"/>
      <p:bldP spid="328" grpId="0" animBg="1"/>
      <p:bldP spid="329" grpId="0" animBg="1"/>
      <p:bldP spid="747" grpId="0" animBg="1"/>
      <p:bldP spid="748" grpId="0" animBg="1"/>
      <p:bldP spid="731" grpId="0" animBg="1"/>
      <p:bldP spid="732" grpId="0" animBg="1"/>
      <p:bldP spid="733" grpId="0" animBg="1"/>
      <p:bldP spid="740" grpId="0" animBg="1"/>
      <p:bldP spid="740" grpId="1" animBg="1"/>
      <p:bldP spid="741" grpId="0" animBg="1"/>
      <p:bldP spid="741" grpId="1" animBg="1"/>
      <p:bldP spid="331" grpId="0" animBg="1"/>
      <p:bldP spid="333" grpId="0"/>
      <p:bldP spid="1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F922F-E179-4788-B826-4153FBEAC3EA}"/>
              </a:ext>
            </a:extLst>
          </p:cNvPr>
          <p:cNvSpPr>
            <a:spLocks noGrp="1"/>
          </p:cNvSpPr>
          <p:nvPr>
            <p:ph type="title"/>
          </p:nvPr>
        </p:nvSpPr>
        <p:spPr/>
        <p:txBody>
          <a:bodyPr/>
          <a:lstStyle/>
          <a:p>
            <a:r>
              <a:rPr lang="en-US" sz="5650">
                <a:cs typeface="Segoe UI Light"/>
              </a:rPr>
              <a:t>Thank You!</a:t>
            </a:r>
            <a:endParaRPr lang="en-US"/>
          </a:p>
        </p:txBody>
      </p:sp>
      <p:sp>
        <p:nvSpPr>
          <p:cNvPr id="3" name="Content Placeholder 2">
            <a:extLst>
              <a:ext uri="{FF2B5EF4-FFF2-40B4-BE49-F238E27FC236}">
                <a16:creationId xmlns:a16="http://schemas.microsoft.com/office/drawing/2014/main" id="{376F5F18-558B-412C-A4D9-36DCA94A11DA}"/>
              </a:ext>
            </a:extLst>
          </p:cNvPr>
          <p:cNvSpPr>
            <a:spLocks noGrp="1"/>
          </p:cNvSpPr>
          <p:nvPr>
            <p:ph sz="quarter" idx="10"/>
          </p:nvPr>
        </p:nvSpPr>
        <p:spPr>
          <a:xfrm>
            <a:off x="1866077" y="3709190"/>
            <a:ext cx="5378549" cy="661720"/>
          </a:xfrm>
        </p:spPr>
        <p:txBody>
          <a:bodyPr vert="horz" wrap="square" lIns="146304" tIns="91440" rIns="146304" bIns="91440" rtlCol="0" anchor="t">
            <a:spAutoFit/>
          </a:bodyPr>
          <a:lstStyle/>
          <a:p>
            <a:r>
              <a:rPr lang="en-US" sz="1550">
                <a:solidFill>
                  <a:schemeClr val="tx1"/>
                </a:solidFill>
                <a:cs typeface="Segoe UI"/>
              </a:rPr>
              <a:t>Please fill out survey</a:t>
            </a:r>
          </a:p>
          <a:p>
            <a:endParaRPr lang="en-US" sz="1550">
              <a:cs typeface="Segoe UI"/>
            </a:endParaRPr>
          </a:p>
        </p:txBody>
      </p:sp>
      <p:pic>
        <p:nvPicPr>
          <p:cNvPr id="4" name="Picture 3" descr="A picture containing indoor, black, crossword puzzle, piece&#10;&#10;Description generated with high confidence">
            <a:extLst>
              <a:ext uri="{FF2B5EF4-FFF2-40B4-BE49-F238E27FC236}">
                <a16:creationId xmlns:a16="http://schemas.microsoft.com/office/drawing/2014/main" id="{B8A271F6-B212-4765-9BA1-F77ADBFC1836}"/>
              </a:ext>
            </a:extLst>
          </p:cNvPr>
          <p:cNvPicPr>
            <a:picLocks noChangeAspect="1"/>
          </p:cNvPicPr>
          <p:nvPr/>
        </p:nvPicPr>
        <p:blipFill>
          <a:blip r:embed="rId2"/>
          <a:stretch>
            <a:fillRect/>
          </a:stretch>
        </p:blipFill>
        <p:spPr>
          <a:xfrm>
            <a:off x="5015753" y="3312459"/>
            <a:ext cx="1454524" cy="1454524"/>
          </a:xfrm>
          <a:prstGeom prst="rect">
            <a:avLst/>
          </a:prstGeom>
        </p:spPr>
      </p:pic>
      <p:sp>
        <p:nvSpPr>
          <p:cNvPr id="5" name="TextBox 2">
            <a:extLst>
              <a:ext uri="{FF2B5EF4-FFF2-40B4-BE49-F238E27FC236}">
                <a16:creationId xmlns:a16="http://schemas.microsoft.com/office/drawing/2014/main" id="{6549DFAF-56A0-4A90-9A04-DF1D9EE10E7C}"/>
              </a:ext>
            </a:extLst>
          </p:cNvPr>
          <p:cNvSpPr txBox="1"/>
          <p:nvPr/>
        </p:nvSpPr>
        <p:spPr>
          <a:xfrm>
            <a:off x="3183591" y="4517090"/>
            <a:ext cx="2743200" cy="30777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endParaRPr lang="en-US" sz="2000">
              <a:cs typeface="Segoe UI"/>
            </a:endParaRPr>
          </a:p>
        </p:txBody>
      </p:sp>
    </p:spTree>
    <p:extLst>
      <p:ext uri="{BB962C8B-B14F-4D97-AF65-F5344CB8AC3E}">
        <p14:creationId xmlns:p14="http://schemas.microsoft.com/office/powerpoint/2010/main" val="273670742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4EA946D-B3E1-40F3-B616-42A1C23B39CB}"/>
              </a:ext>
            </a:extLst>
          </p:cNvPr>
          <p:cNvGrpSpPr/>
          <p:nvPr/>
        </p:nvGrpSpPr>
        <p:grpSpPr>
          <a:xfrm>
            <a:off x="2281990" y="2407270"/>
            <a:ext cx="164160" cy="1583283"/>
            <a:chOff x="2124673" y="2295425"/>
            <a:chExt cx="164160" cy="1583283"/>
          </a:xfrm>
        </p:grpSpPr>
        <p:sp>
          <p:nvSpPr>
            <p:cNvPr id="11" name="Right Triangle 10">
              <a:extLst>
                <a:ext uri="{FF2B5EF4-FFF2-40B4-BE49-F238E27FC236}">
                  <a16:creationId xmlns:a16="http://schemas.microsoft.com/office/drawing/2014/main" id="{B9C8B9DF-C65D-4757-A414-794B276B205A}"/>
                </a:ext>
              </a:extLst>
            </p:cNvPr>
            <p:cNvSpPr/>
            <p:nvPr/>
          </p:nvSpPr>
          <p:spPr bwMode="auto">
            <a:xfrm>
              <a:off x="2124673" y="2295425"/>
              <a:ext cx="164160" cy="282770"/>
            </a:xfrm>
            <a:prstGeom prst="r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ight Triangle 80">
              <a:extLst>
                <a:ext uri="{FF2B5EF4-FFF2-40B4-BE49-F238E27FC236}">
                  <a16:creationId xmlns:a16="http://schemas.microsoft.com/office/drawing/2014/main" id="{E27881E4-1BE8-492D-A3E7-31726BB6A598}"/>
                </a:ext>
              </a:extLst>
            </p:cNvPr>
            <p:cNvSpPr/>
            <p:nvPr/>
          </p:nvSpPr>
          <p:spPr bwMode="auto">
            <a:xfrm flipV="1">
              <a:off x="2124673" y="3626635"/>
              <a:ext cx="164160" cy="252073"/>
            </a:xfrm>
            <a:prstGeom prst="r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Rectangle: Rounded Corners 7">
            <a:extLst>
              <a:ext uri="{FF2B5EF4-FFF2-40B4-BE49-F238E27FC236}">
                <a16:creationId xmlns:a16="http://schemas.microsoft.com/office/drawing/2014/main" id="{48982F3B-5D93-4F8E-A749-EE386B5A8639}"/>
              </a:ext>
            </a:extLst>
          </p:cNvPr>
          <p:cNvSpPr/>
          <p:nvPr/>
        </p:nvSpPr>
        <p:spPr bwMode="auto">
          <a:xfrm>
            <a:off x="-1517649" y="2627139"/>
            <a:ext cx="13415962" cy="1176186"/>
          </a:xfrm>
          <a:prstGeom prst="roundRect">
            <a:avLst>
              <a:gd name="adj" fmla="val 50000"/>
            </a:avLst>
          </a:prstGeom>
          <a:solidFill>
            <a:schemeClr val="bg1"/>
          </a:solidFill>
          <a:ln w="25400" cap="flat" cmpd="sng" algn="ctr">
            <a:gradFill flip="none" rotWithShape="1">
              <a:gsLst>
                <a:gs pos="18000">
                  <a:schemeClr val="accent1">
                    <a:lumMod val="5000"/>
                    <a:lumOff val="95000"/>
                  </a:schemeClr>
                </a:gs>
                <a:gs pos="69000">
                  <a:schemeClr val="accent1">
                    <a:lumMod val="45000"/>
                    <a:lumOff val="55000"/>
                  </a:schemeClr>
                </a:gs>
                <a:gs pos="100000">
                  <a:schemeClr val="accent1"/>
                </a:gs>
              </a:gsLst>
              <a:lin ang="0" scaled="1"/>
              <a:tileRect/>
            </a:gradFill>
            <a:prstDash val="solid"/>
          </a:ln>
          <a:effectLst>
            <a:outerShdw blurRad="114300" dist="25400" dir="2700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5" name="Title 24">
            <a:extLst>
              <a:ext uri="{FF2B5EF4-FFF2-40B4-BE49-F238E27FC236}">
                <a16:creationId xmlns:a16="http://schemas.microsoft.com/office/drawing/2014/main" id="{09E95076-250C-46F9-A58A-A8139A9C7757}"/>
              </a:ext>
            </a:extLst>
          </p:cNvPr>
          <p:cNvSpPr>
            <a:spLocks noGrp="1"/>
          </p:cNvSpPr>
          <p:nvPr>
            <p:ph type="title"/>
          </p:nvPr>
        </p:nvSpPr>
        <p:spPr>
          <a:xfrm>
            <a:off x="588263" y="880012"/>
            <a:ext cx="11018520" cy="553998"/>
          </a:xfrm>
        </p:spPr>
        <p:txBody>
          <a:bodyPr/>
          <a:lstStyle/>
          <a:p>
            <a:pPr algn="ctr">
              <a:spcBef>
                <a:spcPts val="0"/>
              </a:spcBef>
              <a:spcAft>
                <a:spcPts val="1200"/>
              </a:spcAft>
              <a:buSzPct val="90000"/>
              <a:defRPr/>
            </a:pPr>
            <a:r>
              <a:rPr lang="en-US">
                <a:solidFill>
                  <a:srgbClr val="000000"/>
                </a:solidFill>
                <a:latin typeface="Segoe UI Light" panose="020B0502040204020203" pitchFamily="34" charset="0"/>
                <a:cs typeface="Segoe UI Light" panose="020B0502040204020203" pitchFamily="34" charset="0"/>
              </a:rPr>
              <a:t>The </a:t>
            </a:r>
            <a:r>
              <a:rPr lang="en-US">
                <a:solidFill>
                  <a:srgbClr val="0078D4"/>
                </a:solidFill>
                <a:latin typeface="Selawik Semibold" panose="020B0702040204020203" pitchFamily="34" charset="0"/>
                <a:cs typeface="Segoe UI Light" panose="020B0502040204020203" pitchFamily="34" charset="0"/>
              </a:rPr>
              <a:t>journey</a:t>
            </a:r>
            <a:r>
              <a:rPr lang="en-US">
                <a:solidFill>
                  <a:srgbClr val="000000"/>
                </a:solidFill>
                <a:latin typeface="Segoe UI Light" panose="020B0502040204020203" pitchFamily="34" charset="0"/>
                <a:cs typeface="Segoe UI Light" panose="020B0502040204020203" pitchFamily="34" charset="0"/>
              </a:rPr>
              <a:t> to the cloud</a:t>
            </a:r>
          </a:p>
        </p:txBody>
      </p:sp>
      <p:grpSp>
        <p:nvGrpSpPr>
          <p:cNvPr id="17" name="Group 16">
            <a:extLst>
              <a:ext uri="{FF2B5EF4-FFF2-40B4-BE49-F238E27FC236}">
                <a16:creationId xmlns:a16="http://schemas.microsoft.com/office/drawing/2014/main" id="{27CEA3B7-8012-48ED-BB20-E203E895A1C1}"/>
              </a:ext>
            </a:extLst>
          </p:cNvPr>
          <p:cNvGrpSpPr/>
          <p:nvPr/>
        </p:nvGrpSpPr>
        <p:grpSpPr>
          <a:xfrm>
            <a:off x="2812025" y="2847847"/>
            <a:ext cx="8430223" cy="773910"/>
            <a:chOff x="2884163" y="2736002"/>
            <a:chExt cx="8193151" cy="773910"/>
          </a:xfrm>
        </p:grpSpPr>
        <p:sp>
          <p:nvSpPr>
            <p:cNvPr id="118" name="TextBox 117">
              <a:extLst>
                <a:ext uri="{FF2B5EF4-FFF2-40B4-BE49-F238E27FC236}">
                  <a16:creationId xmlns:a16="http://schemas.microsoft.com/office/drawing/2014/main" id="{C1D12F56-990C-4992-938C-17ABBAFA08F3}"/>
                </a:ext>
              </a:extLst>
            </p:cNvPr>
            <p:cNvSpPr txBox="1"/>
            <p:nvPr/>
          </p:nvSpPr>
          <p:spPr>
            <a:xfrm>
              <a:off x="10365031" y="2736002"/>
              <a:ext cx="712283" cy="369332"/>
            </a:xfrm>
            <a:prstGeom prst="rect">
              <a:avLst/>
            </a:prstGeom>
          </p:spPr>
          <p:txBody>
            <a:bodyPr wrap="none" anchor="ctr">
              <a:spAutoFit/>
            </a:bodyPr>
            <a:lstStyle>
              <a:defPPr>
                <a:defRPr lang="en-US"/>
              </a:defPPr>
              <a:lvl1pPr lvl="0" algn="ctr" defTabSz="914102">
                <a:lnSpc>
                  <a:spcPct val="90000"/>
                </a:lnSpc>
                <a:defRPr sz="1800" b="1">
                  <a:gradFill>
                    <a:gsLst>
                      <a:gs pos="0">
                        <a:srgbClr val="0078D4"/>
                      </a:gs>
                      <a:gs pos="100000">
                        <a:srgbClr val="0078D4"/>
                      </a:gs>
                    </a:gsLst>
                    <a:lin ang="5400000" scaled="1"/>
                  </a:gradFill>
                  <a:ea typeface="Segoe UI" pitchFamily="34" charset="0"/>
                  <a:cs typeface="Segoe UI Semibold" panose="020B0702040204020203" pitchFamily="34" charset="0"/>
                </a:defRPr>
              </a:lvl1p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cs typeface="Segoe UI Semibold" panose="020B0702040204020203" pitchFamily="34" charset="0"/>
                </a:rPr>
                <a:t>SaaS</a:t>
              </a:r>
            </a:p>
          </p:txBody>
        </p:sp>
        <p:sp>
          <p:nvSpPr>
            <p:cNvPr id="100" name="TextBox 99">
              <a:extLst>
                <a:ext uri="{FF2B5EF4-FFF2-40B4-BE49-F238E27FC236}">
                  <a16:creationId xmlns:a16="http://schemas.microsoft.com/office/drawing/2014/main" id="{176EC09B-A59B-4158-B447-8BE0565E06C7}"/>
                </a:ext>
              </a:extLst>
            </p:cNvPr>
            <p:cNvSpPr txBox="1"/>
            <p:nvPr/>
          </p:nvSpPr>
          <p:spPr>
            <a:xfrm>
              <a:off x="7724876" y="2736002"/>
              <a:ext cx="1730293" cy="369332"/>
            </a:xfrm>
            <a:prstGeom prst="rect">
              <a:avLst/>
            </a:prstGeom>
          </p:spPr>
          <p:txBody>
            <a:bodyPr wrap="none" anchor="ctr">
              <a:spAutoFit/>
            </a:bodyPr>
            <a:lstStyle>
              <a:defPPr>
                <a:defRPr lang="en-US"/>
              </a:defPPr>
              <a:lvl1pPr lvl="0" algn="ctr" defTabSz="914102">
                <a:lnSpc>
                  <a:spcPct val="90000"/>
                </a:lnSpc>
                <a:defRPr sz="1800" b="1">
                  <a:gradFill>
                    <a:gsLst>
                      <a:gs pos="0">
                        <a:srgbClr val="0078D4"/>
                      </a:gs>
                      <a:gs pos="100000">
                        <a:srgbClr val="0078D4"/>
                      </a:gs>
                    </a:gsLst>
                    <a:lin ang="5400000" scaled="1"/>
                  </a:gradFill>
                  <a:ea typeface="Segoe UI" pitchFamily="34" charset="0"/>
                  <a:cs typeface="Segoe UI Semibold" panose="020B0702040204020203" pitchFamily="34" charset="0"/>
                </a:defRPr>
              </a:lvl1p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cs typeface="Segoe UI Semibold" panose="020B0702040204020203" pitchFamily="34" charset="0"/>
                </a:rPr>
                <a:t>Cloud-Native</a:t>
              </a:r>
            </a:p>
          </p:txBody>
        </p:sp>
        <p:sp>
          <p:nvSpPr>
            <p:cNvPr id="177" name="TextBox 176">
              <a:extLst>
                <a:ext uri="{FF2B5EF4-FFF2-40B4-BE49-F238E27FC236}">
                  <a16:creationId xmlns:a16="http://schemas.microsoft.com/office/drawing/2014/main" id="{DFEA74E7-0229-43EE-9DD5-076173DF2C4C}"/>
                </a:ext>
              </a:extLst>
            </p:cNvPr>
            <p:cNvSpPr txBox="1"/>
            <p:nvPr/>
          </p:nvSpPr>
          <p:spPr>
            <a:xfrm>
              <a:off x="2884163" y="3159047"/>
              <a:ext cx="531132"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Rehost</a:t>
              </a:r>
            </a:p>
          </p:txBody>
        </p:sp>
        <p:sp>
          <p:nvSpPr>
            <p:cNvPr id="178" name="TextBox 177">
              <a:extLst>
                <a:ext uri="{FF2B5EF4-FFF2-40B4-BE49-F238E27FC236}">
                  <a16:creationId xmlns:a16="http://schemas.microsoft.com/office/drawing/2014/main" id="{EF3BBB21-4E00-4448-96BE-0ABCA3D9CBB3}"/>
                </a:ext>
              </a:extLst>
            </p:cNvPr>
            <p:cNvSpPr txBox="1"/>
            <p:nvPr/>
          </p:nvSpPr>
          <p:spPr>
            <a:xfrm>
              <a:off x="4311651" y="3159047"/>
              <a:ext cx="679790"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Refactor</a:t>
              </a:r>
            </a:p>
          </p:txBody>
        </p:sp>
        <p:sp>
          <p:nvSpPr>
            <p:cNvPr id="179" name="TextBox 178">
              <a:extLst>
                <a:ext uri="{FF2B5EF4-FFF2-40B4-BE49-F238E27FC236}">
                  <a16:creationId xmlns:a16="http://schemas.microsoft.com/office/drawing/2014/main" id="{90E03013-9CD1-42B8-90FB-D8D6FF557E88}"/>
                </a:ext>
              </a:extLst>
            </p:cNvPr>
            <p:cNvSpPr txBox="1"/>
            <p:nvPr/>
          </p:nvSpPr>
          <p:spPr>
            <a:xfrm>
              <a:off x="5921376" y="3159047"/>
              <a:ext cx="774458"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Rearchitect</a:t>
              </a:r>
            </a:p>
          </p:txBody>
        </p:sp>
        <p:sp>
          <p:nvSpPr>
            <p:cNvPr id="180" name="TextBox 179">
              <a:extLst>
                <a:ext uri="{FF2B5EF4-FFF2-40B4-BE49-F238E27FC236}">
                  <a16:creationId xmlns:a16="http://schemas.microsoft.com/office/drawing/2014/main" id="{B4F61A5A-7267-4853-A632-58BBF684A79B}"/>
                </a:ext>
              </a:extLst>
            </p:cNvPr>
            <p:cNvSpPr txBox="1"/>
            <p:nvPr/>
          </p:nvSpPr>
          <p:spPr>
            <a:xfrm>
              <a:off x="8076746" y="3159047"/>
              <a:ext cx="1024592"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Rebuild/New</a:t>
              </a:r>
            </a:p>
          </p:txBody>
        </p:sp>
        <p:sp>
          <p:nvSpPr>
            <p:cNvPr id="181" name="TextBox 180">
              <a:extLst>
                <a:ext uri="{FF2B5EF4-FFF2-40B4-BE49-F238E27FC236}">
                  <a16:creationId xmlns:a16="http://schemas.microsoft.com/office/drawing/2014/main" id="{C0A63F7A-0B68-47F6-AFEB-4C93F41D8EB9}"/>
                </a:ext>
              </a:extLst>
            </p:cNvPr>
            <p:cNvSpPr txBox="1"/>
            <p:nvPr/>
          </p:nvSpPr>
          <p:spPr>
            <a:xfrm>
              <a:off x="10452587" y="3159047"/>
              <a:ext cx="537172"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Replace</a:t>
              </a:r>
            </a:p>
          </p:txBody>
        </p:sp>
        <p:sp>
          <p:nvSpPr>
            <p:cNvPr id="6" name="Rectangle 5">
              <a:extLst>
                <a:ext uri="{FF2B5EF4-FFF2-40B4-BE49-F238E27FC236}">
                  <a16:creationId xmlns:a16="http://schemas.microsoft.com/office/drawing/2014/main" id="{7FF5961C-F168-4DAC-9FEB-60631A01A955}"/>
                </a:ext>
              </a:extLst>
            </p:cNvPr>
            <p:cNvSpPr/>
            <p:nvPr/>
          </p:nvSpPr>
          <p:spPr>
            <a:xfrm>
              <a:off x="3148221" y="2736002"/>
              <a:ext cx="3273510" cy="369332"/>
            </a:xfrm>
            <a:prstGeom prst="rect">
              <a:avLst/>
            </a:prstGeom>
          </p:spPr>
          <p:txBody>
            <a:bodyPr wrap="none" anchor="ctr">
              <a:sp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Segoe UI" pitchFamily="34" charset="0"/>
                  <a:cs typeface="Segoe UI Semibold" panose="020B0702040204020203" pitchFamily="34" charset="0"/>
                </a:rPr>
                <a:t>Migration &amp; Modernization</a:t>
              </a:r>
            </a:p>
          </p:txBody>
        </p:sp>
      </p:grpSp>
      <p:sp>
        <p:nvSpPr>
          <p:cNvPr id="2" name="TextBox 1">
            <a:extLst>
              <a:ext uri="{FF2B5EF4-FFF2-40B4-BE49-F238E27FC236}">
                <a16:creationId xmlns:a16="http://schemas.microsoft.com/office/drawing/2014/main" id="{6C50FC92-66F0-4F03-A8EE-D0FEC745C7D9}"/>
              </a:ext>
            </a:extLst>
          </p:cNvPr>
          <p:cNvSpPr txBox="1"/>
          <p:nvPr/>
        </p:nvSpPr>
        <p:spPr>
          <a:xfrm rot="16200000">
            <a:off x="-220948" y="3119151"/>
            <a:ext cx="1516924" cy="215444"/>
          </a:xfrm>
          <a:prstGeom prst="rect">
            <a:avLst/>
          </a:prstGeom>
          <a:noFill/>
        </p:spPr>
        <p:txBody>
          <a:bodyPr wrap="square" lIns="0" tIns="0" rIns="0" bIns="0" rtlCol="0">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On-premises</a:t>
            </a:r>
          </a:p>
        </p:txBody>
      </p:sp>
      <p:sp>
        <p:nvSpPr>
          <p:cNvPr id="10" name="Rectangle 9">
            <a:extLst>
              <a:ext uri="{FF2B5EF4-FFF2-40B4-BE49-F238E27FC236}">
                <a16:creationId xmlns:a16="http://schemas.microsoft.com/office/drawing/2014/main" id="{58D4F224-9024-4D94-93EF-2BC27D00A23E}"/>
              </a:ext>
            </a:extLst>
          </p:cNvPr>
          <p:cNvSpPr/>
          <p:nvPr/>
        </p:nvSpPr>
        <p:spPr bwMode="auto">
          <a:xfrm>
            <a:off x="745580" y="2405540"/>
            <a:ext cx="1534901" cy="1585014"/>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78D4"/>
              </a:solidFill>
              <a:effectLst/>
              <a:uLnTx/>
              <a:uFillTx/>
              <a:latin typeface="Segoe UI Semilight"/>
              <a:ea typeface="+mn-ea"/>
              <a:cs typeface="+mn-cs"/>
            </a:endParaRPr>
          </a:p>
        </p:txBody>
      </p:sp>
      <p:grpSp>
        <p:nvGrpSpPr>
          <p:cNvPr id="5" name="Group 4">
            <a:extLst>
              <a:ext uri="{FF2B5EF4-FFF2-40B4-BE49-F238E27FC236}">
                <a16:creationId xmlns:a16="http://schemas.microsoft.com/office/drawing/2014/main" id="{15E0DF97-2E2B-46C2-ADEA-254369DAA4F3}"/>
              </a:ext>
            </a:extLst>
          </p:cNvPr>
          <p:cNvGrpSpPr/>
          <p:nvPr/>
        </p:nvGrpSpPr>
        <p:grpSpPr>
          <a:xfrm>
            <a:off x="699199" y="2492277"/>
            <a:ext cx="1620644" cy="1357091"/>
            <a:chOff x="541882" y="2380432"/>
            <a:chExt cx="1620644" cy="1357091"/>
          </a:xfrm>
        </p:grpSpPr>
        <p:sp>
          <p:nvSpPr>
            <p:cNvPr id="3" name="TextBox 2">
              <a:extLst>
                <a:ext uri="{FF2B5EF4-FFF2-40B4-BE49-F238E27FC236}">
                  <a16:creationId xmlns:a16="http://schemas.microsoft.com/office/drawing/2014/main" id="{BE306228-E498-41FA-95EB-559106B49B88}"/>
                </a:ext>
              </a:extLst>
            </p:cNvPr>
            <p:cNvSpPr txBox="1"/>
            <p:nvPr/>
          </p:nvSpPr>
          <p:spPr>
            <a:xfrm>
              <a:off x="988220" y="2380432"/>
              <a:ext cx="727966" cy="369332"/>
            </a:xfrm>
            <a:prstGeom prst="rect">
              <a:avLst/>
            </a:prstGeom>
            <a:noFill/>
            <a:ln>
              <a:noFill/>
            </a:ln>
          </p:spPr>
          <p:txBody>
            <a:bodyPr wrap="square" lIns="91440" tIns="91440" rIns="91440" bIns="9144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Apps</a:t>
              </a:r>
            </a:p>
          </p:txBody>
        </p:sp>
        <p:sp>
          <p:nvSpPr>
            <p:cNvPr id="77" name="TextBox 76">
              <a:extLst>
                <a:ext uri="{FF2B5EF4-FFF2-40B4-BE49-F238E27FC236}">
                  <a16:creationId xmlns:a16="http://schemas.microsoft.com/office/drawing/2014/main" id="{AE8CB59C-F562-4474-849B-27714F552348}"/>
                </a:ext>
              </a:extLst>
            </p:cNvPr>
            <p:cNvSpPr txBox="1"/>
            <p:nvPr/>
          </p:nvSpPr>
          <p:spPr>
            <a:xfrm>
              <a:off x="637553" y="2814551"/>
              <a:ext cx="1434353" cy="553998"/>
            </a:xfrm>
            <a:prstGeom prst="rect">
              <a:avLst/>
            </a:prstGeom>
            <a:noFill/>
            <a:ln>
              <a:noFill/>
            </a:ln>
          </p:spPr>
          <p:txBody>
            <a:bodyPr wrap="square" lIns="91440" tIns="91440" rIns="91440" bIns="9144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Data &amp; Intelligence </a:t>
              </a:r>
            </a:p>
          </p:txBody>
        </p:sp>
        <p:sp>
          <p:nvSpPr>
            <p:cNvPr id="78" name="TextBox 77">
              <a:extLst>
                <a:ext uri="{FF2B5EF4-FFF2-40B4-BE49-F238E27FC236}">
                  <a16:creationId xmlns:a16="http://schemas.microsoft.com/office/drawing/2014/main" id="{A0B55609-0284-44B9-8597-287564180F92}"/>
                </a:ext>
              </a:extLst>
            </p:cNvPr>
            <p:cNvSpPr txBox="1"/>
            <p:nvPr/>
          </p:nvSpPr>
          <p:spPr>
            <a:xfrm>
              <a:off x="541882" y="3368191"/>
              <a:ext cx="1620644" cy="369332"/>
            </a:xfrm>
            <a:prstGeom prst="rect">
              <a:avLst/>
            </a:prstGeom>
            <a:noFill/>
            <a:ln>
              <a:noFill/>
            </a:ln>
          </p:spPr>
          <p:txBody>
            <a:bodyPr wrap="square" lIns="91440" tIns="91440" rIns="91440" bIns="9144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Infrastructure</a:t>
              </a:r>
            </a:p>
          </p:txBody>
        </p:sp>
        <p:sp>
          <p:nvSpPr>
            <p:cNvPr id="13" name="Freeform: Shape 12">
              <a:extLst>
                <a:ext uri="{FF2B5EF4-FFF2-40B4-BE49-F238E27FC236}">
                  <a16:creationId xmlns:a16="http://schemas.microsoft.com/office/drawing/2014/main" id="{D75E9328-27EE-4564-B1CC-9C4F820A9176}"/>
                </a:ext>
              </a:extLst>
            </p:cNvPr>
            <p:cNvSpPr/>
            <p:nvPr/>
          </p:nvSpPr>
          <p:spPr bwMode="auto">
            <a:xfrm>
              <a:off x="898513" y="3366574"/>
              <a:ext cx="914400" cy="0"/>
            </a:xfrm>
            <a:custGeom>
              <a:avLst/>
              <a:gdLst>
                <a:gd name="connsiteX0" fmla="*/ 0 w 1104900"/>
                <a:gd name="connsiteY0" fmla="*/ 0 h 0"/>
                <a:gd name="connsiteX1" fmla="*/ 1104900 w 1104900"/>
                <a:gd name="connsiteY1" fmla="*/ 0 h 0"/>
              </a:gdLst>
              <a:ahLst/>
              <a:cxnLst>
                <a:cxn ang="0">
                  <a:pos x="connsiteX0" y="connsiteY0"/>
                </a:cxn>
                <a:cxn ang="0">
                  <a:pos x="connsiteX1" y="connsiteY1"/>
                </a:cxn>
              </a:cxnLst>
              <a:rect l="l" t="t" r="r" b="b"/>
              <a:pathLst>
                <a:path w="1104900">
                  <a:moveTo>
                    <a:pt x="0" y="0"/>
                  </a:moveTo>
                  <a:lnTo>
                    <a:pt x="1104900" y="0"/>
                  </a:lnTo>
                </a:path>
              </a:pathLst>
            </a:custGeom>
            <a:noFill/>
            <a:ln w="158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A9AB19F1-F4C4-43A6-90E6-B9FEA5150AF6}"/>
                </a:ext>
              </a:extLst>
            </p:cNvPr>
            <p:cNvSpPr/>
            <p:nvPr/>
          </p:nvSpPr>
          <p:spPr bwMode="auto">
            <a:xfrm>
              <a:off x="898513" y="2806958"/>
              <a:ext cx="914400" cy="0"/>
            </a:xfrm>
            <a:custGeom>
              <a:avLst/>
              <a:gdLst>
                <a:gd name="connsiteX0" fmla="*/ 0 w 1104900"/>
                <a:gd name="connsiteY0" fmla="*/ 0 h 0"/>
                <a:gd name="connsiteX1" fmla="*/ 1104900 w 1104900"/>
                <a:gd name="connsiteY1" fmla="*/ 0 h 0"/>
              </a:gdLst>
              <a:ahLst/>
              <a:cxnLst>
                <a:cxn ang="0">
                  <a:pos x="connsiteX0" y="connsiteY0"/>
                </a:cxn>
                <a:cxn ang="0">
                  <a:pos x="connsiteX1" y="connsiteY1"/>
                </a:cxn>
              </a:cxnLst>
              <a:rect l="l" t="t" r="r" b="b"/>
              <a:pathLst>
                <a:path w="1104900">
                  <a:moveTo>
                    <a:pt x="0" y="0"/>
                  </a:moveTo>
                  <a:lnTo>
                    <a:pt x="1104900" y="0"/>
                  </a:lnTo>
                </a:path>
              </a:pathLst>
            </a:custGeom>
            <a:noFill/>
            <a:ln w="158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 name="Group 15">
            <a:extLst>
              <a:ext uri="{FF2B5EF4-FFF2-40B4-BE49-F238E27FC236}">
                <a16:creationId xmlns:a16="http://schemas.microsoft.com/office/drawing/2014/main" id="{5F185711-A6B2-445C-B549-AF96E2B7335A}"/>
              </a:ext>
            </a:extLst>
          </p:cNvPr>
          <p:cNvGrpSpPr/>
          <p:nvPr/>
        </p:nvGrpSpPr>
        <p:grpSpPr>
          <a:xfrm>
            <a:off x="2639305" y="4185400"/>
            <a:ext cx="7579326" cy="745589"/>
            <a:chOff x="3278836" y="5230701"/>
            <a:chExt cx="7579326" cy="745589"/>
          </a:xfrm>
        </p:grpSpPr>
        <p:grpSp>
          <p:nvGrpSpPr>
            <p:cNvPr id="33" name="Group 32">
              <a:extLst>
                <a:ext uri="{FF2B5EF4-FFF2-40B4-BE49-F238E27FC236}">
                  <a16:creationId xmlns:a16="http://schemas.microsoft.com/office/drawing/2014/main" id="{AAC71378-83DA-4037-B545-D83DD6EB239B}"/>
                </a:ext>
              </a:extLst>
            </p:cNvPr>
            <p:cNvGrpSpPr/>
            <p:nvPr/>
          </p:nvGrpSpPr>
          <p:grpSpPr>
            <a:xfrm>
              <a:off x="3278836" y="5230701"/>
              <a:ext cx="7579326" cy="435846"/>
              <a:chOff x="3062660" y="4769433"/>
              <a:chExt cx="7579326" cy="435846"/>
            </a:xfrm>
          </p:grpSpPr>
          <p:sp>
            <p:nvSpPr>
              <p:cNvPr id="86" name="Left Bracket 85">
                <a:extLst>
                  <a:ext uri="{FF2B5EF4-FFF2-40B4-BE49-F238E27FC236}">
                    <a16:creationId xmlns:a16="http://schemas.microsoft.com/office/drawing/2014/main" id="{0844A2EC-8ED4-4213-900E-3C89D2AFDAD6}"/>
                  </a:ext>
                </a:extLst>
              </p:cNvPr>
              <p:cNvSpPr/>
              <p:nvPr/>
            </p:nvSpPr>
            <p:spPr>
              <a:xfrm rot="16200000">
                <a:off x="6731232" y="1100861"/>
                <a:ext cx="242182" cy="7579326"/>
              </a:xfrm>
              <a:prstGeom prst="leftBracket">
                <a:avLst>
                  <a:gd name="adj" fmla="val 2963"/>
                </a:avLst>
              </a:prstGeom>
              <a:ln w="15875">
                <a:solidFill>
                  <a:schemeClr val="tx1">
                    <a:lumMod val="90000"/>
                    <a:lumOff val="1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5" name="TextBox 84">
                <a:extLst>
                  <a:ext uri="{FF2B5EF4-FFF2-40B4-BE49-F238E27FC236}">
                    <a16:creationId xmlns:a16="http://schemas.microsoft.com/office/drawing/2014/main" id="{6169536A-15C6-4408-89CD-6A15741DEF6A}"/>
                  </a:ext>
                </a:extLst>
              </p:cNvPr>
              <p:cNvSpPr txBox="1"/>
              <p:nvPr/>
            </p:nvSpPr>
            <p:spPr>
              <a:xfrm>
                <a:off x="6324528" y="4774392"/>
                <a:ext cx="1055591" cy="430887"/>
              </a:xfrm>
              <a:prstGeom prst="rect">
                <a:avLst/>
              </a:prstGeom>
              <a:solidFill>
                <a:schemeClr val="bg1"/>
              </a:solidFill>
              <a:ln>
                <a:noFill/>
              </a:ln>
            </p:spPr>
            <p:txBody>
              <a:bodyPr wrap="square" lIns="91440" tIns="91440" rIns="91440" bIns="91440"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mn-ea"/>
                    <a:cs typeface="+mn-cs"/>
                  </a:rPr>
                  <a:t>DevOps</a:t>
                </a:r>
                <a:endParaRPr kumimoji="0" lang="en-US" sz="1400" b="0" i="0" u="none" strike="noStrike" kern="0" cap="none" spc="0" normalizeH="0" baseline="0" noProof="0">
                  <a:ln>
                    <a:noFill/>
                  </a:ln>
                  <a:solidFill>
                    <a:srgbClr val="0078D4"/>
                  </a:solidFill>
                  <a:effectLst/>
                  <a:uLnTx/>
                  <a:uFillTx/>
                  <a:latin typeface="Segoe UI Semibold"/>
                  <a:ea typeface="+mn-ea"/>
                  <a:cs typeface="+mn-cs"/>
                </a:endParaRPr>
              </a:p>
            </p:txBody>
          </p:sp>
        </p:grpSp>
        <p:sp>
          <p:nvSpPr>
            <p:cNvPr id="76" name="TextBox 75">
              <a:extLst>
                <a:ext uri="{FF2B5EF4-FFF2-40B4-BE49-F238E27FC236}">
                  <a16:creationId xmlns:a16="http://schemas.microsoft.com/office/drawing/2014/main" id="{7FD1A937-F4CD-497D-A18C-FD0B2D58ED96}"/>
                </a:ext>
              </a:extLst>
            </p:cNvPr>
            <p:cNvSpPr txBox="1"/>
            <p:nvPr/>
          </p:nvSpPr>
          <p:spPr>
            <a:xfrm>
              <a:off x="4978692" y="5576180"/>
              <a:ext cx="4179614" cy="400110"/>
            </a:xfrm>
            <a:prstGeom prst="rect">
              <a:avLst/>
            </a:prstGeom>
            <a:noFill/>
            <a:ln>
              <a:noFill/>
            </a:ln>
          </p:spPr>
          <p:txBody>
            <a:bodyPr wrap="square" lIns="91440" tIns="91440" rIns="91440" bIns="91440"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Deliver faster and more reliably</a:t>
              </a: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spTree>
    <p:extLst>
      <p:ext uri="{BB962C8B-B14F-4D97-AF65-F5344CB8AC3E}">
        <p14:creationId xmlns:p14="http://schemas.microsoft.com/office/powerpoint/2010/main" val="831026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42" presetClass="path" presetSubtype="0" decel="100000" fill="hold" grpId="1" nodeType="withEffect">
                                  <p:stCondLst>
                                    <p:cond delay="0"/>
                                  </p:stCondLst>
                                  <p:childTnLst>
                                    <p:animMotion origin="layout" path="M -1.21011E-6 2.17885E-7 L -1.21011E-6 0.04358 " pathEditMode="relative" rAng="0" ptsTypes="AA">
                                      <p:cBhvr>
                                        <p:cTn id="9" dur="500" spd="-100000" fill="hold"/>
                                        <p:tgtEl>
                                          <p:spTgt spid="25"/>
                                        </p:tgtEl>
                                        <p:attrNameLst>
                                          <p:attrName>ppt_x</p:attrName>
                                          <p:attrName>ppt_y</p:attrName>
                                        </p:attrNameLst>
                                      </p:cBhvr>
                                      <p:rCtr x="0" y="2179"/>
                                    </p:animMotion>
                                  </p:childTnLst>
                                </p:cTn>
                              </p:par>
                            </p:childTnLst>
                          </p:cTn>
                        </p:par>
                        <p:par>
                          <p:cTn id="10" fill="hold">
                            <p:stCondLst>
                              <p:cond delay="500"/>
                            </p:stCondLst>
                            <p:childTnLst>
                              <p:par>
                                <p:cTn id="11" presetID="2" presetClass="entr" presetSubtype="8" decel="10000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700" fill="hold"/>
                                        <p:tgtEl>
                                          <p:spTgt spid="8"/>
                                        </p:tgtEl>
                                        <p:attrNameLst>
                                          <p:attrName>ppt_x</p:attrName>
                                        </p:attrNameLst>
                                      </p:cBhvr>
                                      <p:tavLst>
                                        <p:tav tm="0">
                                          <p:val>
                                            <p:strVal val="0-#ppt_w/2"/>
                                          </p:val>
                                        </p:tav>
                                        <p:tav tm="100000">
                                          <p:val>
                                            <p:strVal val="#ppt_x"/>
                                          </p:val>
                                        </p:tav>
                                      </p:tavLst>
                                    </p:anim>
                                    <p:anim calcmode="lin" valueType="num">
                                      <p:cBhvr additive="base">
                                        <p:cTn id="14" dur="700" fill="hold"/>
                                        <p:tgtEl>
                                          <p:spTgt spid="8"/>
                                        </p:tgtEl>
                                        <p:attrNameLst>
                                          <p:attrName>ppt_y</p:attrName>
                                        </p:attrNameLst>
                                      </p:cBhvr>
                                      <p:tavLst>
                                        <p:tav tm="0">
                                          <p:val>
                                            <p:strVal val="#ppt_y"/>
                                          </p:val>
                                        </p:tav>
                                        <p:tav tm="100000">
                                          <p:val>
                                            <p:strVal val="#ppt_y"/>
                                          </p:val>
                                        </p:tav>
                                      </p:tavLst>
                                    </p:anim>
                                  </p:childTnLst>
                                </p:cTn>
                              </p:par>
                              <p:par>
                                <p:cTn id="15" presetID="16" presetClass="entr" presetSubtype="42" fill="hold" grpId="0" nodeType="withEffect">
                                  <p:stCondLst>
                                    <p:cond delay="500"/>
                                  </p:stCondLst>
                                  <p:childTnLst>
                                    <p:set>
                                      <p:cBhvr>
                                        <p:cTn id="16" dur="1" fill="hold">
                                          <p:stCondLst>
                                            <p:cond delay="0"/>
                                          </p:stCondLst>
                                        </p:cTn>
                                        <p:tgtEl>
                                          <p:spTgt spid="10"/>
                                        </p:tgtEl>
                                        <p:attrNameLst>
                                          <p:attrName>style.visibility</p:attrName>
                                        </p:attrNameLst>
                                      </p:cBhvr>
                                      <p:to>
                                        <p:strVal val="visible"/>
                                      </p:to>
                                    </p:set>
                                    <p:animEffect transition="in" filter="barn(outHorizontal)">
                                      <p:cBhvr>
                                        <p:cTn id="17" dur="300"/>
                                        <p:tgtEl>
                                          <p:spTgt spid="10"/>
                                        </p:tgtEl>
                                      </p:cBhvr>
                                    </p:animEffect>
                                  </p:childTnLst>
                                </p:cTn>
                              </p:par>
                            </p:childTnLst>
                          </p:cTn>
                        </p:par>
                        <p:par>
                          <p:cTn id="18" fill="hold">
                            <p:stCondLst>
                              <p:cond delay="1300"/>
                            </p:stCondLst>
                            <p:childTnLst>
                              <p:par>
                                <p:cTn id="19" presetID="16" presetClass="entr" presetSubtype="26"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barn(inHorizontal)">
                                      <p:cBhvr>
                                        <p:cTn id="21" dur="200"/>
                                        <p:tgtEl>
                                          <p:spTgt spid="4"/>
                                        </p:tgtEl>
                                      </p:cBhvr>
                                    </p:animEffect>
                                  </p:childTnLst>
                                </p:cTn>
                              </p:par>
                              <p:par>
                                <p:cTn id="22" presetID="10" presetClass="entr" presetSubtype="0" fill="hold" nodeType="with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fade">
                                      <p:cBhvr>
                                        <p:cTn id="27" dur="500"/>
                                        <p:tgtEl>
                                          <p:spTgt spid="2"/>
                                        </p:tgtEl>
                                      </p:cBhvr>
                                    </p:animEffect>
                                  </p:childTnLst>
                                </p:cTn>
                              </p:par>
                              <p:par>
                                <p:cTn id="28" presetID="42" presetClass="path" presetSubtype="0" decel="100000" fill="hold" grpId="1" nodeType="withEffect">
                                  <p:stCondLst>
                                    <p:cond delay="0"/>
                                  </p:stCondLst>
                                  <p:childTnLst>
                                    <p:animMotion origin="layout" path="M -4.16667E-7 -1.85185E-6 L 0.01719 -1.85185E-6 " pathEditMode="relative" rAng="0" ptsTypes="AA">
                                      <p:cBhvr>
                                        <p:cTn id="29" dur="500" spd="-100000" fill="hold"/>
                                        <p:tgtEl>
                                          <p:spTgt spid="2"/>
                                        </p:tgtEl>
                                        <p:attrNameLst>
                                          <p:attrName>ppt_x</p:attrName>
                                          <p:attrName>ppt_y</p:attrName>
                                        </p:attrNameLst>
                                      </p:cBhvr>
                                      <p:rCtr x="859" y="0"/>
                                    </p:animMotion>
                                  </p:childTnLst>
                                </p:cTn>
                              </p:par>
                            </p:childTnLst>
                          </p:cTn>
                        </p:par>
                        <p:par>
                          <p:cTn id="30" fill="hold">
                            <p:stCondLst>
                              <p:cond delay="1800"/>
                            </p:stCondLst>
                            <p:childTnLst>
                              <p:par>
                                <p:cTn id="31" presetID="10" presetClass="entr" presetSubtype="0" fill="hold" nodeType="after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par>
                                <p:cTn id="34" presetID="42" presetClass="path" presetSubtype="0" decel="100000" fill="hold" nodeType="withEffect">
                                  <p:stCondLst>
                                    <p:cond delay="0"/>
                                  </p:stCondLst>
                                  <p:childTnLst>
                                    <p:animMotion origin="layout" path="M -2.08333E-6 2.22222E-6 L 0.02982 2.22222E-6 " pathEditMode="relative" rAng="0" ptsTypes="AA">
                                      <p:cBhvr>
                                        <p:cTn id="35" dur="500" spd="-100000" fill="hold"/>
                                        <p:tgtEl>
                                          <p:spTgt spid="17"/>
                                        </p:tgtEl>
                                        <p:attrNameLst>
                                          <p:attrName>ppt_x</p:attrName>
                                          <p:attrName>ppt_y</p:attrName>
                                        </p:attrNameLst>
                                      </p:cBhvr>
                                      <p:rCtr x="1484" y="0"/>
                                    </p:animMotion>
                                  </p:childTnLst>
                                </p:cTn>
                              </p:par>
                            </p:childTnLst>
                          </p:cTn>
                        </p:par>
                        <p:par>
                          <p:cTn id="36" fill="hold">
                            <p:stCondLst>
                              <p:cond delay="2300"/>
                            </p:stCondLst>
                            <p:childTnLst>
                              <p:par>
                                <p:cTn id="37" presetID="10" presetClass="entr" presetSubtype="0" fill="hold"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42" presetClass="path" presetSubtype="0" decel="100000" fill="hold" nodeType="withEffect">
                                  <p:stCondLst>
                                    <p:cond delay="0"/>
                                  </p:stCondLst>
                                  <p:childTnLst>
                                    <p:animMotion origin="layout" path="M -3.75E-6 -3.33333E-6 L 0.02982 -3.33333E-6 " pathEditMode="relative" rAng="0" ptsTypes="AA">
                                      <p:cBhvr>
                                        <p:cTn id="41" dur="500" spd="-100000" fill="hold"/>
                                        <p:tgtEl>
                                          <p:spTgt spid="16"/>
                                        </p:tgtEl>
                                        <p:attrNameLst>
                                          <p:attrName>ppt_x</p:attrName>
                                          <p:attrName>ppt_y</p:attrName>
                                        </p:attrNameLst>
                                      </p:cBhvr>
                                      <p:rCtr x="148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5" grpId="0"/>
      <p:bldP spid="25" grpId="1"/>
      <p:bldP spid="2" grpId="0"/>
      <p:bldP spid="2" grpId="1"/>
      <p:bldP spid="1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09E95076-250C-46F9-A58A-A8139A9C7757}"/>
              </a:ext>
            </a:extLst>
          </p:cNvPr>
          <p:cNvSpPr>
            <a:spLocks noGrp="1"/>
          </p:cNvSpPr>
          <p:nvPr>
            <p:ph type="title"/>
          </p:nvPr>
        </p:nvSpPr>
        <p:spPr>
          <a:xfrm>
            <a:off x="588263" y="880012"/>
            <a:ext cx="11018520" cy="553998"/>
          </a:xfrm>
        </p:spPr>
        <p:txBody>
          <a:bodyPr/>
          <a:lstStyle/>
          <a:p>
            <a:pPr algn="ctr">
              <a:spcBef>
                <a:spcPts val="0"/>
              </a:spcBef>
              <a:spcAft>
                <a:spcPts val="1200"/>
              </a:spcAft>
              <a:buSzPct val="90000"/>
              <a:defRPr/>
            </a:pPr>
            <a:r>
              <a:rPr lang="en-US">
                <a:solidFill>
                  <a:srgbClr val="000000"/>
                </a:solidFill>
                <a:latin typeface="Segoe UI Light" panose="020B0502040204020203" pitchFamily="34" charset="0"/>
                <a:cs typeface="Segoe UI Light" panose="020B0502040204020203" pitchFamily="34" charset="0"/>
              </a:rPr>
              <a:t>Cloud app </a:t>
            </a:r>
            <a:r>
              <a:rPr lang="en-US">
                <a:solidFill>
                  <a:srgbClr val="0078D4"/>
                </a:solidFill>
                <a:latin typeface="Selawik Semibold" panose="020B0702040204020203" pitchFamily="34" charset="0"/>
                <a:cs typeface="Segoe UI Light" panose="020B0502040204020203" pitchFamily="34" charset="0"/>
              </a:rPr>
              <a:t>continuum</a:t>
            </a:r>
          </a:p>
        </p:txBody>
      </p:sp>
      <p:sp>
        <p:nvSpPr>
          <p:cNvPr id="54" name="Rectangle: Rounded Corners 53">
            <a:extLst>
              <a:ext uri="{FF2B5EF4-FFF2-40B4-BE49-F238E27FC236}">
                <a16:creationId xmlns:a16="http://schemas.microsoft.com/office/drawing/2014/main" id="{3BFF3902-4396-45B8-9709-79F730CA07CA}"/>
              </a:ext>
            </a:extLst>
          </p:cNvPr>
          <p:cNvSpPr/>
          <p:nvPr/>
        </p:nvSpPr>
        <p:spPr bwMode="auto">
          <a:xfrm>
            <a:off x="4607000" y="2128842"/>
            <a:ext cx="5243513" cy="3114677"/>
          </a:xfrm>
          <a:prstGeom prst="roundRect">
            <a:avLst>
              <a:gd name="adj" fmla="val 3125"/>
            </a:avLst>
          </a:prstGeom>
          <a:solidFill>
            <a:srgbClr val="0078D4">
              <a:alpha val="1000"/>
            </a:srgbClr>
          </a:solidFill>
          <a:ln w="12700">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cxnSp>
        <p:nvCxnSpPr>
          <p:cNvPr id="9" name="Straight Arrow Connector 8">
            <a:extLst>
              <a:ext uri="{FF2B5EF4-FFF2-40B4-BE49-F238E27FC236}">
                <a16:creationId xmlns:a16="http://schemas.microsoft.com/office/drawing/2014/main" id="{D78D9979-6D51-4C97-A1FF-BD8A07422D03}"/>
              </a:ext>
            </a:extLst>
          </p:cNvPr>
          <p:cNvCxnSpPr>
            <a:cxnSpLocks/>
          </p:cNvCxnSpPr>
          <p:nvPr/>
        </p:nvCxnSpPr>
        <p:spPr>
          <a:xfrm flipV="1">
            <a:off x="964642" y="1900238"/>
            <a:ext cx="0" cy="408622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80FD2B3-64FF-4817-B0A3-21CE9A36B0CE}"/>
              </a:ext>
            </a:extLst>
          </p:cNvPr>
          <p:cNvCxnSpPr>
            <a:cxnSpLocks/>
          </p:cNvCxnSpPr>
          <p:nvPr/>
        </p:nvCxnSpPr>
        <p:spPr>
          <a:xfrm>
            <a:off x="1047986" y="6100761"/>
            <a:ext cx="10558462"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6" name="Text Placeholder 6">
            <a:extLst>
              <a:ext uri="{FF2B5EF4-FFF2-40B4-BE49-F238E27FC236}">
                <a16:creationId xmlns:a16="http://schemas.microsoft.com/office/drawing/2014/main" id="{99266387-DD35-409C-815C-C06932CA9CE0}"/>
              </a:ext>
            </a:extLst>
          </p:cNvPr>
          <p:cNvSpPr txBox="1">
            <a:spLocks/>
          </p:cNvSpPr>
          <p:nvPr/>
        </p:nvSpPr>
        <p:spPr>
          <a:xfrm>
            <a:off x="2883691" y="6243358"/>
            <a:ext cx="6460808"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spcAft>
                <a:spcPts val="1200"/>
              </a:spcAft>
              <a:defRPr/>
            </a:pPr>
            <a:r>
              <a:rPr lang="en-US" sz="1600" b="0">
                <a:solidFill>
                  <a:srgbClr val="0078D7"/>
                </a:solidFill>
                <a:cs typeface="Segoe UI Semibold" panose="020B0702040204020203" pitchFamily="34" charset="0"/>
              </a:rPr>
              <a:t>Agility – Time to Market – Total Cost of Ownership – IT Simplification</a:t>
            </a:r>
          </a:p>
        </p:txBody>
      </p:sp>
      <p:sp>
        <p:nvSpPr>
          <p:cNvPr id="39" name="Text Placeholder 6">
            <a:extLst>
              <a:ext uri="{FF2B5EF4-FFF2-40B4-BE49-F238E27FC236}">
                <a16:creationId xmlns:a16="http://schemas.microsoft.com/office/drawing/2014/main" id="{384E6E1F-C483-4B99-B424-60CFD44E1149}"/>
              </a:ext>
            </a:extLst>
          </p:cNvPr>
          <p:cNvSpPr txBox="1">
            <a:spLocks/>
          </p:cNvSpPr>
          <p:nvPr/>
        </p:nvSpPr>
        <p:spPr>
          <a:xfrm rot="16200000">
            <a:off x="-982977" y="3820238"/>
            <a:ext cx="3383280"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spcAft>
                <a:spcPts val="1200"/>
              </a:spcAft>
              <a:defRPr/>
            </a:pPr>
            <a:r>
              <a:rPr lang="en-US" sz="1600" b="0">
                <a:solidFill>
                  <a:srgbClr val="0078D7"/>
                </a:solidFill>
                <a:cs typeface="Segoe UI Semibold" panose="020B0702040204020203" pitchFamily="34" charset="0"/>
              </a:rPr>
              <a:t>Engineering Complexity and Cost</a:t>
            </a:r>
          </a:p>
        </p:txBody>
      </p:sp>
      <p:sp>
        <p:nvSpPr>
          <p:cNvPr id="18" name="Rectangle 17">
            <a:extLst>
              <a:ext uri="{FF2B5EF4-FFF2-40B4-BE49-F238E27FC236}">
                <a16:creationId xmlns:a16="http://schemas.microsoft.com/office/drawing/2014/main" id="{C390E724-BE5E-4DAF-AAF6-6D63389111E4}"/>
              </a:ext>
            </a:extLst>
          </p:cNvPr>
          <p:cNvSpPr/>
          <p:nvPr/>
        </p:nvSpPr>
        <p:spPr bwMode="auto">
          <a:xfrm>
            <a:off x="1262294" y="4914905"/>
            <a:ext cx="1485900" cy="885825"/>
          </a:xfrm>
          <a:prstGeom prst="rect">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Existing on-premises applications</a:t>
            </a:r>
          </a:p>
        </p:txBody>
      </p:sp>
      <p:grpSp>
        <p:nvGrpSpPr>
          <p:cNvPr id="27" name="Group 26">
            <a:extLst>
              <a:ext uri="{FF2B5EF4-FFF2-40B4-BE49-F238E27FC236}">
                <a16:creationId xmlns:a16="http://schemas.microsoft.com/office/drawing/2014/main" id="{E38329BC-22F0-4293-943F-8DD301F6C245}"/>
              </a:ext>
            </a:extLst>
          </p:cNvPr>
          <p:cNvGrpSpPr/>
          <p:nvPr/>
        </p:nvGrpSpPr>
        <p:grpSpPr>
          <a:xfrm>
            <a:off x="3003465" y="4357694"/>
            <a:ext cx="1485900" cy="1189191"/>
            <a:chOff x="3003465" y="4357694"/>
            <a:chExt cx="1485900" cy="1189191"/>
          </a:xfrm>
        </p:grpSpPr>
        <p:sp>
          <p:nvSpPr>
            <p:cNvPr id="46" name="Rectangle 45">
              <a:extLst>
                <a:ext uri="{FF2B5EF4-FFF2-40B4-BE49-F238E27FC236}">
                  <a16:creationId xmlns:a16="http://schemas.microsoft.com/office/drawing/2014/main" id="{306ADEFB-B9FB-4E68-89DD-68678FD1EA55}"/>
                </a:ext>
              </a:extLst>
            </p:cNvPr>
            <p:cNvSpPr/>
            <p:nvPr/>
          </p:nvSpPr>
          <p:spPr bwMode="auto">
            <a:xfrm>
              <a:off x="3003465" y="4357694"/>
              <a:ext cx="1485900" cy="885825"/>
            </a:xfrm>
            <a:prstGeom prst="rect">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cs typeface="Segoe UI" pitchFamily="34" charset="0"/>
                </a:rPr>
                <a:t>VMs</a:t>
              </a:r>
            </a:p>
          </p:txBody>
        </p:sp>
        <p:sp>
          <p:nvSpPr>
            <p:cNvPr id="22" name="TextBox 21">
              <a:extLst>
                <a:ext uri="{FF2B5EF4-FFF2-40B4-BE49-F238E27FC236}">
                  <a16:creationId xmlns:a16="http://schemas.microsoft.com/office/drawing/2014/main" id="{227187D7-FDCC-46D9-8BF3-B796C64EED1A}"/>
                </a:ext>
              </a:extLst>
            </p:cNvPr>
            <p:cNvSpPr txBox="1"/>
            <p:nvPr/>
          </p:nvSpPr>
          <p:spPr>
            <a:xfrm>
              <a:off x="3089190" y="5300664"/>
              <a:ext cx="1314450" cy="246221"/>
            </a:xfrm>
            <a:prstGeom prst="rect">
              <a:avLst/>
            </a:prstGeom>
            <a:noFill/>
          </p:spPr>
          <p:txBody>
            <a:bodyPr wrap="square" lIns="0" tIns="0" rIns="0" bIns="0" rtlCol="0">
              <a:spAutoFit/>
            </a:bodyPr>
            <a:lstStyle/>
            <a:p>
              <a:pPr algn="ctr"/>
              <a:r>
                <a:rPr lang="en-US" sz="1600">
                  <a:latin typeface="Segoe UI Semibold" panose="020B0702040204020203" pitchFamily="34" charset="0"/>
                  <a:cs typeface="Segoe UI Semibold" panose="020B0702040204020203" pitchFamily="34" charset="0"/>
                </a:rPr>
                <a:t>Rehost</a:t>
              </a:r>
              <a:endParaRPr lang="en-US" sz="2000">
                <a:latin typeface="Segoe UI Semibold" panose="020B0702040204020203" pitchFamily="34" charset="0"/>
                <a:cs typeface="Segoe UI Semibold" panose="020B0702040204020203" pitchFamily="34" charset="0"/>
              </a:endParaRPr>
            </a:p>
          </p:txBody>
        </p:sp>
      </p:grpSp>
      <p:grpSp>
        <p:nvGrpSpPr>
          <p:cNvPr id="28" name="Group 27">
            <a:extLst>
              <a:ext uri="{FF2B5EF4-FFF2-40B4-BE49-F238E27FC236}">
                <a16:creationId xmlns:a16="http://schemas.microsoft.com/office/drawing/2014/main" id="{851577AF-ED94-48E2-8E56-445CC1C996D7}"/>
              </a:ext>
            </a:extLst>
          </p:cNvPr>
          <p:cNvGrpSpPr/>
          <p:nvPr/>
        </p:nvGrpSpPr>
        <p:grpSpPr>
          <a:xfrm>
            <a:off x="4744636" y="3800481"/>
            <a:ext cx="1485900" cy="1184428"/>
            <a:chOff x="4744636" y="3800481"/>
            <a:chExt cx="1485900" cy="1184428"/>
          </a:xfrm>
        </p:grpSpPr>
        <p:sp>
          <p:nvSpPr>
            <p:cNvPr id="47" name="Rectangle 46">
              <a:extLst>
                <a:ext uri="{FF2B5EF4-FFF2-40B4-BE49-F238E27FC236}">
                  <a16:creationId xmlns:a16="http://schemas.microsoft.com/office/drawing/2014/main" id="{4A23D987-1F50-410F-9026-1FEA2B9E0FEF}"/>
                </a:ext>
              </a:extLst>
            </p:cNvPr>
            <p:cNvSpPr/>
            <p:nvPr/>
          </p:nvSpPr>
          <p:spPr bwMode="auto">
            <a:xfrm>
              <a:off x="4744636" y="3800481"/>
              <a:ext cx="1485900" cy="885825"/>
            </a:xfrm>
            <a:prstGeom prst="rect">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cs typeface="Segoe UI" pitchFamily="34" charset="0"/>
                </a:rPr>
                <a:t>Containers</a:t>
              </a:r>
            </a:p>
          </p:txBody>
        </p:sp>
        <p:sp>
          <p:nvSpPr>
            <p:cNvPr id="56" name="TextBox 55">
              <a:extLst>
                <a:ext uri="{FF2B5EF4-FFF2-40B4-BE49-F238E27FC236}">
                  <a16:creationId xmlns:a16="http://schemas.microsoft.com/office/drawing/2014/main" id="{86991514-CDC8-4157-A886-94873B6AF3CE}"/>
                </a:ext>
              </a:extLst>
            </p:cNvPr>
            <p:cNvSpPr txBox="1"/>
            <p:nvPr/>
          </p:nvSpPr>
          <p:spPr>
            <a:xfrm>
              <a:off x="4827505" y="4738688"/>
              <a:ext cx="1314450" cy="246221"/>
            </a:xfrm>
            <a:prstGeom prst="rect">
              <a:avLst/>
            </a:prstGeom>
            <a:noFill/>
          </p:spPr>
          <p:txBody>
            <a:bodyPr wrap="square" lIns="0" tIns="0" rIns="0" bIns="0" rtlCol="0">
              <a:spAutoFit/>
            </a:bodyPr>
            <a:lstStyle/>
            <a:p>
              <a:pPr algn="ctr"/>
              <a:r>
                <a:rPr lang="en-US" sz="1600">
                  <a:latin typeface="Segoe UI Semibold" panose="020B0702040204020203" pitchFamily="34" charset="0"/>
                  <a:cs typeface="Segoe UI Semibold" panose="020B0702040204020203" pitchFamily="34" charset="0"/>
                </a:rPr>
                <a:t>Refactor</a:t>
              </a:r>
              <a:endParaRPr lang="en-US" sz="2000">
                <a:latin typeface="Segoe UI Semibold" panose="020B0702040204020203" pitchFamily="34" charset="0"/>
                <a:cs typeface="Segoe UI Semibold" panose="020B0702040204020203" pitchFamily="34" charset="0"/>
              </a:endParaRPr>
            </a:p>
          </p:txBody>
        </p:sp>
      </p:grpSp>
      <p:grpSp>
        <p:nvGrpSpPr>
          <p:cNvPr id="29" name="Group 28">
            <a:extLst>
              <a:ext uri="{FF2B5EF4-FFF2-40B4-BE49-F238E27FC236}">
                <a16:creationId xmlns:a16="http://schemas.microsoft.com/office/drawing/2014/main" id="{624B8445-54FF-4FEC-AAD5-1BED6CAB0FD4}"/>
              </a:ext>
            </a:extLst>
          </p:cNvPr>
          <p:cNvGrpSpPr/>
          <p:nvPr/>
        </p:nvGrpSpPr>
        <p:grpSpPr>
          <a:xfrm>
            <a:off x="6485807" y="3243268"/>
            <a:ext cx="1485900" cy="1193953"/>
            <a:chOff x="6485807" y="3243268"/>
            <a:chExt cx="1485900" cy="1193953"/>
          </a:xfrm>
        </p:grpSpPr>
        <p:sp>
          <p:nvSpPr>
            <p:cNvPr id="48" name="Rectangle 47">
              <a:extLst>
                <a:ext uri="{FF2B5EF4-FFF2-40B4-BE49-F238E27FC236}">
                  <a16:creationId xmlns:a16="http://schemas.microsoft.com/office/drawing/2014/main" id="{61E58205-4EA2-4A4B-9446-A05B7A65C1DE}"/>
                </a:ext>
              </a:extLst>
            </p:cNvPr>
            <p:cNvSpPr/>
            <p:nvPr/>
          </p:nvSpPr>
          <p:spPr bwMode="auto">
            <a:xfrm>
              <a:off x="6485807" y="3243268"/>
              <a:ext cx="1485900" cy="885825"/>
            </a:xfrm>
            <a:prstGeom prst="rect">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cs typeface="Segoe UI" pitchFamily="34" charset="0"/>
                </a:rPr>
                <a:t>Microservices</a:t>
              </a:r>
            </a:p>
          </p:txBody>
        </p:sp>
        <p:sp>
          <p:nvSpPr>
            <p:cNvPr id="57" name="TextBox 56">
              <a:extLst>
                <a:ext uri="{FF2B5EF4-FFF2-40B4-BE49-F238E27FC236}">
                  <a16:creationId xmlns:a16="http://schemas.microsoft.com/office/drawing/2014/main" id="{D20D07B9-A79B-461A-8FE3-3BFA47C9D480}"/>
                </a:ext>
              </a:extLst>
            </p:cNvPr>
            <p:cNvSpPr txBox="1"/>
            <p:nvPr/>
          </p:nvSpPr>
          <p:spPr>
            <a:xfrm>
              <a:off x="6565815" y="4191000"/>
              <a:ext cx="1314450" cy="246221"/>
            </a:xfrm>
            <a:prstGeom prst="rect">
              <a:avLst/>
            </a:prstGeom>
            <a:noFill/>
          </p:spPr>
          <p:txBody>
            <a:bodyPr wrap="square" lIns="0" tIns="0" rIns="0" bIns="0" rtlCol="0">
              <a:spAutoFit/>
            </a:bodyPr>
            <a:lstStyle/>
            <a:p>
              <a:pPr algn="ctr"/>
              <a:r>
                <a:rPr lang="en-US" sz="1600">
                  <a:latin typeface="Segoe UI Semibold" panose="020B0702040204020203" pitchFamily="34" charset="0"/>
                  <a:cs typeface="Segoe UI Semibold" panose="020B0702040204020203" pitchFamily="34" charset="0"/>
                </a:rPr>
                <a:t>Rearchitect</a:t>
              </a:r>
              <a:endParaRPr lang="en-US" sz="2000">
                <a:latin typeface="Segoe UI Semibold" panose="020B0702040204020203" pitchFamily="34" charset="0"/>
                <a:cs typeface="Segoe UI Semibold" panose="020B0702040204020203" pitchFamily="34" charset="0"/>
              </a:endParaRPr>
            </a:p>
          </p:txBody>
        </p:sp>
      </p:grpSp>
      <p:grpSp>
        <p:nvGrpSpPr>
          <p:cNvPr id="30" name="Group 29">
            <a:extLst>
              <a:ext uri="{FF2B5EF4-FFF2-40B4-BE49-F238E27FC236}">
                <a16:creationId xmlns:a16="http://schemas.microsoft.com/office/drawing/2014/main" id="{CF2BF397-E9E4-4E24-911F-C2A149D7A2BE}"/>
              </a:ext>
            </a:extLst>
          </p:cNvPr>
          <p:cNvGrpSpPr/>
          <p:nvPr/>
        </p:nvGrpSpPr>
        <p:grpSpPr>
          <a:xfrm>
            <a:off x="8226978" y="2686055"/>
            <a:ext cx="1485900" cy="1435414"/>
            <a:chOff x="8226978" y="2686055"/>
            <a:chExt cx="1485900" cy="1435414"/>
          </a:xfrm>
        </p:grpSpPr>
        <p:sp>
          <p:nvSpPr>
            <p:cNvPr id="49" name="Rectangle 48">
              <a:extLst>
                <a:ext uri="{FF2B5EF4-FFF2-40B4-BE49-F238E27FC236}">
                  <a16:creationId xmlns:a16="http://schemas.microsoft.com/office/drawing/2014/main" id="{230AD523-6967-478B-A349-6C1A63DA211F}"/>
                </a:ext>
              </a:extLst>
            </p:cNvPr>
            <p:cNvSpPr/>
            <p:nvPr/>
          </p:nvSpPr>
          <p:spPr bwMode="auto">
            <a:xfrm>
              <a:off x="8226978" y="2686055"/>
              <a:ext cx="1485900" cy="885825"/>
            </a:xfrm>
            <a:prstGeom prst="rect">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cs typeface="Segoe UI" pitchFamily="34" charset="0"/>
                </a:rPr>
                <a:t>Serverless</a:t>
              </a:r>
            </a:p>
          </p:txBody>
        </p:sp>
        <p:sp>
          <p:nvSpPr>
            <p:cNvPr id="58" name="TextBox 57">
              <a:extLst>
                <a:ext uri="{FF2B5EF4-FFF2-40B4-BE49-F238E27FC236}">
                  <a16:creationId xmlns:a16="http://schemas.microsoft.com/office/drawing/2014/main" id="{3B65C29E-D55A-47ED-9458-7EB2571DF4DB}"/>
                </a:ext>
              </a:extLst>
            </p:cNvPr>
            <p:cNvSpPr txBox="1"/>
            <p:nvPr/>
          </p:nvSpPr>
          <p:spPr>
            <a:xfrm>
              <a:off x="8304126" y="3629026"/>
              <a:ext cx="1314450" cy="492443"/>
            </a:xfrm>
            <a:prstGeom prst="rect">
              <a:avLst/>
            </a:prstGeom>
            <a:noFill/>
          </p:spPr>
          <p:txBody>
            <a:bodyPr wrap="square" lIns="0" tIns="0" rIns="0" bIns="0" rtlCol="0">
              <a:spAutoFit/>
            </a:bodyPr>
            <a:lstStyle/>
            <a:p>
              <a:pPr algn="ctr"/>
              <a:r>
                <a:rPr lang="en-US" sz="1600">
                  <a:latin typeface="Segoe UI Semibold" panose="020B0702040204020203" pitchFamily="34" charset="0"/>
                  <a:cs typeface="Segoe UI Semibold" panose="020B0702040204020203" pitchFamily="34" charset="0"/>
                </a:rPr>
                <a:t>Rebuild</a:t>
              </a:r>
              <a:br>
                <a:rPr lang="en-US" sz="1600">
                  <a:latin typeface="Segoe UI Semibold" panose="020B0702040204020203" pitchFamily="34" charset="0"/>
                  <a:cs typeface="Segoe UI Semibold" panose="020B0702040204020203" pitchFamily="34" charset="0"/>
                </a:rPr>
              </a:br>
              <a:r>
                <a:rPr lang="en-US" sz="1600">
                  <a:latin typeface="Segoe UI Semibold" panose="020B0702040204020203" pitchFamily="34" charset="0"/>
                  <a:cs typeface="Segoe UI Semibold" panose="020B0702040204020203" pitchFamily="34" charset="0"/>
                </a:rPr>
                <a:t>New</a:t>
              </a:r>
              <a:endParaRPr lang="en-US" sz="2000">
                <a:latin typeface="Segoe UI Semibold" panose="020B0702040204020203" pitchFamily="34" charset="0"/>
                <a:cs typeface="Segoe UI Semibold" panose="020B0702040204020203" pitchFamily="34" charset="0"/>
              </a:endParaRPr>
            </a:p>
          </p:txBody>
        </p:sp>
      </p:grpSp>
      <p:grpSp>
        <p:nvGrpSpPr>
          <p:cNvPr id="31" name="Group 30">
            <a:extLst>
              <a:ext uri="{FF2B5EF4-FFF2-40B4-BE49-F238E27FC236}">
                <a16:creationId xmlns:a16="http://schemas.microsoft.com/office/drawing/2014/main" id="{2989BC92-3C6A-4B44-9FF8-7AF711DCF6F0}"/>
              </a:ext>
            </a:extLst>
          </p:cNvPr>
          <p:cNvGrpSpPr/>
          <p:nvPr/>
        </p:nvGrpSpPr>
        <p:grpSpPr>
          <a:xfrm>
            <a:off x="9968147" y="2128842"/>
            <a:ext cx="1485900" cy="1189191"/>
            <a:chOff x="9968147" y="2128842"/>
            <a:chExt cx="1485900" cy="1189191"/>
          </a:xfrm>
        </p:grpSpPr>
        <p:sp>
          <p:nvSpPr>
            <p:cNvPr id="50" name="Rectangle 49">
              <a:extLst>
                <a:ext uri="{FF2B5EF4-FFF2-40B4-BE49-F238E27FC236}">
                  <a16:creationId xmlns:a16="http://schemas.microsoft.com/office/drawing/2014/main" id="{FA9BEC4F-F698-4535-A9B9-BED1BBFB1021}"/>
                </a:ext>
              </a:extLst>
            </p:cNvPr>
            <p:cNvSpPr/>
            <p:nvPr/>
          </p:nvSpPr>
          <p:spPr bwMode="auto">
            <a:xfrm>
              <a:off x="9968147" y="2128842"/>
              <a:ext cx="1485900" cy="885825"/>
            </a:xfrm>
            <a:prstGeom prst="rect">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cs typeface="Segoe UI" pitchFamily="34" charset="0"/>
                </a:rPr>
                <a:t>SaaS apps</a:t>
              </a:r>
            </a:p>
          </p:txBody>
        </p:sp>
        <p:sp>
          <p:nvSpPr>
            <p:cNvPr id="59" name="TextBox 58">
              <a:extLst>
                <a:ext uri="{FF2B5EF4-FFF2-40B4-BE49-F238E27FC236}">
                  <a16:creationId xmlns:a16="http://schemas.microsoft.com/office/drawing/2014/main" id="{C4968386-4409-446B-83BC-350562C8AD20}"/>
                </a:ext>
              </a:extLst>
            </p:cNvPr>
            <p:cNvSpPr txBox="1"/>
            <p:nvPr/>
          </p:nvSpPr>
          <p:spPr>
            <a:xfrm>
              <a:off x="10061490" y="3071812"/>
              <a:ext cx="1314450" cy="246221"/>
            </a:xfrm>
            <a:prstGeom prst="rect">
              <a:avLst/>
            </a:prstGeom>
            <a:noFill/>
          </p:spPr>
          <p:txBody>
            <a:bodyPr wrap="square" lIns="0" tIns="0" rIns="0" bIns="0" rtlCol="0">
              <a:spAutoFit/>
            </a:bodyPr>
            <a:lstStyle/>
            <a:p>
              <a:pPr algn="ctr"/>
              <a:r>
                <a:rPr lang="en-US" sz="1600">
                  <a:latin typeface="Segoe UI Semibold" panose="020B0702040204020203" pitchFamily="34" charset="0"/>
                  <a:cs typeface="Segoe UI Semibold" panose="020B0702040204020203" pitchFamily="34" charset="0"/>
                </a:rPr>
                <a:t>Replace</a:t>
              </a:r>
              <a:endParaRPr lang="en-US" sz="2000">
                <a:latin typeface="Segoe UI Semibold" panose="020B0702040204020203" pitchFamily="34" charset="0"/>
                <a:cs typeface="Segoe UI Semibold" panose="020B0702040204020203" pitchFamily="34" charset="0"/>
              </a:endParaRPr>
            </a:p>
          </p:txBody>
        </p:sp>
      </p:grpSp>
      <p:sp>
        <p:nvSpPr>
          <p:cNvPr id="60" name="Text Placeholder 6">
            <a:extLst>
              <a:ext uri="{FF2B5EF4-FFF2-40B4-BE49-F238E27FC236}">
                <a16:creationId xmlns:a16="http://schemas.microsoft.com/office/drawing/2014/main" id="{FB00014A-AD27-4C79-9AC8-28E4634E15BE}"/>
              </a:ext>
            </a:extLst>
          </p:cNvPr>
          <p:cNvSpPr txBox="1">
            <a:spLocks/>
          </p:cNvSpPr>
          <p:nvPr/>
        </p:nvSpPr>
        <p:spPr>
          <a:xfrm>
            <a:off x="5948596" y="5338481"/>
            <a:ext cx="2560320"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spcAft>
                <a:spcPts val="1200"/>
              </a:spcAft>
              <a:defRPr/>
            </a:pPr>
            <a:r>
              <a:rPr lang="en-US" sz="2000" b="0">
                <a:solidFill>
                  <a:srgbClr val="0078D7"/>
                </a:solidFill>
                <a:latin typeface="Segoe UI Semibold" panose="020B0702040204020203" pitchFamily="34" charset="0"/>
                <a:cs typeface="Segoe UI Semibold" panose="020B0702040204020203" pitchFamily="34" charset="0"/>
              </a:rPr>
              <a:t>App Modernization</a:t>
            </a:r>
          </a:p>
        </p:txBody>
      </p:sp>
    </p:spTree>
    <p:extLst>
      <p:ext uri="{BB962C8B-B14F-4D97-AF65-F5344CB8AC3E}">
        <p14:creationId xmlns:p14="http://schemas.microsoft.com/office/powerpoint/2010/main" val="1200256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42" presetClass="path" presetSubtype="0" decel="100000" fill="hold" grpId="1" nodeType="withEffect">
                                  <p:stCondLst>
                                    <p:cond delay="0"/>
                                  </p:stCondLst>
                                  <p:childTnLst>
                                    <p:animMotion origin="layout" path="M -1.21011E-6 2.17885E-7 L -1.21011E-6 0.04358 " pathEditMode="relative" rAng="0" ptsTypes="AA">
                                      <p:cBhvr>
                                        <p:cTn id="9" dur="500" spd="-100000" fill="hold"/>
                                        <p:tgtEl>
                                          <p:spTgt spid="25"/>
                                        </p:tgtEl>
                                        <p:attrNameLst>
                                          <p:attrName>ppt_x</p:attrName>
                                          <p:attrName>ppt_y</p:attrName>
                                        </p:attrNameLst>
                                      </p:cBhvr>
                                      <p:rCtr x="0" y="2179"/>
                                    </p:animMotion>
                                  </p:childTnLst>
                                </p:cTn>
                              </p:par>
                            </p:childTnLst>
                          </p:cTn>
                        </p:par>
                        <p:par>
                          <p:cTn id="10" fill="hold">
                            <p:stCondLst>
                              <p:cond delay="500"/>
                            </p:stCondLst>
                            <p:childTnLst>
                              <p:par>
                                <p:cTn id="11" presetID="22" presetClass="entr" presetSubtype="4"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wipe(down)">
                                      <p:cBhvr>
                                        <p:cTn id="13" dur="500"/>
                                        <p:tgtEl>
                                          <p:spTgt spid="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22" presetClass="entr" presetSubtype="8" fill="hold" nodeType="withEffect">
                                  <p:stCondLst>
                                    <p:cond delay="250"/>
                                  </p:stCondLst>
                                  <p:childTnLst>
                                    <p:set>
                                      <p:cBhvr>
                                        <p:cTn id="18" dur="1" fill="hold">
                                          <p:stCondLst>
                                            <p:cond delay="0"/>
                                          </p:stCondLst>
                                        </p:cTn>
                                        <p:tgtEl>
                                          <p:spTgt spid="32"/>
                                        </p:tgtEl>
                                        <p:attrNameLst>
                                          <p:attrName>style.visibility</p:attrName>
                                        </p:attrNameLst>
                                      </p:cBhvr>
                                      <p:to>
                                        <p:strVal val="visible"/>
                                      </p:to>
                                    </p:set>
                                    <p:animEffect transition="in" filter="wipe(left)">
                                      <p:cBhvr>
                                        <p:cTn id="19" dur="500"/>
                                        <p:tgtEl>
                                          <p:spTgt spid="32"/>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childTnLst>
                          </p:cTn>
                        </p:par>
                        <p:par>
                          <p:cTn id="23" fill="hold">
                            <p:stCondLst>
                              <p:cond delay="1250"/>
                            </p:stCondLst>
                            <p:childTnLst>
                              <p:par>
                                <p:cTn id="24" presetID="10" presetClass="entr" presetSubtype="0" fill="hold" grpId="0" nodeType="after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childTnLst>
                          </p:cTn>
                        </p:par>
                        <p:par>
                          <p:cTn id="27" fill="hold">
                            <p:stCondLst>
                              <p:cond delay="1750"/>
                            </p:stCondLst>
                            <p:childTnLst>
                              <p:par>
                                <p:cTn id="28" presetID="10" presetClass="entr" presetSubtype="0" fill="hold" nodeType="afterEffect">
                                  <p:stCondLst>
                                    <p:cond delay="0"/>
                                  </p:stCondLst>
                                  <p:childTnLst>
                                    <p:set>
                                      <p:cBhvr>
                                        <p:cTn id="29" dur="1" fill="hold">
                                          <p:stCondLst>
                                            <p:cond delay="0"/>
                                          </p:stCondLst>
                                        </p:cTn>
                                        <p:tgtEl>
                                          <p:spTgt spid="27"/>
                                        </p:tgtEl>
                                        <p:attrNameLst>
                                          <p:attrName>style.visibility</p:attrName>
                                        </p:attrNameLst>
                                      </p:cBhvr>
                                      <p:to>
                                        <p:strVal val="visible"/>
                                      </p:to>
                                    </p:set>
                                    <p:animEffect transition="in" filter="fade">
                                      <p:cBhvr>
                                        <p:cTn id="30" dur="500"/>
                                        <p:tgtEl>
                                          <p:spTgt spid="27"/>
                                        </p:tgtEl>
                                      </p:cBhvr>
                                    </p:animEffect>
                                  </p:childTnLst>
                                </p:cTn>
                              </p:par>
                            </p:childTnLst>
                          </p:cTn>
                        </p:par>
                        <p:par>
                          <p:cTn id="31" fill="hold">
                            <p:stCondLst>
                              <p:cond delay="2250"/>
                            </p:stCondLst>
                            <p:childTnLst>
                              <p:par>
                                <p:cTn id="32" presetID="10" presetClass="entr" presetSubtype="0" fill="hold" nodeType="after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childTnLst>
                                </p:cTn>
                              </p:par>
                            </p:childTnLst>
                          </p:cTn>
                        </p:par>
                        <p:par>
                          <p:cTn id="35" fill="hold">
                            <p:stCondLst>
                              <p:cond delay="2750"/>
                            </p:stCondLst>
                            <p:childTnLst>
                              <p:par>
                                <p:cTn id="36" presetID="10" presetClass="entr" presetSubtype="0" fill="hold" nodeType="after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childTnLst>
                          </p:cTn>
                        </p:par>
                        <p:par>
                          <p:cTn id="39" fill="hold">
                            <p:stCondLst>
                              <p:cond delay="3250"/>
                            </p:stCondLst>
                            <p:childTnLst>
                              <p:par>
                                <p:cTn id="40" presetID="10" presetClass="entr" presetSubtype="0" fill="hold" nodeType="after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childTnLst>
                          </p:cTn>
                        </p:par>
                        <p:par>
                          <p:cTn id="43" fill="hold">
                            <p:stCondLst>
                              <p:cond delay="3750"/>
                            </p:stCondLst>
                            <p:childTnLst>
                              <p:par>
                                <p:cTn id="44" presetID="10" presetClass="entr" presetSubtype="0" fill="hold" nodeType="after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500"/>
                                        <p:tgtEl>
                                          <p:spTgt spid="31"/>
                                        </p:tgtEl>
                                      </p:cBhvr>
                                    </p:animEffect>
                                  </p:childTnLst>
                                </p:cTn>
                              </p:par>
                            </p:childTnLst>
                          </p:cTn>
                        </p:par>
                        <p:par>
                          <p:cTn id="47" fill="hold">
                            <p:stCondLst>
                              <p:cond delay="4250"/>
                            </p:stCondLst>
                            <p:childTnLst>
                              <p:par>
                                <p:cTn id="48" presetID="53" presetClass="entr" presetSubtype="16" fill="hold" grpId="0" nodeType="afterEffect">
                                  <p:stCondLst>
                                    <p:cond delay="0"/>
                                  </p:stCondLst>
                                  <p:childTnLst>
                                    <p:set>
                                      <p:cBhvr>
                                        <p:cTn id="49" dur="1" fill="hold">
                                          <p:stCondLst>
                                            <p:cond delay="0"/>
                                          </p:stCondLst>
                                        </p:cTn>
                                        <p:tgtEl>
                                          <p:spTgt spid="54"/>
                                        </p:tgtEl>
                                        <p:attrNameLst>
                                          <p:attrName>style.visibility</p:attrName>
                                        </p:attrNameLst>
                                      </p:cBhvr>
                                      <p:to>
                                        <p:strVal val="visible"/>
                                      </p:to>
                                    </p:set>
                                    <p:anim calcmode="lin" valueType="num">
                                      <p:cBhvr>
                                        <p:cTn id="50" dur="500" fill="hold"/>
                                        <p:tgtEl>
                                          <p:spTgt spid="54"/>
                                        </p:tgtEl>
                                        <p:attrNameLst>
                                          <p:attrName>ppt_w</p:attrName>
                                        </p:attrNameLst>
                                      </p:cBhvr>
                                      <p:tavLst>
                                        <p:tav tm="0">
                                          <p:val>
                                            <p:fltVal val="0"/>
                                          </p:val>
                                        </p:tav>
                                        <p:tav tm="100000">
                                          <p:val>
                                            <p:strVal val="#ppt_w"/>
                                          </p:val>
                                        </p:tav>
                                      </p:tavLst>
                                    </p:anim>
                                    <p:anim calcmode="lin" valueType="num">
                                      <p:cBhvr>
                                        <p:cTn id="51" dur="500" fill="hold"/>
                                        <p:tgtEl>
                                          <p:spTgt spid="54"/>
                                        </p:tgtEl>
                                        <p:attrNameLst>
                                          <p:attrName>ppt_h</p:attrName>
                                        </p:attrNameLst>
                                      </p:cBhvr>
                                      <p:tavLst>
                                        <p:tav tm="0">
                                          <p:val>
                                            <p:fltVal val="0"/>
                                          </p:val>
                                        </p:tav>
                                        <p:tav tm="100000">
                                          <p:val>
                                            <p:strVal val="#ppt_h"/>
                                          </p:val>
                                        </p:tav>
                                      </p:tavLst>
                                    </p:anim>
                                    <p:animEffect transition="in" filter="fade">
                                      <p:cBhvr>
                                        <p:cTn id="52" dur="500"/>
                                        <p:tgtEl>
                                          <p:spTgt spid="54"/>
                                        </p:tgtEl>
                                      </p:cBhvr>
                                    </p:animEffect>
                                  </p:childTnLst>
                                </p:cTn>
                              </p:par>
                              <p:par>
                                <p:cTn id="53" presetID="10" presetClass="entr" presetSubtype="0" fill="hold" grpId="0" nodeType="withEffect">
                                  <p:stCondLst>
                                    <p:cond delay="250"/>
                                  </p:stCondLst>
                                  <p:childTnLst>
                                    <p:set>
                                      <p:cBhvr>
                                        <p:cTn id="54" dur="1" fill="hold">
                                          <p:stCondLst>
                                            <p:cond delay="0"/>
                                          </p:stCondLst>
                                        </p:cTn>
                                        <p:tgtEl>
                                          <p:spTgt spid="60"/>
                                        </p:tgtEl>
                                        <p:attrNameLst>
                                          <p:attrName>style.visibility</p:attrName>
                                        </p:attrNameLst>
                                      </p:cBhvr>
                                      <p:to>
                                        <p:strVal val="visible"/>
                                      </p:to>
                                    </p:set>
                                    <p:animEffect transition="in" filter="fade">
                                      <p:cBhvr>
                                        <p:cTn id="55"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5" grpId="1"/>
      <p:bldP spid="54" grpId="0" animBg="1"/>
      <p:bldP spid="36" grpId="0"/>
      <p:bldP spid="39" grpId="0"/>
      <p:bldP spid="18" grpId="0" animBg="1"/>
      <p:bldP spid="6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1DE2964-FEF5-46C3-BB68-8543E596B9EF}"/>
              </a:ext>
            </a:extLst>
          </p:cNvPr>
          <p:cNvSpPr>
            <a:spLocks noGrp="1"/>
          </p:cNvSpPr>
          <p:nvPr>
            <p:ph type="title"/>
          </p:nvPr>
        </p:nvSpPr>
        <p:spPr>
          <a:xfrm>
            <a:off x="0" y="311483"/>
            <a:ext cx="12192000" cy="738664"/>
          </a:xfrm>
        </p:spPr>
        <p:txBody>
          <a:bodyPr/>
          <a:lstStyle/>
          <a:p>
            <a:pPr algn="ctr"/>
            <a:r>
              <a:rPr lang="en-US" sz="4800">
                <a:solidFill>
                  <a:schemeClr val="tx1"/>
                </a:solidFill>
              </a:rPr>
              <a:t>What is a </a:t>
            </a:r>
            <a:r>
              <a:rPr lang="en-US" sz="4800">
                <a:solidFill>
                  <a:schemeClr val="accent1"/>
                </a:solidFill>
                <a:latin typeface="Segoe UI Semibold" panose="020B0702040204020203" pitchFamily="34" charset="0"/>
                <a:cs typeface="Segoe UI Semibold" panose="020B0702040204020203" pitchFamily="34" charset="0"/>
              </a:rPr>
              <a:t>container</a:t>
            </a:r>
            <a:r>
              <a:rPr lang="en-US" sz="4800">
                <a:solidFill>
                  <a:schemeClr val="tx1"/>
                </a:solidFill>
              </a:rPr>
              <a:t>?</a:t>
            </a:r>
          </a:p>
        </p:txBody>
      </p:sp>
      <p:sp>
        <p:nvSpPr>
          <p:cNvPr id="3" name="Rectangle: Rounded Corners 2">
            <a:extLst>
              <a:ext uri="{FF2B5EF4-FFF2-40B4-BE49-F238E27FC236}">
                <a16:creationId xmlns:a16="http://schemas.microsoft.com/office/drawing/2014/main" id="{AA4733D6-E5B2-4C92-AF02-997A1DB2ECBB}"/>
              </a:ext>
            </a:extLst>
          </p:cNvPr>
          <p:cNvSpPr/>
          <p:nvPr/>
        </p:nvSpPr>
        <p:spPr bwMode="auto">
          <a:xfrm>
            <a:off x="966189" y="2817313"/>
            <a:ext cx="5091572" cy="2053103"/>
          </a:xfrm>
          <a:prstGeom prst="roundRect">
            <a:avLst>
              <a:gd name="adj" fmla="val 703"/>
            </a:avLst>
          </a:prstGeom>
          <a:solidFill>
            <a:schemeClr val="bg2">
              <a:lumMod val="75000"/>
              <a:alpha val="2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6" name="Rectangle: Rounded Corners 15">
            <a:extLst>
              <a:ext uri="{FF2B5EF4-FFF2-40B4-BE49-F238E27FC236}">
                <a16:creationId xmlns:a16="http://schemas.microsoft.com/office/drawing/2014/main" id="{6F287BAD-B082-4F79-9EA5-26B8E0906307}"/>
              </a:ext>
            </a:extLst>
          </p:cNvPr>
          <p:cNvSpPr/>
          <p:nvPr/>
        </p:nvSpPr>
        <p:spPr bwMode="auto">
          <a:xfrm>
            <a:off x="6276744" y="2817313"/>
            <a:ext cx="5091572" cy="2053103"/>
          </a:xfrm>
          <a:prstGeom prst="roundRect">
            <a:avLst>
              <a:gd name="adj" fmla="val 703"/>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21" name="TextBox 20">
            <a:extLst>
              <a:ext uri="{FF2B5EF4-FFF2-40B4-BE49-F238E27FC236}">
                <a16:creationId xmlns:a16="http://schemas.microsoft.com/office/drawing/2014/main" id="{7A7B0BDF-BB72-4CCE-ADAD-0E4C6CDDD26B}"/>
              </a:ext>
            </a:extLst>
          </p:cNvPr>
          <p:cNvSpPr txBox="1"/>
          <p:nvPr/>
        </p:nvSpPr>
        <p:spPr>
          <a:xfrm>
            <a:off x="966189" y="2417670"/>
            <a:ext cx="5091572" cy="211209"/>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1372"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Containers</a:t>
            </a:r>
            <a:r>
              <a:rPr kumimoji="0" lang="en-US" sz="1372"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 = operating system virtualization</a:t>
            </a:r>
          </a:p>
        </p:txBody>
      </p:sp>
      <p:sp>
        <p:nvSpPr>
          <p:cNvPr id="22" name="TextBox 21">
            <a:extLst>
              <a:ext uri="{FF2B5EF4-FFF2-40B4-BE49-F238E27FC236}">
                <a16:creationId xmlns:a16="http://schemas.microsoft.com/office/drawing/2014/main" id="{58CD8594-DF79-4270-86F2-B7DFBF1F7C57}"/>
              </a:ext>
            </a:extLst>
          </p:cNvPr>
          <p:cNvSpPr txBox="1"/>
          <p:nvPr/>
        </p:nvSpPr>
        <p:spPr>
          <a:xfrm>
            <a:off x="6276743" y="2417670"/>
            <a:ext cx="5091572" cy="211209"/>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1372"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Traditional virtual machines = hardware virtualization</a:t>
            </a:r>
          </a:p>
        </p:txBody>
      </p:sp>
      <p:sp>
        <p:nvSpPr>
          <p:cNvPr id="27" name="Rectangle: Rounded Corners 26">
            <a:extLst>
              <a:ext uri="{FF2B5EF4-FFF2-40B4-BE49-F238E27FC236}">
                <a16:creationId xmlns:a16="http://schemas.microsoft.com/office/drawing/2014/main" id="{4D6A6962-97DE-4BCD-9D4C-CFE695A2ECCE}"/>
              </a:ext>
            </a:extLst>
          </p:cNvPr>
          <p:cNvSpPr/>
          <p:nvPr/>
        </p:nvSpPr>
        <p:spPr bwMode="auto">
          <a:xfrm>
            <a:off x="1194342" y="2994830"/>
            <a:ext cx="4635263" cy="119557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OS</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7C362033-601D-4384-B785-9BD47725CCCD}"/>
              </a:ext>
            </a:extLst>
          </p:cNvPr>
          <p:cNvSpPr/>
          <p:nvPr/>
        </p:nvSpPr>
        <p:spPr bwMode="auto">
          <a:xfrm>
            <a:off x="2662481" y="3627930"/>
            <a:ext cx="2986526"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a:ea typeface="+mn-ea"/>
                <a:cs typeface="Segoe UI" pitchFamily="34" charset="0"/>
              </a:rPr>
              <a:t>Kernel</a:t>
            </a:r>
          </a:p>
        </p:txBody>
      </p:sp>
      <p:sp>
        <p:nvSpPr>
          <p:cNvPr id="29" name="Rectangle: Rounded Corners 28">
            <a:extLst>
              <a:ext uri="{FF2B5EF4-FFF2-40B4-BE49-F238E27FC236}">
                <a16:creationId xmlns:a16="http://schemas.microsoft.com/office/drawing/2014/main" id="{CEC6B2ED-4455-4BAF-AC73-D88753574AF4}"/>
              </a:ext>
            </a:extLst>
          </p:cNvPr>
          <p:cNvSpPr/>
          <p:nvPr/>
        </p:nvSpPr>
        <p:spPr bwMode="auto">
          <a:xfrm>
            <a:off x="2662482" y="3119523"/>
            <a:ext cx="1291317"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89642"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a:ea typeface="+mn-ea"/>
                <a:cs typeface="Segoe UI" pitchFamily="34" charset="0"/>
              </a:rPr>
              <a:t>Applications</a:t>
            </a:r>
          </a:p>
        </p:txBody>
      </p:sp>
      <p:sp>
        <p:nvSpPr>
          <p:cNvPr id="30" name="Rectangle: Rounded Corners 29">
            <a:extLst>
              <a:ext uri="{FF2B5EF4-FFF2-40B4-BE49-F238E27FC236}">
                <a16:creationId xmlns:a16="http://schemas.microsoft.com/office/drawing/2014/main" id="{C6E79E17-736A-439F-88B1-1F6B352F7CA8}"/>
              </a:ext>
            </a:extLst>
          </p:cNvPr>
          <p:cNvSpPr/>
          <p:nvPr/>
        </p:nvSpPr>
        <p:spPr bwMode="auto">
          <a:xfrm>
            <a:off x="4021816" y="3119523"/>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Container</a:t>
            </a:r>
          </a:p>
        </p:txBody>
      </p:sp>
      <p:sp>
        <p:nvSpPr>
          <p:cNvPr id="34" name="Rectangle: Rounded Corners 33">
            <a:extLst>
              <a:ext uri="{FF2B5EF4-FFF2-40B4-BE49-F238E27FC236}">
                <a16:creationId xmlns:a16="http://schemas.microsoft.com/office/drawing/2014/main" id="{F509314F-77D5-42D3-9C4B-341F248E8230}"/>
              </a:ext>
            </a:extLst>
          </p:cNvPr>
          <p:cNvSpPr/>
          <p:nvPr/>
        </p:nvSpPr>
        <p:spPr bwMode="auto">
          <a:xfrm>
            <a:off x="4586887" y="3119523"/>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Container</a:t>
            </a:r>
          </a:p>
        </p:txBody>
      </p:sp>
      <p:sp>
        <p:nvSpPr>
          <p:cNvPr id="35" name="Rectangle: Rounded Corners 34">
            <a:extLst>
              <a:ext uri="{FF2B5EF4-FFF2-40B4-BE49-F238E27FC236}">
                <a16:creationId xmlns:a16="http://schemas.microsoft.com/office/drawing/2014/main" id="{B0774E70-818F-4224-8F32-6A89874F0B00}"/>
              </a:ext>
            </a:extLst>
          </p:cNvPr>
          <p:cNvSpPr/>
          <p:nvPr/>
        </p:nvSpPr>
        <p:spPr bwMode="auto">
          <a:xfrm>
            <a:off x="5151956" y="3119523"/>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Container</a:t>
            </a:r>
          </a:p>
        </p:txBody>
      </p:sp>
      <p:sp>
        <p:nvSpPr>
          <p:cNvPr id="26" name="Rectangle: Rounded Corners 25">
            <a:extLst>
              <a:ext uri="{FF2B5EF4-FFF2-40B4-BE49-F238E27FC236}">
                <a16:creationId xmlns:a16="http://schemas.microsoft.com/office/drawing/2014/main" id="{57D670EF-8F1E-43D3-8F01-27D64F4D9A7C}"/>
              </a:ext>
            </a:extLst>
          </p:cNvPr>
          <p:cNvSpPr/>
          <p:nvPr/>
        </p:nvSpPr>
        <p:spPr bwMode="auto">
          <a:xfrm>
            <a:off x="1194342" y="4272235"/>
            <a:ext cx="4635263" cy="42066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ardware</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90" name="Rectangle: Rounded Corners 89">
            <a:extLst>
              <a:ext uri="{FF2B5EF4-FFF2-40B4-BE49-F238E27FC236}">
                <a16:creationId xmlns:a16="http://schemas.microsoft.com/office/drawing/2014/main" id="{748E60AC-117B-4FCC-8CF2-B30DA0EA5104}"/>
              </a:ext>
            </a:extLst>
          </p:cNvPr>
          <p:cNvSpPr/>
          <p:nvPr/>
        </p:nvSpPr>
        <p:spPr bwMode="auto">
          <a:xfrm>
            <a:off x="6504897" y="4185894"/>
            <a:ext cx="4635263"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ardware</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93" name="Rectangle: Rounded Corners 92">
            <a:extLst>
              <a:ext uri="{FF2B5EF4-FFF2-40B4-BE49-F238E27FC236}">
                <a16:creationId xmlns:a16="http://schemas.microsoft.com/office/drawing/2014/main" id="{E268CD5D-A926-422F-8E59-4EDA848D4E20}"/>
              </a:ext>
            </a:extLst>
          </p:cNvPr>
          <p:cNvSpPr/>
          <p:nvPr/>
        </p:nvSpPr>
        <p:spPr bwMode="auto">
          <a:xfrm>
            <a:off x="6504897" y="3590363"/>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OS</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96" name="Rectangle: Rounded Corners 95">
            <a:extLst>
              <a:ext uri="{FF2B5EF4-FFF2-40B4-BE49-F238E27FC236}">
                <a16:creationId xmlns:a16="http://schemas.microsoft.com/office/drawing/2014/main" id="{8E0CD7D9-56CB-4445-836A-34DDE1FC1E1B}"/>
              </a:ext>
            </a:extLst>
          </p:cNvPr>
          <p:cNvSpPr/>
          <p:nvPr/>
        </p:nvSpPr>
        <p:spPr bwMode="auto">
          <a:xfrm>
            <a:off x="6504897" y="2994830"/>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Application</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BEF1D284-3066-499A-8EB8-44957256D947}"/>
              </a:ext>
            </a:extLst>
          </p:cNvPr>
          <p:cNvSpPr/>
          <p:nvPr/>
        </p:nvSpPr>
        <p:spPr bwMode="auto">
          <a:xfrm>
            <a:off x="8098612" y="3012978"/>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a:ea typeface="+mn-ea"/>
                <a:cs typeface="Segoe UI" pitchFamily="34" charset="0"/>
              </a:rPr>
              <a:t>VM</a:t>
            </a:r>
          </a:p>
        </p:txBody>
      </p:sp>
      <p:sp>
        <p:nvSpPr>
          <p:cNvPr id="105" name="Rectangle: Rounded Corners 104">
            <a:extLst>
              <a:ext uri="{FF2B5EF4-FFF2-40B4-BE49-F238E27FC236}">
                <a16:creationId xmlns:a16="http://schemas.microsoft.com/office/drawing/2014/main" id="{772B933D-6EC0-41D0-89EC-EFF4882E7139}"/>
              </a:ext>
            </a:extLst>
          </p:cNvPr>
          <p:cNvSpPr/>
          <p:nvPr/>
        </p:nvSpPr>
        <p:spPr bwMode="auto">
          <a:xfrm>
            <a:off x="9137206" y="3012978"/>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a:ea typeface="+mn-ea"/>
                <a:cs typeface="Segoe UI" pitchFamily="34" charset="0"/>
              </a:rPr>
              <a:t>VM</a:t>
            </a:r>
          </a:p>
        </p:txBody>
      </p:sp>
      <p:sp>
        <p:nvSpPr>
          <p:cNvPr id="106" name="Rectangle: Rounded Corners 105">
            <a:extLst>
              <a:ext uri="{FF2B5EF4-FFF2-40B4-BE49-F238E27FC236}">
                <a16:creationId xmlns:a16="http://schemas.microsoft.com/office/drawing/2014/main" id="{353DFD21-8508-4AAA-A691-92DC55D52EC7}"/>
              </a:ext>
            </a:extLst>
          </p:cNvPr>
          <p:cNvSpPr/>
          <p:nvPr/>
        </p:nvSpPr>
        <p:spPr bwMode="auto">
          <a:xfrm>
            <a:off x="10175799" y="3012978"/>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a:ea typeface="+mn-ea"/>
                <a:cs typeface="Segoe UI" pitchFamily="34" charset="0"/>
              </a:rPr>
              <a:t>VM</a:t>
            </a:r>
          </a:p>
        </p:txBody>
      </p:sp>
      <p:sp>
        <p:nvSpPr>
          <p:cNvPr id="108" name="Rectangle: Rounded Corners 107">
            <a:extLst>
              <a:ext uri="{FF2B5EF4-FFF2-40B4-BE49-F238E27FC236}">
                <a16:creationId xmlns:a16="http://schemas.microsoft.com/office/drawing/2014/main" id="{26675C0B-EFED-4C13-A9B8-1E0268AF54F7}"/>
              </a:ext>
            </a:extLst>
          </p:cNvPr>
          <p:cNvSpPr/>
          <p:nvPr/>
        </p:nvSpPr>
        <p:spPr bwMode="auto">
          <a:xfrm>
            <a:off x="8210448" y="3310486"/>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App</a:t>
            </a: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09" name="Rectangle: Rounded Corners 108">
            <a:extLst>
              <a:ext uri="{FF2B5EF4-FFF2-40B4-BE49-F238E27FC236}">
                <a16:creationId xmlns:a16="http://schemas.microsoft.com/office/drawing/2014/main" id="{A655010B-19C6-470C-B985-88EA0AAAAF43}"/>
              </a:ext>
            </a:extLst>
          </p:cNvPr>
          <p:cNvSpPr/>
          <p:nvPr/>
        </p:nvSpPr>
        <p:spPr bwMode="auto">
          <a:xfrm>
            <a:off x="8210448" y="3696536"/>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OS</a:t>
            </a: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12" name="Rectangle: Rounded Corners 111">
            <a:extLst>
              <a:ext uri="{FF2B5EF4-FFF2-40B4-BE49-F238E27FC236}">
                <a16:creationId xmlns:a16="http://schemas.microsoft.com/office/drawing/2014/main" id="{92E9FC46-AF60-4F37-99A4-4EA99DA1A41A}"/>
              </a:ext>
            </a:extLst>
          </p:cNvPr>
          <p:cNvSpPr/>
          <p:nvPr/>
        </p:nvSpPr>
        <p:spPr bwMode="auto">
          <a:xfrm>
            <a:off x="9229560" y="3310486"/>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App</a:t>
            </a: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13" name="Rectangle: Rounded Corners 112">
            <a:extLst>
              <a:ext uri="{FF2B5EF4-FFF2-40B4-BE49-F238E27FC236}">
                <a16:creationId xmlns:a16="http://schemas.microsoft.com/office/drawing/2014/main" id="{D3872705-6BCC-40AD-A5C6-B1D95DE5E689}"/>
              </a:ext>
            </a:extLst>
          </p:cNvPr>
          <p:cNvSpPr/>
          <p:nvPr/>
        </p:nvSpPr>
        <p:spPr bwMode="auto">
          <a:xfrm>
            <a:off x="9229560" y="3696536"/>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OS</a:t>
            </a: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15" name="Rectangle: Rounded Corners 114">
            <a:extLst>
              <a:ext uri="{FF2B5EF4-FFF2-40B4-BE49-F238E27FC236}">
                <a16:creationId xmlns:a16="http://schemas.microsoft.com/office/drawing/2014/main" id="{BF0208AD-E0D5-4B6F-A8E4-14ADA84F7443}"/>
              </a:ext>
            </a:extLst>
          </p:cNvPr>
          <p:cNvSpPr/>
          <p:nvPr/>
        </p:nvSpPr>
        <p:spPr bwMode="auto">
          <a:xfrm>
            <a:off x="10271858" y="3310486"/>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App</a:t>
            </a: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16" name="Rectangle: Rounded Corners 115">
            <a:extLst>
              <a:ext uri="{FF2B5EF4-FFF2-40B4-BE49-F238E27FC236}">
                <a16:creationId xmlns:a16="http://schemas.microsoft.com/office/drawing/2014/main" id="{8564E020-BC1F-4FB3-87F4-A998F0A4C4F9}"/>
              </a:ext>
            </a:extLst>
          </p:cNvPr>
          <p:cNvSpPr/>
          <p:nvPr/>
        </p:nvSpPr>
        <p:spPr bwMode="auto">
          <a:xfrm>
            <a:off x="10271858" y="3696536"/>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OS</a:t>
            </a: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68" name="Group 167">
            <a:extLst>
              <a:ext uri="{FF2B5EF4-FFF2-40B4-BE49-F238E27FC236}">
                <a16:creationId xmlns:a16="http://schemas.microsoft.com/office/drawing/2014/main" id="{A241511F-24B3-43F1-9CC5-D228FAC2E68C}"/>
              </a:ext>
            </a:extLst>
          </p:cNvPr>
          <p:cNvGrpSpPr/>
          <p:nvPr/>
        </p:nvGrpSpPr>
        <p:grpSpPr>
          <a:xfrm>
            <a:off x="2767904" y="3713135"/>
            <a:ext cx="254081" cy="259187"/>
            <a:chOff x="893763" y="-434975"/>
            <a:chExt cx="869950" cy="869950"/>
          </a:xfrm>
        </p:grpSpPr>
        <p:sp>
          <p:nvSpPr>
            <p:cNvPr id="169" name="Freeform 12">
              <a:extLst>
                <a:ext uri="{FF2B5EF4-FFF2-40B4-BE49-F238E27FC236}">
                  <a16:creationId xmlns:a16="http://schemas.microsoft.com/office/drawing/2014/main" id="{68C5B4CE-E4FE-4C2E-9671-5926F6E1D9D9}"/>
                </a:ext>
              </a:extLst>
            </p:cNvPr>
            <p:cNvSpPr>
              <a:spLocks/>
            </p:cNvSpPr>
            <p:nvPr/>
          </p:nvSpPr>
          <p:spPr bwMode="auto">
            <a:xfrm>
              <a:off x="1158142" y="-179534"/>
              <a:ext cx="345953" cy="359073"/>
            </a:xfrm>
            <a:custGeom>
              <a:avLst/>
              <a:gdLst>
                <a:gd name="T0" fmla="*/ 125 w 142"/>
                <a:gd name="T1" fmla="*/ 146 h 146"/>
                <a:gd name="T2" fmla="*/ 18 w 142"/>
                <a:gd name="T3" fmla="*/ 146 h 146"/>
                <a:gd name="T4" fmla="*/ 0 w 142"/>
                <a:gd name="T5" fmla="*/ 128 h 146"/>
                <a:gd name="T6" fmla="*/ 0 w 142"/>
                <a:gd name="T7" fmla="*/ 19 h 146"/>
                <a:gd name="T8" fmla="*/ 18 w 142"/>
                <a:gd name="T9" fmla="*/ 0 h 146"/>
                <a:gd name="T10" fmla="*/ 125 w 142"/>
                <a:gd name="T11" fmla="*/ 0 h 146"/>
                <a:gd name="T12" fmla="*/ 142 w 142"/>
                <a:gd name="T13" fmla="*/ 19 h 146"/>
                <a:gd name="T14" fmla="*/ 142 w 142"/>
                <a:gd name="T15" fmla="*/ 128 h 146"/>
                <a:gd name="T16" fmla="*/ 125 w 142"/>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6">
                  <a:moveTo>
                    <a:pt x="125" y="146"/>
                  </a:moveTo>
                  <a:cubicBezTo>
                    <a:pt x="18" y="146"/>
                    <a:pt x="18" y="146"/>
                    <a:pt x="18" y="146"/>
                  </a:cubicBezTo>
                  <a:cubicBezTo>
                    <a:pt x="8" y="146"/>
                    <a:pt x="0" y="138"/>
                    <a:pt x="0" y="128"/>
                  </a:cubicBezTo>
                  <a:cubicBezTo>
                    <a:pt x="0" y="19"/>
                    <a:pt x="0" y="19"/>
                    <a:pt x="0" y="19"/>
                  </a:cubicBezTo>
                  <a:cubicBezTo>
                    <a:pt x="0" y="9"/>
                    <a:pt x="8" y="0"/>
                    <a:pt x="18" y="0"/>
                  </a:cubicBezTo>
                  <a:cubicBezTo>
                    <a:pt x="125" y="0"/>
                    <a:pt x="125" y="0"/>
                    <a:pt x="125" y="0"/>
                  </a:cubicBezTo>
                  <a:cubicBezTo>
                    <a:pt x="134" y="0"/>
                    <a:pt x="142" y="9"/>
                    <a:pt x="142" y="19"/>
                  </a:cubicBezTo>
                  <a:cubicBezTo>
                    <a:pt x="142" y="128"/>
                    <a:pt x="142" y="128"/>
                    <a:pt x="142" y="128"/>
                  </a:cubicBezTo>
                  <a:cubicBezTo>
                    <a:pt x="142" y="138"/>
                    <a:pt x="134" y="146"/>
                    <a:pt x="125" y="146"/>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0" name="Rectangle 13">
              <a:extLst>
                <a:ext uri="{FF2B5EF4-FFF2-40B4-BE49-F238E27FC236}">
                  <a16:creationId xmlns:a16="http://schemas.microsoft.com/office/drawing/2014/main" id="{46EBC802-8C1E-4DB9-A80F-D3A6E710BC78}"/>
                </a:ext>
              </a:extLst>
            </p:cNvPr>
            <p:cNvSpPr>
              <a:spLocks noChangeArrowheads="1"/>
            </p:cNvSpPr>
            <p:nvPr/>
          </p:nvSpPr>
          <p:spPr bwMode="auto">
            <a:xfrm>
              <a:off x="1006475" y="-325438"/>
              <a:ext cx="641350" cy="650876"/>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1" name="Line 14">
              <a:extLst>
                <a:ext uri="{FF2B5EF4-FFF2-40B4-BE49-F238E27FC236}">
                  <a16:creationId xmlns:a16="http://schemas.microsoft.com/office/drawing/2014/main" id="{EEF3816F-65D4-4F35-B9EA-6253851B2025}"/>
                </a:ext>
              </a:extLst>
            </p:cNvPr>
            <p:cNvSpPr>
              <a:spLocks noChangeShapeType="1"/>
            </p:cNvSpPr>
            <p:nvPr/>
          </p:nvSpPr>
          <p:spPr bwMode="auto">
            <a:xfrm flipV="1">
              <a:off x="111918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2" name="Line 15">
              <a:extLst>
                <a:ext uri="{FF2B5EF4-FFF2-40B4-BE49-F238E27FC236}">
                  <a16:creationId xmlns:a16="http://schemas.microsoft.com/office/drawing/2014/main" id="{99527B1A-A21D-4013-B147-CE77490F1CA1}"/>
                </a:ext>
              </a:extLst>
            </p:cNvPr>
            <p:cNvSpPr>
              <a:spLocks noChangeShapeType="1"/>
            </p:cNvSpPr>
            <p:nvPr/>
          </p:nvSpPr>
          <p:spPr bwMode="auto">
            <a:xfrm flipV="1">
              <a:off x="1325563"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3" name="Line 16">
              <a:extLst>
                <a:ext uri="{FF2B5EF4-FFF2-40B4-BE49-F238E27FC236}">
                  <a16:creationId xmlns:a16="http://schemas.microsoft.com/office/drawing/2014/main" id="{7BE68B0A-B2DC-4E9B-9071-1004E094BFE4}"/>
                </a:ext>
              </a:extLst>
            </p:cNvPr>
            <p:cNvSpPr>
              <a:spLocks noChangeShapeType="1"/>
            </p:cNvSpPr>
            <p:nvPr/>
          </p:nvSpPr>
          <p:spPr bwMode="auto">
            <a:xfrm flipV="1">
              <a:off x="153193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4" name="Line 17">
              <a:extLst>
                <a:ext uri="{FF2B5EF4-FFF2-40B4-BE49-F238E27FC236}">
                  <a16:creationId xmlns:a16="http://schemas.microsoft.com/office/drawing/2014/main" id="{E3C82854-DD56-4095-8DE6-101B06269BEC}"/>
                </a:ext>
              </a:extLst>
            </p:cNvPr>
            <p:cNvSpPr>
              <a:spLocks noChangeShapeType="1"/>
            </p:cNvSpPr>
            <p:nvPr/>
          </p:nvSpPr>
          <p:spPr bwMode="auto">
            <a:xfrm flipV="1">
              <a:off x="111918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5" name="Line 18">
              <a:extLst>
                <a:ext uri="{FF2B5EF4-FFF2-40B4-BE49-F238E27FC236}">
                  <a16:creationId xmlns:a16="http://schemas.microsoft.com/office/drawing/2014/main" id="{888F2497-117B-4E09-9FC8-48FFC9408EEF}"/>
                </a:ext>
              </a:extLst>
            </p:cNvPr>
            <p:cNvSpPr>
              <a:spLocks noChangeShapeType="1"/>
            </p:cNvSpPr>
            <p:nvPr/>
          </p:nvSpPr>
          <p:spPr bwMode="auto">
            <a:xfrm flipV="1">
              <a:off x="1325563"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6" name="Line 19">
              <a:extLst>
                <a:ext uri="{FF2B5EF4-FFF2-40B4-BE49-F238E27FC236}">
                  <a16:creationId xmlns:a16="http://schemas.microsoft.com/office/drawing/2014/main" id="{90257D77-D4B6-4F3D-A9E9-261BFB6F2E80}"/>
                </a:ext>
              </a:extLst>
            </p:cNvPr>
            <p:cNvSpPr>
              <a:spLocks noChangeShapeType="1"/>
            </p:cNvSpPr>
            <p:nvPr/>
          </p:nvSpPr>
          <p:spPr bwMode="auto">
            <a:xfrm flipV="1">
              <a:off x="153193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7" name="Line 20">
              <a:extLst>
                <a:ext uri="{FF2B5EF4-FFF2-40B4-BE49-F238E27FC236}">
                  <a16:creationId xmlns:a16="http://schemas.microsoft.com/office/drawing/2014/main" id="{C2ED882D-21A0-4034-A7DB-51D5062D5A66}"/>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8" name="Line 22">
              <a:extLst>
                <a:ext uri="{FF2B5EF4-FFF2-40B4-BE49-F238E27FC236}">
                  <a16:creationId xmlns:a16="http://schemas.microsoft.com/office/drawing/2014/main" id="{9A39EB23-DEC3-4A91-A262-B84E039DC878}"/>
                </a:ext>
              </a:extLst>
            </p:cNvPr>
            <p:cNvSpPr>
              <a:spLocks noChangeShapeType="1"/>
            </p:cNvSpPr>
            <p:nvPr/>
          </p:nvSpPr>
          <p:spPr bwMode="auto">
            <a:xfrm>
              <a:off x="1662113" y="0"/>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9" name="Line 23">
              <a:extLst>
                <a:ext uri="{FF2B5EF4-FFF2-40B4-BE49-F238E27FC236}">
                  <a16:creationId xmlns:a16="http://schemas.microsoft.com/office/drawing/2014/main" id="{898BEF5F-060E-4476-A087-F8D2007A0EDC}"/>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0" name="Line 24">
              <a:extLst>
                <a:ext uri="{FF2B5EF4-FFF2-40B4-BE49-F238E27FC236}">
                  <a16:creationId xmlns:a16="http://schemas.microsoft.com/office/drawing/2014/main" id="{A990858B-955C-4DF8-AD20-043E48C8B9EF}"/>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1" name="Line 25">
              <a:extLst>
                <a:ext uri="{FF2B5EF4-FFF2-40B4-BE49-F238E27FC236}">
                  <a16:creationId xmlns:a16="http://schemas.microsoft.com/office/drawing/2014/main" id="{76134822-0AA5-4C4A-B174-409BD3BCD77D}"/>
                </a:ext>
              </a:extLst>
            </p:cNvPr>
            <p:cNvSpPr>
              <a:spLocks noChangeShapeType="1"/>
            </p:cNvSpPr>
            <p:nvPr/>
          </p:nvSpPr>
          <p:spPr bwMode="auto">
            <a:xfrm>
              <a:off x="893763" y="0"/>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2" name="Line 26">
              <a:extLst>
                <a:ext uri="{FF2B5EF4-FFF2-40B4-BE49-F238E27FC236}">
                  <a16:creationId xmlns:a16="http://schemas.microsoft.com/office/drawing/2014/main" id="{05603068-005A-47E4-AB91-428774B577E7}"/>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3" name="Group 182">
            <a:extLst>
              <a:ext uri="{FF2B5EF4-FFF2-40B4-BE49-F238E27FC236}">
                <a16:creationId xmlns:a16="http://schemas.microsoft.com/office/drawing/2014/main" id="{03C4CA92-8D40-427E-9600-82B9926C0A3D}"/>
              </a:ext>
            </a:extLst>
          </p:cNvPr>
          <p:cNvGrpSpPr/>
          <p:nvPr/>
        </p:nvGrpSpPr>
        <p:grpSpPr>
          <a:xfrm>
            <a:off x="4190624" y="3294995"/>
            <a:ext cx="159438" cy="174483"/>
            <a:chOff x="-159879" y="3757361"/>
            <a:chExt cx="777240" cy="850583"/>
          </a:xfrm>
        </p:grpSpPr>
        <p:sp>
          <p:nvSpPr>
            <p:cNvPr id="184" name="Freeform: Shape 183">
              <a:extLst>
                <a:ext uri="{FF2B5EF4-FFF2-40B4-BE49-F238E27FC236}">
                  <a16:creationId xmlns:a16="http://schemas.microsoft.com/office/drawing/2014/main" id="{1509B89E-0300-4646-AB5A-379DAC29C555}"/>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FAD857DC-5248-4AEA-BE5C-8AB506D39887}"/>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E6CB25B5-2BDD-41D0-9743-11B4B7DC197A}"/>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7" name="Group 186">
            <a:extLst>
              <a:ext uri="{FF2B5EF4-FFF2-40B4-BE49-F238E27FC236}">
                <a16:creationId xmlns:a16="http://schemas.microsoft.com/office/drawing/2014/main" id="{EF0B1F6D-9565-4ABA-AB14-9858DEECAB4F}"/>
              </a:ext>
            </a:extLst>
          </p:cNvPr>
          <p:cNvGrpSpPr/>
          <p:nvPr/>
        </p:nvGrpSpPr>
        <p:grpSpPr>
          <a:xfrm>
            <a:off x="4755693" y="3294995"/>
            <a:ext cx="159438" cy="174483"/>
            <a:chOff x="-159879" y="3757361"/>
            <a:chExt cx="777240" cy="850583"/>
          </a:xfrm>
        </p:grpSpPr>
        <p:sp>
          <p:nvSpPr>
            <p:cNvPr id="188" name="Freeform: Shape 187">
              <a:extLst>
                <a:ext uri="{FF2B5EF4-FFF2-40B4-BE49-F238E27FC236}">
                  <a16:creationId xmlns:a16="http://schemas.microsoft.com/office/drawing/2014/main" id="{F91C8301-9097-4FB8-80F9-7AB1AEE648F1}"/>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2F6372DA-CE74-43F6-93F4-F6AFE63FC7CB}"/>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D077A1B-A45C-487B-B03D-0F92FA785870}"/>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12CE5A20-CDDE-47EA-B204-A91F994D8C1D}"/>
              </a:ext>
            </a:extLst>
          </p:cNvPr>
          <p:cNvGrpSpPr/>
          <p:nvPr/>
        </p:nvGrpSpPr>
        <p:grpSpPr>
          <a:xfrm>
            <a:off x="5317350" y="3294995"/>
            <a:ext cx="159438" cy="174483"/>
            <a:chOff x="-159879" y="3757361"/>
            <a:chExt cx="777240" cy="850583"/>
          </a:xfrm>
        </p:grpSpPr>
        <p:sp>
          <p:nvSpPr>
            <p:cNvPr id="192" name="Freeform: Shape 191">
              <a:extLst>
                <a:ext uri="{FF2B5EF4-FFF2-40B4-BE49-F238E27FC236}">
                  <a16:creationId xmlns:a16="http://schemas.microsoft.com/office/drawing/2014/main" id="{7636F483-A14E-4B93-87CA-6C12DC48CBFD}"/>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F410D409-8CD3-4CB8-9D08-C26050B43090}"/>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FEEB0ED3-6D1B-4C3C-A970-E7B7378C0BCF}"/>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04" name="Group 203">
            <a:extLst>
              <a:ext uri="{FF2B5EF4-FFF2-40B4-BE49-F238E27FC236}">
                <a16:creationId xmlns:a16="http://schemas.microsoft.com/office/drawing/2014/main" id="{FAB59069-2D0A-43A4-904F-13532EFBD0E5}"/>
              </a:ext>
            </a:extLst>
          </p:cNvPr>
          <p:cNvGrpSpPr/>
          <p:nvPr/>
        </p:nvGrpSpPr>
        <p:grpSpPr>
          <a:xfrm>
            <a:off x="8281162" y="3394893"/>
            <a:ext cx="178398" cy="141002"/>
            <a:chOff x="11757025" y="2832101"/>
            <a:chExt cx="461963" cy="365125"/>
          </a:xfrm>
        </p:grpSpPr>
        <p:sp>
          <p:nvSpPr>
            <p:cNvPr id="198" name="Freeform 30">
              <a:extLst>
                <a:ext uri="{FF2B5EF4-FFF2-40B4-BE49-F238E27FC236}">
                  <a16:creationId xmlns:a16="http://schemas.microsoft.com/office/drawing/2014/main" id="{F9569A1D-EEF9-442C-A11B-D37B3368078A}"/>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9" name="Line 31">
              <a:extLst>
                <a:ext uri="{FF2B5EF4-FFF2-40B4-BE49-F238E27FC236}">
                  <a16:creationId xmlns:a16="http://schemas.microsoft.com/office/drawing/2014/main" id="{D08E60C0-DB74-4354-BF57-17DBCEDB7F2D}"/>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0" name="Oval 32">
              <a:extLst>
                <a:ext uri="{FF2B5EF4-FFF2-40B4-BE49-F238E27FC236}">
                  <a16:creationId xmlns:a16="http://schemas.microsoft.com/office/drawing/2014/main" id="{A0028707-0CD3-4019-901C-1A4CF956D405}"/>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1" name="Oval 33">
              <a:extLst>
                <a:ext uri="{FF2B5EF4-FFF2-40B4-BE49-F238E27FC236}">
                  <a16:creationId xmlns:a16="http://schemas.microsoft.com/office/drawing/2014/main" id="{AE03687D-5207-42E9-9E9A-D1E1894C68AC}"/>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2" name="Oval 34">
              <a:extLst>
                <a:ext uri="{FF2B5EF4-FFF2-40B4-BE49-F238E27FC236}">
                  <a16:creationId xmlns:a16="http://schemas.microsoft.com/office/drawing/2014/main" id="{3D092A5E-EA4F-44DB-8499-639562B71D23}"/>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3" name="Line 35">
              <a:extLst>
                <a:ext uri="{FF2B5EF4-FFF2-40B4-BE49-F238E27FC236}">
                  <a16:creationId xmlns:a16="http://schemas.microsoft.com/office/drawing/2014/main" id="{4BAF6ED3-5B73-437D-928F-81A93767524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05" name="Group 204">
            <a:extLst>
              <a:ext uri="{FF2B5EF4-FFF2-40B4-BE49-F238E27FC236}">
                <a16:creationId xmlns:a16="http://schemas.microsoft.com/office/drawing/2014/main" id="{54492DB2-FB5A-44C2-AE1F-1B454978C4CA}"/>
              </a:ext>
            </a:extLst>
          </p:cNvPr>
          <p:cNvGrpSpPr/>
          <p:nvPr/>
        </p:nvGrpSpPr>
        <p:grpSpPr>
          <a:xfrm>
            <a:off x="9305980" y="3394893"/>
            <a:ext cx="178398" cy="141002"/>
            <a:chOff x="11757025" y="2832101"/>
            <a:chExt cx="461963" cy="365125"/>
          </a:xfrm>
        </p:grpSpPr>
        <p:sp>
          <p:nvSpPr>
            <p:cNvPr id="206" name="Freeform 30">
              <a:extLst>
                <a:ext uri="{FF2B5EF4-FFF2-40B4-BE49-F238E27FC236}">
                  <a16:creationId xmlns:a16="http://schemas.microsoft.com/office/drawing/2014/main" id="{14BC03B3-CC84-48FC-AE55-E9ED93163A1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7" name="Line 31">
              <a:extLst>
                <a:ext uri="{FF2B5EF4-FFF2-40B4-BE49-F238E27FC236}">
                  <a16:creationId xmlns:a16="http://schemas.microsoft.com/office/drawing/2014/main" id="{5FCCBB4F-759D-4EAF-A319-93EA85998C5C}"/>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8" name="Oval 32">
              <a:extLst>
                <a:ext uri="{FF2B5EF4-FFF2-40B4-BE49-F238E27FC236}">
                  <a16:creationId xmlns:a16="http://schemas.microsoft.com/office/drawing/2014/main" id="{2703CDE2-8E3A-46E4-9ABD-96DA88F35456}"/>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9" name="Oval 33">
              <a:extLst>
                <a:ext uri="{FF2B5EF4-FFF2-40B4-BE49-F238E27FC236}">
                  <a16:creationId xmlns:a16="http://schemas.microsoft.com/office/drawing/2014/main" id="{1FD4A593-6CA8-45C2-842A-64977A638F0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0" name="Oval 34">
              <a:extLst>
                <a:ext uri="{FF2B5EF4-FFF2-40B4-BE49-F238E27FC236}">
                  <a16:creationId xmlns:a16="http://schemas.microsoft.com/office/drawing/2014/main" id="{C2E1D9D1-BD11-4C91-9503-1F23EC68DFC2}"/>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1" name="Line 35">
              <a:extLst>
                <a:ext uri="{FF2B5EF4-FFF2-40B4-BE49-F238E27FC236}">
                  <a16:creationId xmlns:a16="http://schemas.microsoft.com/office/drawing/2014/main" id="{FD300B83-9EC3-41FE-BA6F-F6CEA8291161}"/>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12" name="Group 211">
            <a:extLst>
              <a:ext uri="{FF2B5EF4-FFF2-40B4-BE49-F238E27FC236}">
                <a16:creationId xmlns:a16="http://schemas.microsoft.com/office/drawing/2014/main" id="{3C2F77E7-ECFE-4BB1-A0E6-F938F52AF472}"/>
              </a:ext>
            </a:extLst>
          </p:cNvPr>
          <p:cNvGrpSpPr/>
          <p:nvPr/>
        </p:nvGrpSpPr>
        <p:grpSpPr>
          <a:xfrm>
            <a:off x="10354143" y="3394893"/>
            <a:ext cx="178398" cy="141002"/>
            <a:chOff x="11757025" y="2832101"/>
            <a:chExt cx="461963" cy="365125"/>
          </a:xfrm>
        </p:grpSpPr>
        <p:sp>
          <p:nvSpPr>
            <p:cNvPr id="213" name="Freeform 30">
              <a:extLst>
                <a:ext uri="{FF2B5EF4-FFF2-40B4-BE49-F238E27FC236}">
                  <a16:creationId xmlns:a16="http://schemas.microsoft.com/office/drawing/2014/main" id="{8E4E4286-A77D-4CF3-90C4-82F72565E91B}"/>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4" name="Line 31">
              <a:extLst>
                <a:ext uri="{FF2B5EF4-FFF2-40B4-BE49-F238E27FC236}">
                  <a16:creationId xmlns:a16="http://schemas.microsoft.com/office/drawing/2014/main" id="{5897BEA2-FF97-4218-8476-CAA7A8D4ABE2}"/>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5" name="Oval 32">
              <a:extLst>
                <a:ext uri="{FF2B5EF4-FFF2-40B4-BE49-F238E27FC236}">
                  <a16:creationId xmlns:a16="http://schemas.microsoft.com/office/drawing/2014/main" id="{88F7696B-5185-43D3-AC02-82B97D2DE50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6" name="Oval 33">
              <a:extLst>
                <a:ext uri="{FF2B5EF4-FFF2-40B4-BE49-F238E27FC236}">
                  <a16:creationId xmlns:a16="http://schemas.microsoft.com/office/drawing/2014/main" id="{CD93962D-D183-4C40-B67F-CD842B779F4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7" name="Oval 34">
              <a:extLst>
                <a:ext uri="{FF2B5EF4-FFF2-40B4-BE49-F238E27FC236}">
                  <a16:creationId xmlns:a16="http://schemas.microsoft.com/office/drawing/2014/main" id="{81272A27-A837-44DB-B732-D2F4F23D8FFF}"/>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8" name="Line 35">
              <a:extLst>
                <a:ext uri="{FF2B5EF4-FFF2-40B4-BE49-F238E27FC236}">
                  <a16:creationId xmlns:a16="http://schemas.microsoft.com/office/drawing/2014/main" id="{18C5F749-6746-4367-9418-AD4CB714283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19" name="Group 218">
            <a:extLst>
              <a:ext uri="{FF2B5EF4-FFF2-40B4-BE49-F238E27FC236}">
                <a16:creationId xmlns:a16="http://schemas.microsoft.com/office/drawing/2014/main" id="{3E4AFB40-3CE4-4DB4-9E4F-575108CA8142}"/>
              </a:ext>
            </a:extLst>
          </p:cNvPr>
          <p:cNvGrpSpPr/>
          <p:nvPr/>
        </p:nvGrpSpPr>
        <p:grpSpPr>
          <a:xfrm>
            <a:off x="6673289" y="3135228"/>
            <a:ext cx="269165" cy="212739"/>
            <a:chOff x="11757025" y="2832101"/>
            <a:chExt cx="461963" cy="365125"/>
          </a:xfrm>
        </p:grpSpPr>
        <p:sp>
          <p:nvSpPr>
            <p:cNvPr id="220" name="Freeform 30">
              <a:extLst>
                <a:ext uri="{FF2B5EF4-FFF2-40B4-BE49-F238E27FC236}">
                  <a16:creationId xmlns:a16="http://schemas.microsoft.com/office/drawing/2014/main" id="{BEBA5178-7D14-4BEF-87C1-29CC48CBC5C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21" name="Line 31">
              <a:extLst>
                <a:ext uri="{FF2B5EF4-FFF2-40B4-BE49-F238E27FC236}">
                  <a16:creationId xmlns:a16="http://schemas.microsoft.com/office/drawing/2014/main" id="{BF4B44F4-8346-49BF-923D-3C56D604BA7B}"/>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22" name="Oval 32">
              <a:extLst>
                <a:ext uri="{FF2B5EF4-FFF2-40B4-BE49-F238E27FC236}">
                  <a16:creationId xmlns:a16="http://schemas.microsoft.com/office/drawing/2014/main" id="{99CB9415-EA61-46D1-A9C2-83C31731F9B9}"/>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23" name="Oval 33">
              <a:extLst>
                <a:ext uri="{FF2B5EF4-FFF2-40B4-BE49-F238E27FC236}">
                  <a16:creationId xmlns:a16="http://schemas.microsoft.com/office/drawing/2014/main" id="{53DB2FFB-BF5B-4DD7-8FE4-FD753DC5D16D}"/>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24" name="Oval 34">
              <a:extLst>
                <a:ext uri="{FF2B5EF4-FFF2-40B4-BE49-F238E27FC236}">
                  <a16:creationId xmlns:a16="http://schemas.microsoft.com/office/drawing/2014/main" id="{46561795-C5F1-41A5-A686-6608461822F0}"/>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25" name="Line 35">
              <a:extLst>
                <a:ext uri="{FF2B5EF4-FFF2-40B4-BE49-F238E27FC236}">
                  <a16:creationId xmlns:a16="http://schemas.microsoft.com/office/drawing/2014/main" id="{24263E2A-35F2-4CCB-ABEC-9645F04369A2}"/>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32" name="Group 231">
            <a:extLst>
              <a:ext uri="{FF2B5EF4-FFF2-40B4-BE49-F238E27FC236}">
                <a16:creationId xmlns:a16="http://schemas.microsoft.com/office/drawing/2014/main" id="{F4A4EE3D-6BF3-4BF8-A891-7A0F8A24B49A}"/>
              </a:ext>
            </a:extLst>
          </p:cNvPr>
          <p:cNvGrpSpPr/>
          <p:nvPr/>
        </p:nvGrpSpPr>
        <p:grpSpPr>
          <a:xfrm>
            <a:off x="6671277" y="3740589"/>
            <a:ext cx="277856" cy="206552"/>
            <a:chOff x="11622088" y="3221038"/>
            <a:chExt cx="958850" cy="712788"/>
          </a:xfrm>
        </p:grpSpPr>
        <p:sp>
          <p:nvSpPr>
            <p:cNvPr id="229" name="Rectangle 39">
              <a:extLst>
                <a:ext uri="{FF2B5EF4-FFF2-40B4-BE49-F238E27FC236}">
                  <a16:creationId xmlns:a16="http://schemas.microsoft.com/office/drawing/2014/main" id="{ABD473A9-E10A-4969-AFDB-75580412E216}"/>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30" name="Line 40">
              <a:extLst>
                <a:ext uri="{FF2B5EF4-FFF2-40B4-BE49-F238E27FC236}">
                  <a16:creationId xmlns:a16="http://schemas.microsoft.com/office/drawing/2014/main" id="{E552157B-3155-4C67-91FE-6D6B4C73823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31" name="Line 41">
              <a:extLst>
                <a:ext uri="{FF2B5EF4-FFF2-40B4-BE49-F238E27FC236}">
                  <a16:creationId xmlns:a16="http://schemas.microsoft.com/office/drawing/2014/main" id="{B7F32FDD-A63A-4FA0-B5BA-EF8E140A111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33" name="Group 232">
            <a:extLst>
              <a:ext uri="{FF2B5EF4-FFF2-40B4-BE49-F238E27FC236}">
                <a16:creationId xmlns:a16="http://schemas.microsoft.com/office/drawing/2014/main" id="{A8435B0D-CDB0-4D24-BA5B-1F8753FDAE99}"/>
              </a:ext>
            </a:extLst>
          </p:cNvPr>
          <p:cNvGrpSpPr/>
          <p:nvPr/>
        </p:nvGrpSpPr>
        <p:grpSpPr>
          <a:xfrm>
            <a:off x="1345438" y="3489341"/>
            <a:ext cx="277856" cy="206552"/>
            <a:chOff x="11622088" y="3221038"/>
            <a:chExt cx="958850" cy="712788"/>
          </a:xfrm>
        </p:grpSpPr>
        <p:sp>
          <p:nvSpPr>
            <p:cNvPr id="234" name="Rectangle 39">
              <a:extLst>
                <a:ext uri="{FF2B5EF4-FFF2-40B4-BE49-F238E27FC236}">
                  <a16:creationId xmlns:a16="http://schemas.microsoft.com/office/drawing/2014/main" id="{C9973977-B23C-4F8E-AB97-BFE5C0C58EAC}"/>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35" name="Line 40">
              <a:extLst>
                <a:ext uri="{FF2B5EF4-FFF2-40B4-BE49-F238E27FC236}">
                  <a16:creationId xmlns:a16="http://schemas.microsoft.com/office/drawing/2014/main" id="{81652571-31CF-40C6-B38D-EA931F243836}"/>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36" name="Line 41">
              <a:extLst>
                <a:ext uri="{FF2B5EF4-FFF2-40B4-BE49-F238E27FC236}">
                  <a16:creationId xmlns:a16="http://schemas.microsoft.com/office/drawing/2014/main" id="{A7E4E774-DD22-4B8E-BF27-07DF61949E38}"/>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45" name="Group 244">
            <a:extLst>
              <a:ext uri="{FF2B5EF4-FFF2-40B4-BE49-F238E27FC236}">
                <a16:creationId xmlns:a16="http://schemas.microsoft.com/office/drawing/2014/main" id="{6D95307F-050E-4F19-BFCF-B391CCB651DE}"/>
              </a:ext>
            </a:extLst>
          </p:cNvPr>
          <p:cNvGrpSpPr/>
          <p:nvPr/>
        </p:nvGrpSpPr>
        <p:grpSpPr>
          <a:xfrm>
            <a:off x="2754338" y="3230906"/>
            <a:ext cx="258662" cy="204439"/>
            <a:chOff x="11757025" y="2832101"/>
            <a:chExt cx="461963" cy="365125"/>
          </a:xfrm>
        </p:grpSpPr>
        <p:sp>
          <p:nvSpPr>
            <p:cNvPr id="246" name="Freeform 30">
              <a:extLst>
                <a:ext uri="{FF2B5EF4-FFF2-40B4-BE49-F238E27FC236}">
                  <a16:creationId xmlns:a16="http://schemas.microsoft.com/office/drawing/2014/main" id="{C24FCAB9-CBF8-4B27-B1E6-2FCBC7A9A444}"/>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47" name="Line 31">
              <a:extLst>
                <a:ext uri="{FF2B5EF4-FFF2-40B4-BE49-F238E27FC236}">
                  <a16:creationId xmlns:a16="http://schemas.microsoft.com/office/drawing/2014/main" id="{6B7EAFE1-8EEF-401F-8243-920633218659}"/>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48" name="Oval 32">
              <a:extLst>
                <a:ext uri="{FF2B5EF4-FFF2-40B4-BE49-F238E27FC236}">
                  <a16:creationId xmlns:a16="http://schemas.microsoft.com/office/drawing/2014/main" id="{7380DF2B-C5C8-4FE3-B928-A0EF77C8484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49" name="Oval 33">
              <a:extLst>
                <a:ext uri="{FF2B5EF4-FFF2-40B4-BE49-F238E27FC236}">
                  <a16:creationId xmlns:a16="http://schemas.microsoft.com/office/drawing/2014/main" id="{D568CEDD-128D-4BAF-AC61-8A86BBC2638E}"/>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50" name="Oval 34">
              <a:extLst>
                <a:ext uri="{FF2B5EF4-FFF2-40B4-BE49-F238E27FC236}">
                  <a16:creationId xmlns:a16="http://schemas.microsoft.com/office/drawing/2014/main" id="{A0AE1B40-1509-46F9-BC43-3A54B43A6B6E}"/>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51" name="Line 35">
              <a:extLst>
                <a:ext uri="{FF2B5EF4-FFF2-40B4-BE49-F238E27FC236}">
                  <a16:creationId xmlns:a16="http://schemas.microsoft.com/office/drawing/2014/main" id="{DB10F781-BB21-4E8E-880F-F9D680285989}"/>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52" name="Group 251">
            <a:extLst>
              <a:ext uri="{FF2B5EF4-FFF2-40B4-BE49-F238E27FC236}">
                <a16:creationId xmlns:a16="http://schemas.microsoft.com/office/drawing/2014/main" id="{A713F0D8-D88D-4E16-A33C-66D659069251}"/>
              </a:ext>
            </a:extLst>
          </p:cNvPr>
          <p:cNvGrpSpPr/>
          <p:nvPr/>
        </p:nvGrpSpPr>
        <p:grpSpPr>
          <a:xfrm>
            <a:off x="8277148" y="3775416"/>
            <a:ext cx="190716" cy="141773"/>
            <a:chOff x="11622088" y="3221038"/>
            <a:chExt cx="958850" cy="712788"/>
          </a:xfrm>
        </p:grpSpPr>
        <p:sp>
          <p:nvSpPr>
            <p:cNvPr id="253" name="Rectangle 39">
              <a:extLst>
                <a:ext uri="{FF2B5EF4-FFF2-40B4-BE49-F238E27FC236}">
                  <a16:creationId xmlns:a16="http://schemas.microsoft.com/office/drawing/2014/main" id="{007CF272-E03A-4A78-A1AB-50068427483A}"/>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54" name="Line 40">
              <a:extLst>
                <a:ext uri="{FF2B5EF4-FFF2-40B4-BE49-F238E27FC236}">
                  <a16:creationId xmlns:a16="http://schemas.microsoft.com/office/drawing/2014/main" id="{BB69B924-3933-46DC-AFAC-A19A3F01A143}"/>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55" name="Line 41">
              <a:extLst>
                <a:ext uri="{FF2B5EF4-FFF2-40B4-BE49-F238E27FC236}">
                  <a16:creationId xmlns:a16="http://schemas.microsoft.com/office/drawing/2014/main" id="{F977F4E4-7F96-462D-BFC7-28F89DB609ED}"/>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56" name="Group 255">
            <a:extLst>
              <a:ext uri="{FF2B5EF4-FFF2-40B4-BE49-F238E27FC236}">
                <a16:creationId xmlns:a16="http://schemas.microsoft.com/office/drawing/2014/main" id="{8D2462BE-0B6E-41B9-B0A9-BE56AC001579}"/>
              </a:ext>
            </a:extLst>
          </p:cNvPr>
          <p:cNvGrpSpPr/>
          <p:nvPr/>
        </p:nvGrpSpPr>
        <p:grpSpPr>
          <a:xfrm>
            <a:off x="9301966" y="3775416"/>
            <a:ext cx="190716" cy="141773"/>
            <a:chOff x="11622088" y="3221038"/>
            <a:chExt cx="958850" cy="712788"/>
          </a:xfrm>
        </p:grpSpPr>
        <p:sp>
          <p:nvSpPr>
            <p:cNvPr id="257" name="Rectangle 39">
              <a:extLst>
                <a:ext uri="{FF2B5EF4-FFF2-40B4-BE49-F238E27FC236}">
                  <a16:creationId xmlns:a16="http://schemas.microsoft.com/office/drawing/2014/main" id="{422BDD3C-E2B1-4D18-8113-3BD9B267EF11}"/>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58" name="Line 40">
              <a:extLst>
                <a:ext uri="{FF2B5EF4-FFF2-40B4-BE49-F238E27FC236}">
                  <a16:creationId xmlns:a16="http://schemas.microsoft.com/office/drawing/2014/main" id="{8B35074E-6CD1-4C8F-8E54-9AEE4C3C242A}"/>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59" name="Line 41">
              <a:extLst>
                <a:ext uri="{FF2B5EF4-FFF2-40B4-BE49-F238E27FC236}">
                  <a16:creationId xmlns:a16="http://schemas.microsoft.com/office/drawing/2014/main" id="{AE251507-5591-499F-A7BC-F1327F8338AA}"/>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60" name="Group 259">
            <a:extLst>
              <a:ext uri="{FF2B5EF4-FFF2-40B4-BE49-F238E27FC236}">
                <a16:creationId xmlns:a16="http://schemas.microsoft.com/office/drawing/2014/main" id="{B304C19C-778A-4D5D-A0A8-03E7EC0FDB24}"/>
              </a:ext>
            </a:extLst>
          </p:cNvPr>
          <p:cNvGrpSpPr/>
          <p:nvPr/>
        </p:nvGrpSpPr>
        <p:grpSpPr>
          <a:xfrm>
            <a:off x="10350129" y="3775416"/>
            <a:ext cx="190716" cy="141773"/>
            <a:chOff x="11622088" y="3221038"/>
            <a:chExt cx="958850" cy="712788"/>
          </a:xfrm>
        </p:grpSpPr>
        <p:sp>
          <p:nvSpPr>
            <p:cNvPr id="261" name="Rectangle 39">
              <a:extLst>
                <a:ext uri="{FF2B5EF4-FFF2-40B4-BE49-F238E27FC236}">
                  <a16:creationId xmlns:a16="http://schemas.microsoft.com/office/drawing/2014/main" id="{FC904E75-76E9-4294-B428-037255E98814}"/>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62" name="Line 40">
              <a:extLst>
                <a:ext uri="{FF2B5EF4-FFF2-40B4-BE49-F238E27FC236}">
                  <a16:creationId xmlns:a16="http://schemas.microsoft.com/office/drawing/2014/main" id="{97B97936-DBBB-496A-B937-FDB5E2D4D98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63" name="Line 41">
              <a:extLst>
                <a:ext uri="{FF2B5EF4-FFF2-40B4-BE49-F238E27FC236}">
                  <a16:creationId xmlns:a16="http://schemas.microsoft.com/office/drawing/2014/main" id="{A8F6C515-97ED-4B74-830C-115C8D5C5B6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73" name="Group 272">
            <a:extLst>
              <a:ext uri="{FF2B5EF4-FFF2-40B4-BE49-F238E27FC236}">
                <a16:creationId xmlns:a16="http://schemas.microsoft.com/office/drawing/2014/main" id="{E5F3D612-C066-40D0-AC67-FAA6D14010AB}"/>
              </a:ext>
            </a:extLst>
          </p:cNvPr>
          <p:cNvGrpSpPr/>
          <p:nvPr/>
        </p:nvGrpSpPr>
        <p:grpSpPr>
          <a:xfrm>
            <a:off x="1316676" y="4402288"/>
            <a:ext cx="325277" cy="159390"/>
            <a:chOff x="92603" y="44698"/>
            <a:chExt cx="851960" cy="353283"/>
          </a:xfrm>
        </p:grpSpPr>
        <p:sp>
          <p:nvSpPr>
            <p:cNvPr id="267" name="Oval 32">
              <a:extLst>
                <a:ext uri="{FF2B5EF4-FFF2-40B4-BE49-F238E27FC236}">
                  <a16:creationId xmlns:a16="http://schemas.microsoft.com/office/drawing/2014/main" id="{AA44AA35-1E6B-4B19-A03D-CE3C52504FBF}"/>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68" name="Oval 33">
              <a:extLst>
                <a:ext uri="{FF2B5EF4-FFF2-40B4-BE49-F238E27FC236}">
                  <a16:creationId xmlns:a16="http://schemas.microsoft.com/office/drawing/2014/main" id="{E2E70034-9050-4396-8FD7-97DAED3A4552}"/>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69" name="Oval 34">
              <a:extLst>
                <a:ext uri="{FF2B5EF4-FFF2-40B4-BE49-F238E27FC236}">
                  <a16:creationId xmlns:a16="http://schemas.microsoft.com/office/drawing/2014/main" id="{8652CD93-9F2D-45E0-98CF-807E5C151FA7}"/>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71" name="Rectangle: Rounded Corners 270">
              <a:extLst>
                <a:ext uri="{FF2B5EF4-FFF2-40B4-BE49-F238E27FC236}">
                  <a16:creationId xmlns:a16="http://schemas.microsoft.com/office/drawing/2014/main" id="{2DA5A93A-D2ED-4B50-A894-7104C5443472}"/>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AC03EE4E-A25C-48BB-8357-2B7FF9960601}"/>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1" name="Group 280">
            <a:extLst>
              <a:ext uri="{FF2B5EF4-FFF2-40B4-BE49-F238E27FC236}">
                <a16:creationId xmlns:a16="http://schemas.microsoft.com/office/drawing/2014/main" id="{AD913EA7-B209-47CF-80C8-F591D89C955A}"/>
              </a:ext>
            </a:extLst>
          </p:cNvPr>
          <p:cNvGrpSpPr/>
          <p:nvPr/>
        </p:nvGrpSpPr>
        <p:grpSpPr>
          <a:xfrm>
            <a:off x="6641913" y="4359701"/>
            <a:ext cx="325277" cy="159390"/>
            <a:chOff x="92603" y="44698"/>
            <a:chExt cx="851960" cy="353283"/>
          </a:xfrm>
        </p:grpSpPr>
        <p:sp>
          <p:nvSpPr>
            <p:cNvPr id="282" name="Oval 32">
              <a:extLst>
                <a:ext uri="{FF2B5EF4-FFF2-40B4-BE49-F238E27FC236}">
                  <a16:creationId xmlns:a16="http://schemas.microsoft.com/office/drawing/2014/main" id="{114539FC-BA1F-4E4C-8DE1-5C4175C738A6}"/>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83" name="Oval 33">
              <a:extLst>
                <a:ext uri="{FF2B5EF4-FFF2-40B4-BE49-F238E27FC236}">
                  <a16:creationId xmlns:a16="http://schemas.microsoft.com/office/drawing/2014/main" id="{2116033F-7640-4805-8422-F66CEDC21DB6}"/>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84" name="Oval 34">
              <a:extLst>
                <a:ext uri="{FF2B5EF4-FFF2-40B4-BE49-F238E27FC236}">
                  <a16:creationId xmlns:a16="http://schemas.microsoft.com/office/drawing/2014/main" id="{FD1B307F-1D88-49B9-B928-F89CDBC9F3FF}"/>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85" name="Rectangle: Rounded Corners 284">
              <a:extLst>
                <a:ext uri="{FF2B5EF4-FFF2-40B4-BE49-F238E27FC236}">
                  <a16:creationId xmlns:a16="http://schemas.microsoft.com/office/drawing/2014/main" id="{822E5997-C45E-4133-AD04-C28781FB7753}"/>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6" name="Rectangle: Rounded Corners 285">
              <a:extLst>
                <a:ext uri="{FF2B5EF4-FFF2-40B4-BE49-F238E27FC236}">
                  <a16:creationId xmlns:a16="http://schemas.microsoft.com/office/drawing/2014/main" id="{B1C4D5AD-DC27-4E4F-B7ED-FFF291DC2576}"/>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27" name="Text Placeholder 2">
            <a:extLst>
              <a:ext uri="{FF2B5EF4-FFF2-40B4-BE49-F238E27FC236}">
                <a16:creationId xmlns:a16="http://schemas.microsoft.com/office/drawing/2014/main" id="{C58489AA-E385-0C4F-A40B-03A87E8597AA}"/>
              </a:ext>
            </a:extLst>
          </p:cNvPr>
          <p:cNvSpPr txBox="1">
            <a:spLocks/>
          </p:cNvSpPr>
          <p:nvPr/>
        </p:nvSpPr>
        <p:spPr>
          <a:xfrm>
            <a:off x="0" y="6611779"/>
            <a:ext cx="4709694"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hristi3k   @zdeptawa</a:t>
            </a:r>
          </a:p>
        </p:txBody>
      </p:sp>
    </p:spTree>
    <p:extLst>
      <p:ext uri="{BB962C8B-B14F-4D97-AF65-F5344CB8AC3E}">
        <p14:creationId xmlns:p14="http://schemas.microsoft.com/office/powerpoint/2010/main" val="6885055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4"/>
            <a:ext cx="11655840" cy="724044"/>
          </a:xfrm>
        </p:spPr>
        <p:txBody>
          <a:bodyPr/>
          <a:lstStyle/>
          <a:p>
            <a:pPr algn="ctr"/>
            <a:r>
              <a:rPr lang="en-US" sz="4705">
                <a:solidFill>
                  <a:schemeClr val="tx1"/>
                </a:solidFill>
              </a:rPr>
              <a:t>The container </a:t>
            </a:r>
            <a:r>
              <a:rPr lang="en-US" sz="4705">
                <a:solidFill>
                  <a:schemeClr val="accent1"/>
                </a:solidFill>
                <a:latin typeface="Segoe UI Semibold" panose="020B0702040204020203" pitchFamily="34" charset="0"/>
                <a:cs typeface="Segoe UI Semibold" panose="020B0702040204020203" pitchFamily="34" charset="0"/>
              </a:rPr>
              <a:t>advantage</a:t>
            </a:r>
          </a:p>
        </p:txBody>
      </p:sp>
      <p:sp>
        <p:nvSpPr>
          <p:cNvPr id="49" name="Rectangle: Rounded Corners 48">
            <a:extLst>
              <a:ext uri="{FF2B5EF4-FFF2-40B4-BE49-F238E27FC236}">
                <a16:creationId xmlns:a16="http://schemas.microsoft.com/office/drawing/2014/main" id="{F97CE3EA-8FB2-42CA-8E01-783AC90F8986}"/>
              </a:ext>
            </a:extLst>
          </p:cNvPr>
          <p:cNvSpPr/>
          <p:nvPr/>
        </p:nvSpPr>
        <p:spPr bwMode="auto">
          <a:xfrm>
            <a:off x="6949773"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ardware</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8481F382-71FA-4CE6-B431-3E052ED8FA08}"/>
              </a:ext>
            </a:extLst>
          </p:cNvPr>
          <p:cNvSpPr/>
          <p:nvPr/>
        </p:nvSpPr>
        <p:spPr bwMode="auto">
          <a:xfrm>
            <a:off x="6949772"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ost OS</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43FD60D4-1E68-4463-BCE5-1C3F0C4A985A}"/>
              </a:ext>
            </a:extLst>
          </p:cNvPr>
          <p:cNvSpPr/>
          <p:nvPr/>
        </p:nvSpPr>
        <p:spPr bwMode="auto">
          <a:xfrm>
            <a:off x="6949772" y="4438117"/>
            <a:ext cx="4018982" cy="40416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ypervisor 2</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92467471-D002-471D-92A3-3D896C930281}"/>
              </a:ext>
            </a:extLst>
          </p:cNvPr>
          <p:cNvSpPr/>
          <p:nvPr/>
        </p:nvSpPr>
        <p:spPr bwMode="auto">
          <a:xfrm>
            <a:off x="6949772" y="2603710"/>
            <a:ext cx="1973157" cy="1752720"/>
          </a:xfrm>
          <a:prstGeom prst="roundRect">
            <a:avLst>
              <a:gd name="adj" fmla="val 3125"/>
            </a:avLst>
          </a:prstGeom>
          <a:solidFill>
            <a:schemeClr val="accent5"/>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VM</a:t>
            </a:r>
          </a:p>
        </p:txBody>
      </p:sp>
      <p:sp>
        <p:nvSpPr>
          <p:cNvPr id="60" name="Rectangle: Rounded Corners 59">
            <a:extLst>
              <a:ext uri="{FF2B5EF4-FFF2-40B4-BE49-F238E27FC236}">
                <a16:creationId xmlns:a16="http://schemas.microsoft.com/office/drawing/2014/main" id="{44DB9B67-5079-4195-A86E-0646A6A9C4E0}"/>
              </a:ext>
            </a:extLst>
          </p:cNvPr>
          <p:cNvSpPr/>
          <p:nvPr/>
        </p:nvSpPr>
        <p:spPr bwMode="auto">
          <a:xfrm>
            <a:off x="8995597" y="2603710"/>
            <a:ext cx="1973157" cy="1752720"/>
          </a:xfrm>
          <a:prstGeom prst="roundRect">
            <a:avLst>
              <a:gd name="adj" fmla="val 3125"/>
            </a:avLst>
          </a:prstGeom>
          <a:solidFill>
            <a:schemeClr val="accent5"/>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VM</a:t>
            </a:r>
          </a:p>
        </p:txBody>
      </p:sp>
      <p:sp>
        <p:nvSpPr>
          <p:cNvPr id="99" name="Rectangle: Rounded Corners 98">
            <a:extLst>
              <a:ext uri="{FF2B5EF4-FFF2-40B4-BE49-F238E27FC236}">
                <a16:creationId xmlns:a16="http://schemas.microsoft.com/office/drawing/2014/main" id="{945EF8CA-5F62-4648-BD0C-AF6015CD56B3}"/>
              </a:ext>
            </a:extLst>
          </p:cNvPr>
          <p:cNvSpPr/>
          <p:nvPr/>
        </p:nvSpPr>
        <p:spPr bwMode="auto">
          <a:xfrm>
            <a:off x="9119475" y="3674059"/>
            <a:ext cx="845678" cy="575631"/>
          </a:xfrm>
          <a:prstGeom prst="roundRect">
            <a:avLst>
              <a:gd name="adj" fmla="val 3125"/>
            </a:avLst>
          </a:prstGeom>
          <a:solidFill>
            <a:schemeClr val="accent1">
              <a:lumMod val="60000"/>
              <a:lumOff val="40000"/>
            </a:schemeClr>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sp>
        <p:nvSpPr>
          <p:cNvPr id="100" name="Rectangle: Rounded Corners 99">
            <a:extLst>
              <a:ext uri="{FF2B5EF4-FFF2-40B4-BE49-F238E27FC236}">
                <a16:creationId xmlns:a16="http://schemas.microsoft.com/office/drawing/2014/main" id="{A5072856-0483-4D30-9742-A078BB9CCB28}"/>
              </a:ext>
            </a:extLst>
          </p:cNvPr>
          <p:cNvSpPr/>
          <p:nvPr/>
        </p:nvSpPr>
        <p:spPr bwMode="auto">
          <a:xfrm>
            <a:off x="9999195" y="3674059"/>
            <a:ext cx="845678" cy="575631"/>
          </a:xfrm>
          <a:prstGeom prst="roundRect">
            <a:avLst>
              <a:gd name="adj" fmla="val 3125"/>
            </a:avLst>
          </a:prstGeom>
          <a:solidFill>
            <a:schemeClr val="accent1">
              <a:lumMod val="60000"/>
              <a:lumOff val="40000"/>
            </a:schemeClr>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sp>
        <p:nvSpPr>
          <p:cNvPr id="103" name="TextBox 102">
            <a:extLst>
              <a:ext uri="{FF2B5EF4-FFF2-40B4-BE49-F238E27FC236}">
                <a16:creationId xmlns:a16="http://schemas.microsoft.com/office/drawing/2014/main" id="{FF0CA200-2B05-4F79-9559-C898894E5F4C}"/>
              </a:ext>
            </a:extLst>
          </p:cNvPr>
          <p:cNvSpPr txBox="1"/>
          <p:nvPr/>
        </p:nvSpPr>
        <p:spPr>
          <a:xfrm>
            <a:off x="1003601" y="1957778"/>
            <a:ext cx="5251851" cy="651744"/>
          </a:xfrm>
          <a:prstGeom prst="rect">
            <a:avLst/>
          </a:prstGeom>
          <a:noFill/>
        </p:spPr>
        <p:txBody>
          <a:bodyPr wrap="square" lIns="143428" tIns="143428" rIns="143428" bIns="143428" rtlCol="0">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Traditional virtualized environment</a:t>
            </a:r>
          </a:p>
        </p:txBody>
      </p:sp>
      <p:sp>
        <p:nvSpPr>
          <p:cNvPr id="95" name="Rectangle: Rounded Corners 94">
            <a:extLst>
              <a:ext uri="{FF2B5EF4-FFF2-40B4-BE49-F238E27FC236}">
                <a16:creationId xmlns:a16="http://schemas.microsoft.com/office/drawing/2014/main" id="{B638450A-EBAA-4597-A201-0D23C5944D9A}"/>
              </a:ext>
            </a:extLst>
          </p:cNvPr>
          <p:cNvSpPr/>
          <p:nvPr/>
        </p:nvSpPr>
        <p:spPr bwMode="auto">
          <a:xfrm>
            <a:off x="7073651" y="3674059"/>
            <a:ext cx="845678" cy="575631"/>
          </a:xfrm>
          <a:prstGeom prst="roundRect">
            <a:avLst>
              <a:gd name="adj" fmla="val 3125"/>
            </a:avLst>
          </a:prstGeom>
          <a:solidFill>
            <a:schemeClr val="accent1">
              <a:lumMod val="60000"/>
              <a:lumOff val="40000"/>
            </a:schemeClr>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sp>
        <p:nvSpPr>
          <p:cNvPr id="96" name="Rectangle: Rounded Corners 95">
            <a:extLst>
              <a:ext uri="{FF2B5EF4-FFF2-40B4-BE49-F238E27FC236}">
                <a16:creationId xmlns:a16="http://schemas.microsoft.com/office/drawing/2014/main" id="{4F54F845-7ECD-42CB-B101-968615A7920F}"/>
              </a:ext>
            </a:extLst>
          </p:cNvPr>
          <p:cNvSpPr/>
          <p:nvPr/>
        </p:nvSpPr>
        <p:spPr bwMode="auto">
          <a:xfrm>
            <a:off x="7953371" y="3674059"/>
            <a:ext cx="845678" cy="575631"/>
          </a:xfrm>
          <a:prstGeom prst="roundRect">
            <a:avLst>
              <a:gd name="adj" fmla="val 3125"/>
            </a:avLst>
          </a:prstGeom>
          <a:solidFill>
            <a:schemeClr val="accent1">
              <a:lumMod val="60000"/>
              <a:lumOff val="40000"/>
            </a:schemeClr>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grpSp>
        <p:nvGrpSpPr>
          <p:cNvPr id="8" name="Group 7">
            <a:extLst>
              <a:ext uri="{FF2B5EF4-FFF2-40B4-BE49-F238E27FC236}">
                <a16:creationId xmlns:a16="http://schemas.microsoft.com/office/drawing/2014/main" id="{EDF6BBCD-E5A7-42F9-9F02-F72F9AFFAC80}"/>
              </a:ext>
            </a:extLst>
          </p:cNvPr>
          <p:cNvGrpSpPr/>
          <p:nvPr/>
        </p:nvGrpSpPr>
        <p:grpSpPr>
          <a:xfrm>
            <a:off x="7469004" y="1474419"/>
            <a:ext cx="934690" cy="934690"/>
            <a:chOff x="2234983" y="1360608"/>
            <a:chExt cx="953432" cy="953432"/>
          </a:xfrm>
        </p:grpSpPr>
        <p:sp>
          <p:nvSpPr>
            <p:cNvPr id="4" name="Circle: Hollow 3">
              <a:extLst>
                <a:ext uri="{FF2B5EF4-FFF2-40B4-BE49-F238E27FC236}">
                  <a16:creationId xmlns:a16="http://schemas.microsoft.com/office/drawing/2014/main" id="{1FE190B3-2124-4C22-88CC-BAB4E19656CF}"/>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5" name="Block Arc 4">
              <a:extLst>
                <a:ext uri="{FF2B5EF4-FFF2-40B4-BE49-F238E27FC236}">
                  <a16:creationId xmlns:a16="http://schemas.microsoft.com/office/drawing/2014/main" id="{7B02F310-A032-4FD2-8926-3E436E7B37A9}"/>
                </a:ext>
              </a:extLst>
            </p:cNvPr>
            <p:cNvSpPr/>
            <p:nvPr/>
          </p:nvSpPr>
          <p:spPr bwMode="auto">
            <a:xfrm flipV="1">
              <a:off x="2234983" y="1360608"/>
              <a:ext cx="953432" cy="953432"/>
            </a:xfrm>
            <a:prstGeom prst="blockArc">
              <a:avLst>
                <a:gd name="adj1" fmla="val 18167168"/>
                <a:gd name="adj2" fmla="val 5383085"/>
                <a:gd name="adj3" fmla="val 11951"/>
              </a:avLst>
            </a:prstGeom>
            <a:solidFill>
              <a:schemeClr val="accent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grpSp>
        <p:nvGrpSpPr>
          <p:cNvPr id="9" name="Group 8">
            <a:extLst>
              <a:ext uri="{FF2B5EF4-FFF2-40B4-BE49-F238E27FC236}">
                <a16:creationId xmlns:a16="http://schemas.microsoft.com/office/drawing/2014/main" id="{9A3C75B4-FAF6-4981-8FF2-896B685A63B8}"/>
              </a:ext>
            </a:extLst>
          </p:cNvPr>
          <p:cNvGrpSpPr/>
          <p:nvPr/>
        </p:nvGrpSpPr>
        <p:grpSpPr>
          <a:xfrm>
            <a:off x="9514829" y="1474419"/>
            <a:ext cx="934690" cy="934690"/>
            <a:chOff x="4321831" y="1360608"/>
            <a:chExt cx="953432" cy="953432"/>
          </a:xfrm>
        </p:grpSpPr>
        <p:sp>
          <p:nvSpPr>
            <p:cNvPr id="43" name="Circle: Hollow 42">
              <a:extLst>
                <a:ext uri="{FF2B5EF4-FFF2-40B4-BE49-F238E27FC236}">
                  <a16:creationId xmlns:a16="http://schemas.microsoft.com/office/drawing/2014/main" id="{E26935D2-3333-4F0E-844D-EF0FAAFD4723}"/>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44" name="Block Arc 43">
              <a:extLst>
                <a:ext uri="{FF2B5EF4-FFF2-40B4-BE49-F238E27FC236}">
                  <a16:creationId xmlns:a16="http://schemas.microsoft.com/office/drawing/2014/main" id="{FC715B67-7798-46A9-AA6A-D91A7E917263}"/>
                </a:ext>
              </a:extLst>
            </p:cNvPr>
            <p:cNvSpPr/>
            <p:nvPr/>
          </p:nvSpPr>
          <p:spPr bwMode="auto">
            <a:xfrm flipV="1">
              <a:off x="4321831" y="1360608"/>
              <a:ext cx="953432" cy="953432"/>
            </a:xfrm>
            <a:prstGeom prst="blockArc">
              <a:avLst>
                <a:gd name="adj1" fmla="val 18482673"/>
                <a:gd name="adj2" fmla="val 5383085"/>
                <a:gd name="adj3" fmla="val 11951"/>
              </a:avLst>
            </a:prstGeom>
            <a:solidFill>
              <a:schemeClr val="accent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grpSp>
        <p:nvGrpSpPr>
          <p:cNvPr id="2" name="Group 1">
            <a:extLst>
              <a:ext uri="{FF2B5EF4-FFF2-40B4-BE49-F238E27FC236}">
                <a16:creationId xmlns:a16="http://schemas.microsoft.com/office/drawing/2014/main" id="{52DF5680-9A0D-465F-9EF3-D51498399767}"/>
              </a:ext>
            </a:extLst>
          </p:cNvPr>
          <p:cNvGrpSpPr/>
          <p:nvPr/>
        </p:nvGrpSpPr>
        <p:grpSpPr>
          <a:xfrm>
            <a:off x="1003601" y="2840208"/>
            <a:ext cx="6662838" cy="561211"/>
            <a:chOff x="1023725" y="2896664"/>
            <a:chExt cx="6796442" cy="572464"/>
          </a:xfrm>
        </p:grpSpPr>
        <p:sp>
          <p:nvSpPr>
            <p:cNvPr id="94" name="TextBox 93">
              <a:extLst>
                <a:ext uri="{FF2B5EF4-FFF2-40B4-BE49-F238E27FC236}">
                  <a16:creationId xmlns:a16="http://schemas.microsoft.com/office/drawing/2014/main" id="{10081FDD-AC0F-4F84-B12B-C959DFD74B00}"/>
                </a:ext>
              </a:extLst>
            </p:cNvPr>
            <p:cNvSpPr txBox="1"/>
            <p:nvPr/>
          </p:nvSpPr>
          <p:spPr>
            <a:xfrm>
              <a:off x="1023725" y="2896664"/>
              <a:ext cx="4435941" cy="572464"/>
            </a:xfrm>
            <a:prstGeom prst="rect">
              <a:avLst/>
            </a:prstGeom>
            <a:noFill/>
          </p:spPr>
          <p:txBody>
            <a:bodyPr wrap="square" lIns="143428" tIns="143428" rIns="143428" bIns="143428" rtlCol="0" anchor="ctr">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Low utilization of container resources</a:t>
              </a:r>
            </a:p>
          </p:txBody>
        </p:sp>
        <p:cxnSp>
          <p:nvCxnSpPr>
            <p:cNvPr id="28" name="Straight Arrow Connector 27">
              <a:extLst>
                <a:ext uri="{FF2B5EF4-FFF2-40B4-BE49-F238E27FC236}">
                  <a16:creationId xmlns:a16="http://schemas.microsoft.com/office/drawing/2014/main" id="{BB07972E-3C80-4C1C-8781-1AC70B82A79D}"/>
                </a:ext>
              </a:extLst>
            </p:cNvPr>
            <p:cNvCxnSpPr>
              <a:cxnSpLocks/>
            </p:cNvCxnSpPr>
            <p:nvPr/>
          </p:nvCxnSpPr>
          <p:spPr>
            <a:xfrm>
              <a:off x="5138382" y="3182897"/>
              <a:ext cx="2681785"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5DC1C32-1BB0-438A-B4DA-30D4186CC0F7}"/>
              </a:ext>
            </a:extLst>
          </p:cNvPr>
          <p:cNvGrpSpPr/>
          <p:nvPr/>
        </p:nvGrpSpPr>
        <p:grpSpPr>
          <a:xfrm>
            <a:off x="1003601" y="3686469"/>
            <a:ext cx="6274834" cy="832764"/>
            <a:chOff x="1023725" y="3759893"/>
            <a:chExt cx="6400657" cy="849463"/>
          </a:xfrm>
        </p:grpSpPr>
        <p:sp>
          <p:nvSpPr>
            <p:cNvPr id="102" name="TextBox 101">
              <a:extLst>
                <a:ext uri="{FF2B5EF4-FFF2-40B4-BE49-F238E27FC236}">
                  <a16:creationId xmlns:a16="http://schemas.microsoft.com/office/drawing/2014/main" id="{0E397DC5-CD2C-468B-9A11-486DE02073F8}"/>
                </a:ext>
              </a:extLst>
            </p:cNvPr>
            <p:cNvSpPr txBox="1"/>
            <p:nvPr/>
          </p:nvSpPr>
          <p:spPr>
            <a:xfrm>
              <a:off x="1023725" y="3759893"/>
              <a:ext cx="4371216" cy="849463"/>
            </a:xfrm>
            <a:prstGeom prst="rect">
              <a:avLst/>
            </a:prstGeom>
            <a:noFill/>
          </p:spPr>
          <p:txBody>
            <a:bodyPr wrap="square" lIns="143428" tIns="143428" rIns="143428" bIns="143428" rtlCol="0" anchor="ctr">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Containerization of applications and their dependencies</a:t>
              </a:r>
            </a:p>
          </p:txBody>
        </p:sp>
        <p:cxnSp>
          <p:nvCxnSpPr>
            <p:cNvPr id="31" name="Straight Arrow Connector 30">
              <a:extLst>
                <a:ext uri="{FF2B5EF4-FFF2-40B4-BE49-F238E27FC236}">
                  <a16:creationId xmlns:a16="http://schemas.microsoft.com/office/drawing/2014/main" id="{7086BC57-2551-45DE-A4AA-CA9393E57377}"/>
                </a:ext>
              </a:extLst>
            </p:cNvPr>
            <p:cNvCxnSpPr>
              <a:cxnSpLocks/>
            </p:cNvCxnSpPr>
            <p:nvPr/>
          </p:nvCxnSpPr>
          <p:spPr>
            <a:xfrm>
              <a:off x="5138382" y="4184624"/>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
        <p:nvSpPr>
          <p:cNvPr id="25" name="Text Placeholder 2">
            <a:extLst>
              <a:ext uri="{FF2B5EF4-FFF2-40B4-BE49-F238E27FC236}">
                <a16:creationId xmlns:a16="http://schemas.microsoft.com/office/drawing/2014/main" id="{C7E369C7-D094-7D4D-BF5C-643C1A895552}"/>
              </a:ext>
            </a:extLst>
          </p:cNvPr>
          <p:cNvSpPr txBox="1">
            <a:spLocks/>
          </p:cNvSpPr>
          <p:nvPr/>
        </p:nvSpPr>
        <p:spPr>
          <a:xfrm>
            <a:off x="0" y="6611779"/>
            <a:ext cx="4709694"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hristi3k   @zdeptawa</a:t>
            </a:r>
          </a:p>
        </p:txBody>
      </p:sp>
    </p:spTree>
    <p:extLst>
      <p:ext uri="{BB962C8B-B14F-4D97-AF65-F5344CB8AC3E}">
        <p14:creationId xmlns:p14="http://schemas.microsoft.com/office/powerpoint/2010/main" val="50579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1" presetClass="entr" presetSubtype="1"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heel(1)">
                                      <p:cBhvr>
                                        <p:cTn id="15" dur="1000"/>
                                        <p:tgtEl>
                                          <p:spTgt spid="8"/>
                                        </p:tgtEl>
                                      </p:cBhvr>
                                    </p:animEffect>
                                  </p:childTnLst>
                                </p:cTn>
                              </p:par>
                              <p:par>
                                <p:cTn id="16" presetID="21" presetClass="entr" presetSubtype="1"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heel(1)">
                                      <p:cBhvr>
                                        <p:cTn id="18" dur="1000"/>
                                        <p:tgtEl>
                                          <p:spTgt spid="9"/>
                                        </p:tgtEl>
                                      </p:cBhvr>
                                    </p:animEffect>
                                  </p:childTnLst>
                                </p:cTn>
                              </p:par>
                              <p:par>
                                <p:cTn id="19" presetID="22" presetClass="entr" presetSubtype="8" fill="hold"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wipe(left)">
                                      <p:cBhvr>
                                        <p:cTn id="21" dur="1000"/>
                                        <p:tgtEl>
                                          <p:spTgt spid="3"/>
                                        </p:tgtEl>
                                      </p:cBhvr>
                                    </p:animEffect>
                                  </p:childTnLst>
                                </p:cTn>
                              </p:par>
                              <p:par>
                                <p:cTn id="22" presetID="10" presetClass="entr" presetSubtype="0" fill="hold" grpId="0" nodeType="withEffect">
                                  <p:stCondLst>
                                    <p:cond delay="250"/>
                                  </p:stCondLst>
                                  <p:childTnLst>
                                    <p:set>
                                      <p:cBhvr>
                                        <p:cTn id="23" dur="1" fill="hold">
                                          <p:stCondLst>
                                            <p:cond delay="0"/>
                                          </p:stCondLst>
                                        </p:cTn>
                                        <p:tgtEl>
                                          <p:spTgt spid="95"/>
                                        </p:tgtEl>
                                        <p:attrNameLst>
                                          <p:attrName>style.visibility</p:attrName>
                                        </p:attrNameLst>
                                      </p:cBhvr>
                                      <p:to>
                                        <p:strVal val="visible"/>
                                      </p:to>
                                    </p:set>
                                    <p:animEffect transition="in" filter="fade">
                                      <p:cBhvr>
                                        <p:cTn id="24" dur="1000"/>
                                        <p:tgtEl>
                                          <p:spTgt spid="95"/>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96"/>
                                        </p:tgtEl>
                                        <p:attrNameLst>
                                          <p:attrName>style.visibility</p:attrName>
                                        </p:attrNameLst>
                                      </p:cBhvr>
                                      <p:to>
                                        <p:strVal val="visible"/>
                                      </p:to>
                                    </p:set>
                                    <p:animEffect transition="in" filter="fade">
                                      <p:cBhvr>
                                        <p:cTn id="27" dur="1000"/>
                                        <p:tgtEl>
                                          <p:spTgt spid="96"/>
                                        </p:tgtEl>
                                      </p:cBhvr>
                                    </p:animEffect>
                                  </p:childTnLst>
                                </p:cTn>
                              </p:par>
                              <p:par>
                                <p:cTn id="28" presetID="10" presetClass="entr" presetSubtype="0" fill="hold" grpId="0" nodeType="withEffect">
                                  <p:stCondLst>
                                    <p:cond delay="250"/>
                                  </p:stCondLst>
                                  <p:childTnLst>
                                    <p:set>
                                      <p:cBhvr>
                                        <p:cTn id="29" dur="1" fill="hold">
                                          <p:stCondLst>
                                            <p:cond delay="0"/>
                                          </p:stCondLst>
                                        </p:cTn>
                                        <p:tgtEl>
                                          <p:spTgt spid="99"/>
                                        </p:tgtEl>
                                        <p:attrNameLst>
                                          <p:attrName>style.visibility</p:attrName>
                                        </p:attrNameLst>
                                      </p:cBhvr>
                                      <p:to>
                                        <p:strVal val="visible"/>
                                      </p:to>
                                    </p:set>
                                    <p:animEffect transition="in" filter="fade">
                                      <p:cBhvr>
                                        <p:cTn id="30" dur="1000"/>
                                        <p:tgtEl>
                                          <p:spTgt spid="99"/>
                                        </p:tgtEl>
                                      </p:cBhvr>
                                    </p:animEffect>
                                  </p:childTnLst>
                                </p:cTn>
                              </p:par>
                              <p:par>
                                <p:cTn id="31" presetID="10" presetClass="entr" presetSubtype="0" fill="hold" grpId="0" nodeType="withEffect">
                                  <p:stCondLst>
                                    <p:cond delay="250"/>
                                  </p:stCondLst>
                                  <p:childTnLst>
                                    <p:set>
                                      <p:cBhvr>
                                        <p:cTn id="32" dur="1" fill="hold">
                                          <p:stCondLst>
                                            <p:cond delay="0"/>
                                          </p:stCondLst>
                                        </p:cTn>
                                        <p:tgtEl>
                                          <p:spTgt spid="100"/>
                                        </p:tgtEl>
                                        <p:attrNameLst>
                                          <p:attrName>style.visibility</p:attrName>
                                        </p:attrNameLst>
                                      </p:cBhvr>
                                      <p:to>
                                        <p:strVal val="visible"/>
                                      </p:to>
                                    </p:set>
                                    <p:animEffect transition="in" filter="fade">
                                      <p:cBhvr>
                                        <p:cTn id="33" dur="1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animBg="1"/>
      <p:bldP spid="100" grpId="0" animBg="1"/>
      <p:bldP spid="103" grpId="0"/>
      <p:bldP spid="95" grpId="0" animBg="1"/>
      <p:bldP spid="9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4"/>
            <a:ext cx="11655840" cy="724044"/>
          </a:xfrm>
        </p:spPr>
        <p:txBody>
          <a:bodyPr/>
          <a:lstStyle/>
          <a:p>
            <a:pPr algn="ctr"/>
            <a:r>
              <a:rPr lang="en-US" sz="4705">
                <a:solidFill>
                  <a:schemeClr val="tx1"/>
                </a:solidFill>
              </a:rPr>
              <a:t>The container </a:t>
            </a:r>
            <a:r>
              <a:rPr lang="en-US" sz="4705">
                <a:solidFill>
                  <a:schemeClr val="accent1"/>
                </a:solidFill>
                <a:latin typeface="Segoe UI Semibold" panose="020B0702040204020203" pitchFamily="34" charset="0"/>
                <a:cs typeface="Segoe UI Semibold" panose="020B0702040204020203" pitchFamily="34" charset="0"/>
              </a:rPr>
              <a:t>advantage</a:t>
            </a:r>
          </a:p>
        </p:txBody>
      </p:sp>
      <p:sp>
        <p:nvSpPr>
          <p:cNvPr id="27" name="Rectangle: Rounded Corners 26">
            <a:extLst>
              <a:ext uri="{FF2B5EF4-FFF2-40B4-BE49-F238E27FC236}">
                <a16:creationId xmlns:a16="http://schemas.microsoft.com/office/drawing/2014/main" id="{FE995E7F-60D2-4DEB-8454-DE903BF95ED5}"/>
              </a:ext>
            </a:extLst>
          </p:cNvPr>
          <p:cNvSpPr/>
          <p:nvPr/>
        </p:nvSpPr>
        <p:spPr bwMode="auto">
          <a:xfrm>
            <a:off x="6949772"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ardware</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DA755E6F-BCC2-4DA5-96D5-9AA7EA1BB8E6}"/>
              </a:ext>
            </a:extLst>
          </p:cNvPr>
          <p:cNvSpPr/>
          <p:nvPr/>
        </p:nvSpPr>
        <p:spPr bwMode="auto">
          <a:xfrm>
            <a:off x="6949771"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ost OS</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2E4045C6-BDC2-4E48-B895-4470D4659AFF}"/>
              </a:ext>
            </a:extLst>
          </p:cNvPr>
          <p:cNvSpPr/>
          <p:nvPr/>
        </p:nvSpPr>
        <p:spPr bwMode="auto">
          <a:xfrm>
            <a:off x="6949771" y="4438117"/>
            <a:ext cx="4018982" cy="404164"/>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Docker Engine</a:t>
            </a:r>
          </a:p>
        </p:txBody>
      </p:sp>
      <p:sp>
        <p:nvSpPr>
          <p:cNvPr id="31" name="Rectangle: Rounded Corners 30">
            <a:extLst>
              <a:ext uri="{FF2B5EF4-FFF2-40B4-BE49-F238E27FC236}">
                <a16:creationId xmlns:a16="http://schemas.microsoft.com/office/drawing/2014/main" id="{825B5AD1-2445-4798-91BB-46EC8DD6DC3F}"/>
              </a:ext>
            </a:extLst>
          </p:cNvPr>
          <p:cNvSpPr/>
          <p:nvPr/>
        </p:nvSpPr>
        <p:spPr bwMode="auto">
          <a:xfrm>
            <a:off x="8995596" y="2603710"/>
            <a:ext cx="1973157" cy="1752720"/>
          </a:xfrm>
          <a:prstGeom prst="roundRect">
            <a:avLst>
              <a:gd name="adj" fmla="val 3125"/>
            </a:avLst>
          </a:prstGeom>
          <a:solidFill>
            <a:schemeClr val="accent5"/>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FFFFFF"/>
                </a:solidFill>
                <a:effectLst/>
                <a:uLnTx/>
                <a:uFillTx/>
                <a:latin typeface="Segoe UI"/>
                <a:ea typeface="+mn-ea"/>
                <a:cs typeface="Segoe UI" pitchFamily="34" charset="0"/>
              </a:rPr>
              <a:t>VM</a:t>
            </a:r>
          </a:p>
        </p:txBody>
      </p:sp>
      <p:sp>
        <p:nvSpPr>
          <p:cNvPr id="30" name="Rectangle: Rounded Corners 29">
            <a:extLst>
              <a:ext uri="{FF2B5EF4-FFF2-40B4-BE49-F238E27FC236}">
                <a16:creationId xmlns:a16="http://schemas.microsoft.com/office/drawing/2014/main" id="{66F54A65-6F06-464E-8B7E-C061FC772C79}"/>
              </a:ext>
            </a:extLst>
          </p:cNvPr>
          <p:cNvSpPr/>
          <p:nvPr/>
        </p:nvSpPr>
        <p:spPr bwMode="auto">
          <a:xfrm>
            <a:off x="6949771" y="2603710"/>
            <a:ext cx="1973157" cy="1752720"/>
          </a:xfrm>
          <a:prstGeom prst="roundRect">
            <a:avLst>
              <a:gd name="adj" fmla="val 3125"/>
            </a:avLst>
          </a:prstGeom>
          <a:solidFill>
            <a:schemeClr val="accent5"/>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FFFFFF"/>
                </a:solidFill>
                <a:effectLst/>
                <a:uLnTx/>
                <a:uFillTx/>
                <a:latin typeface="Segoe UI"/>
                <a:ea typeface="+mn-ea"/>
                <a:cs typeface="Segoe UI" pitchFamily="34" charset="0"/>
              </a:rPr>
              <a:t>VM</a:t>
            </a:r>
          </a:p>
        </p:txBody>
      </p:sp>
      <p:sp>
        <p:nvSpPr>
          <p:cNvPr id="50" name="Rectangle: Rounded Corners 49">
            <a:extLst>
              <a:ext uri="{FF2B5EF4-FFF2-40B4-BE49-F238E27FC236}">
                <a16:creationId xmlns:a16="http://schemas.microsoft.com/office/drawing/2014/main" id="{55321046-6490-411E-974E-449EBA741BE7}"/>
              </a:ext>
            </a:extLst>
          </p:cNvPr>
          <p:cNvSpPr/>
          <p:nvPr/>
        </p:nvSpPr>
        <p:spPr bwMode="auto">
          <a:xfrm>
            <a:off x="9999194" y="3674059"/>
            <a:ext cx="845678" cy="575631"/>
          </a:xfrm>
          <a:prstGeom prst="roundRect">
            <a:avLst>
              <a:gd name="adj" fmla="val 3125"/>
            </a:avLst>
          </a:prstGeom>
          <a:solidFill>
            <a:schemeClr val="accent1">
              <a:lumMod val="60000"/>
              <a:lumOff val="40000"/>
            </a:schemeClr>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sp>
        <p:nvSpPr>
          <p:cNvPr id="51" name="Rectangle: Rounded Corners 50">
            <a:extLst>
              <a:ext uri="{FF2B5EF4-FFF2-40B4-BE49-F238E27FC236}">
                <a16:creationId xmlns:a16="http://schemas.microsoft.com/office/drawing/2014/main" id="{8992D567-8929-4783-BD68-8B0A21E10911}"/>
              </a:ext>
            </a:extLst>
          </p:cNvPr>
          <p:cNvSpPr/>
          <p:nvPr/>
        </p:nvSpPr>
        <p:spPr bwMode="auto">
          <a:xfrm>
            <a:off x="9119474" y="3056294"/>
            <a:ext cx="845678" cy="575631"/>
          </a:xfrm>
          <a:prstGeom prst="roundRect">
            <a:avLst>
              <a:gd name="adj" fmla="val 3125"/>
            </a:avLst>
          </a:prstGeom>
          <a:solidFill>
            <a:schemeClr val="accent1">
              <a:lumMod val="60000"/>
              <a:lumOff val="40000"/>
            </a:schemeClr>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sp>
        <p:nvSpPr>
          <p:cNvPr id="46" name="Rectangle: Rounded Corners 45">
            <a:extLst>
              <a:ext uri="{FF2B5EF4-FFF2-40B4-BE49-F238E27FC236}">
                <a16:creationId xmlns:a16="http://schemas.microsoft.com/office/drawing/2014/main" id="{7A368B2B-485E-48D2-B561-4D2D1C28A833}"/>
              </a:ext>
            </a:extLst>
          </p:cNvPr>
          <p:cNvSpPr/>
          <p:nvPr/>
        </p:nvSpPr>
        <p:spPr bwMode="auto">
          <a:xfrm>
            <a:off x="9119474" y="3674059"/>
            <a:ext cx="845678" cy="575631"/>
          </a:xfrm>
          <a:prstGeom prst="roundRect">
            <a:avLst>
              <a:gd name="adj" fmla="val 3125"/>
            </a:avLst>
          </a:prstGeom>
          <a:solidFill>
            <a:schemeClr val="accent1">
              <a:lumMod val="60000"/>
              <a:lumOff val="40000"/>
            </a:schemeClr>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sp>
        <p:nvSpPr>
          <p:cNvPr id="48" name="Rectangle: Rounded Corners 47">
            <a:extLst>
              <a:ext uri="{FF2B5EF4-FFF2-40B4-BE49-F238E27FC236}">
                <a16:creationId xmlns:a16="http://schemas.microsoft.com/office/drawing/2014/main" id="{FD2A602C-B30E-4132-AFBD-1D3ECEF68C0B}"/>
              </a:ext>
            </a:extLst>
          </p:cNvPr>
          <p:cNvSpPr/>
          <p:nvPr/>
        </p:nvSpPr>
        <p:spPr bwMode="auto">
          <a:xfrm>
            <a:off x="9999194" y="3053614"/>
            <a:ext cx="845678" cy="575631"/>
          </a:xfrm>
          <a:prstGeom prst="roundRect">
            <a:avLst>
              <a:gd name="adj" fmla="val 3125"/>
            </a:avLst>
          </a:prstGeom>
          <a:solidFill>
            <a:schemeClr val="accent1">
              <a:lumMod val="60000"/>
              <a:lumOff val="40000"/>
            </a:schemeClr>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grpSp>
        <p:nvGrpSpPr>
          <p:cNvPr id="3" name="Group 2">
            <a:extLst>
              <a:ext uri="{FF2B5EF4-FFF2-40B4-BE49-F238E27FC236}">
                <a16:creationId xmlns:a16="http://schemas.microsoft.com/office/drawing/2014/main" id="{FBB3F884-C3AD-414F-9975-2215786C6AD2}"/>
              </a:ext>
            </a:extLst>
          </p:cNvPr>
          <p:cNvGrpSpPr/>
          <p:nvPr/>
        </p:nvGrpSpPr>
        <p:grpSpPr>
          <a:xfrm>
            <a:off x="7469003" y="1474419"/>
            <a:ext cx="934690" cy="934690"/>
            <a:chOff x="2234983" y="1360608"/>
            <a:chExt cx="953432" cy="953432"/>
          </a:xfrm>
        </p:grpSpPr>
        <p:sp>
          <p:nvSpPr>
            <p:cNvPr id="58" name="Circle: Hollow 57">
              <a:extLst>
                <a:ext uri="{FF2B5EF4-FFF2-40B4-BE49-F238E27FC236}">
                  <a16:creationId xmlns:a16="http://schemas.microsoft.com/office/drawing/2014/main" id="{AF423CB6-FE5D-476A-A93A-A5EFECB83F86}"/>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59" name="Block Arc 58">
              <a:extLst>
                <a:ext uri="{FF2B5EF4-FFF2-40B4-BE49-F238E27FC236}">
                  <a16:creationId xmlns:a16="http://schemas.microsoft.com/office/drawing/2014/main" id="{F89BEF37-DAD1-4C2D-B0D5-C8A59E2EC5BE}"/>
                </a:ext>
              </a:extLst>
            </p:cNvPr>
            <p:cNvSpPr/>
            <p:nvPr/>
          </p:nvSpPr>
          <p:spPr bwMode="auto">
            <a:xfrm flipV="1">
              <a:off x="2234983" y="1360608"/>
              <a:ext cx="953432" cy="953432"/>
            </a:xfrm>
            <a:prstGeom prst="blockArc">
              <a:avLst>
                <a:gd name="adj1" fmla="val 5378652"/>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grpSp>
        <p:nvGrpSpPr>
          <p:cNvPr id="4" name="Group 3">
            <a:extLst>
              <a:ext uri="{FF2B5EF4-FFF2-40B4-BE49-F238E27FC236}">
                <a16:creationId xmlns:a16="http://schemas.microsoft.com/office/drawing/2014/main" id="{19BDCDB8-1952-4D13-837C-5543A96A98F3}"/>
              </a:ext>
            </a:extLst>
          </p:cNvPr>
          <p:cNvGrpSpPr/>
          <p:nvPr/>
        </p:nvGrpSpPr>
        <p:grpSpPr>
          <a:xfrm>
            <a:off x="9514828" y="1474419"/>
            <a:ext cx="934690" cy="934690"/>
            <a:chOff x="4321831" y="1360608"/>
            <a:chExt cx="953432" cy="953432"/>
          </a:xfrm>
        </p:grpSpPr>
        <p:sp>
          <p:nvSpPr>
            <p:cNvPr id="60" name="Circle: Hollow 59">
              <a:extLst>
                <a:ext uri="{FF2B5EF4-FFF2-40B4-BE49-F238E27FC236}">
                  <a16:creationId xmlns:a16="http://schemas.microsoft.com/office/drawing/2014/main" id="{7CE088FB-2DAA-4478-B79D-29E237D280A9}"/>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61" name="Block Arc 60">
              <a:extLst>
                <a:ext uri="{FF2B5EF4-FFF2-40B4-BE49-F238E27FC236}">
                  <a16:creationId xmlns:a16="http://schemas.microsoft.com/office/drawing/2014/main" id="{E2C0FC49-EA3F-4D50-BA90-AD655985CA9E}"/>
                </a:ext>
              </a:extLst>
            </p:cNvPr>
            <p:cNvSpPr/>
            <p:nvPr/>
          </p:nvSpPr>
          <p:spPr bwMode="auto">
            <a:xfrm flipV="1">
              <a:off x="4321831" y="1360608"/>
              <a:ext cx="953432" cy="953432"/>
            </a:xfrm>
            <a:prstGeom prst="blockArc">
              <a:avLst>
                <a:gd name="adj1" fmla="val 6818869"/>
                <a:gd name="adj2" fmla="val 5383085"/>
                <a:gd name="adj3" fmla="val 11951"/>
              </a:avLst>
            </a:prstGeom>
            <a:solidFill>
              <a:schemeClr val="accent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sp>
        <p:nvSpPr>
          <p:cNvPr id="65" name="TextBox 64">
            <a:extLst>
              <a:ext uri="{FF2B5EF4-FFF2-40B4-BE49-F238E27FC236}">
                <a16:creationId xmlns:a16="http://schemas.microsoft.com/office/drawing/2014/main" id="{772F8F57-FE04-4FE3-89B4-4FD6FA2476D7}"/>
              </a:ext>
            </a:extLst>
          </p:cNvPr>
          <p:cNvSpPr txBox="1"/>
          <p:nvPr/>
        </p:nvSpPr>
        <p:spPr>
          <a:xfrm>
            <a:off x="1003601" y="1957779"/>
            <a:ext cx="5251851" cy="651728"/>
          </a:xfrm>
          <a:prstGeom prst="rect">
            <a:avLst/>
          </a:prstGeom>
          <a:noFill/>
        </p:spPr>
        <p:txBody>
          <a:bodyPr wrap="square" lIns="143428" tIns="143428" rIns="143428" bIns="143428" rtlCol="0">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Containerized environment</a:t>
            </a:r>
          </a:p>
        </p:txBody>
      </p:sp>
      <p:grpSp>
        <p:nvGrpSpPr>
          <p:cNvPr id="2" name="Group 1">
            <a:extLst>
              <a:ext uri="{FF2B5EF4-FFF2-40B4-BE49-F238E27FC236}">
                <a16:creationId xmlns:a16="http://schemas.microsoft.com/office/drawing/2014/main" id="{2EE0DDE5-320A-4F26-9699-A41AF3FF98E9}"/>
              </a:ext>
            </a:extLst>
          </p:cNvPr>
          <p:cNvGrpSpPr/>
          <p:nvPr/>
        </p:nvGrpSpPr>
        <p:grpSpPr>
          <a:xfrm>
            <a:off x="1003601" y="2611341"/>
            <a:ext cx="8252341" cy="1104318"/>
            <a:chOff x="1023725" y="2663207"/>
            <a:chExt cx="8417818" cy="1126462"/>
          </a:xfrm>
        </p:grpSpPr>
        <p:sp>
          <p:nvSpPr>
            <p:cNvPr id="63" name="TextBox 62">
              <a:extLst>
                <a:ext uri="{FF2B5EF4-FFF2-40B4-BE49-F238E27FC236}">
                  <a16:creationId xmlns:a16="http://schemas.microsoft.com/office/drawing/2014/main" id="{41005485-BBD4-4EC7-9196-364BA9ECFF77}"/>
                </a:ext>
              </a:extLst>
            </p:cNvPr>
            <p:cNvSpPr txBox="1"/>
            <p:nvPr/>
          </p:nvSpPr>
          <p:spPr>
            <a:xfrm>
              <a:off x="1023725" y="2663207"/>
              <a:ext cx="3988293" cy="1126462"/>
            </a:xfrm>
            <a:prstGeom prst="rect">
              <a:avLst/>
            </a:prstGeom>
            <a:noFill/>
          </p:spPr>
          <p:txBody>
            <a:bodyPr wrap="square" lIns="143428" tIns="143428" rIns="143428" bIns="143428" rtlCol="0" anchor="ctr">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Migrate containers and their dependencies to underutilized VMs for improved density and isolation</a:t>
              </a:r>
            </a:p>
          </p:txBody>
        </p:sp>
        <p:cxnSp>
          <p:nvCxnSpPr>
            <p:cNvPr id="66" name="Straight Arrow Connector 65">
              <a:extLst>
                <a:ext uri="{FF2B5EF4-FFF2-40B4-BE49-F238E27FC236}">
                  <a16:creationId xmlns:a16="http://schemas.microsoft.com/office/drawing/2014/main" id="{224E06BC-E3A7-4C6E-B2E6-A4639C924634}"/>
                </a:ext>
              </a:extLst>
            </p:cNvPr>
            <p:cNvCxnSpPr>
              <a:cxnSpLocks/>
            </p:cNvCxnSpPr>
            <p:nvPr/>
          </p:nvCxnSpPr>
          <p:spPr>
            <a:xfrm>
              <a:off x="5138382" y="3226438"/>
              <a:ext cx="4303161"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68E581-590E-491E-9617-21B166F5A308}"/>
              </a:ext>
            </a:extLst>
          </p:cNvPr>
          <p:cNvGrpSpPr/>
          <p:nvPr/>
        </p:nvGrpSpPr>
        <p:grpSpPr>
          <a:xfrm>
            <a:off x="1003601" y="3743384"/>
            <a:ext cx="6274834" cy="832764"/>
            <a:chOff x="1023725" y="3817949"/>
            <a:chExt cx="6400657" cy="849463"/>
          </a:xfrm>
        </p:grpSpPr>
        <p:sp>
          <p:nvSpPr>
            <p:cNvPr id="64" name="TextBox 63">
              <a:extLst>
                <a:ext uri="{FF2B5EF4-FFF2-40B4-BE49-F238E27FC236}">
                  <a16:creationId xmlns:a16="http://schemas.microsoft.com/office/drawing/2014/main" id="{B689D089-5BBE-4654-8D44-DB3763020B60}"/>
                </a:ext>
              </a:extLst>
            </p:cNvPr>
            <p:cNvSpPr txBox="1"/>
            <p:nvPr/>
          </p:nvSpPr>
          <p:spPr>
            <a:xfrm>
              <a:off x="1023725" y="3817949"/>
              <a:ext cx="4371216" cy="849463"/>
            </a:xfrm>
            <a:prstGeom prst="rect">
              <a:avLst/>
            </a:prstGeom>
            <a:noFill/>
          </p:spPr>
          <p:txBody>
            <a:bodyPr wrap="square" lIns="143428" tIns="143428" rIns="143428" bIns="143428" rtlCol="0" anchor="ctr">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Decommission unused resources for efficiency gains and cost savings</a:t>
              </a:r>
            </a:p>
          </p:txBody>
        </p:sp>
        <p:cxnSp>
          <p:nvCxnSpPr>
            <p:cNvPr id="67" name="Straight Arrow Connector 66">
              <a:extLst>
                <a:ext uri="{FF2B5EF4-FFF2-40B4-BE49-F238E27FC236}">
                  <a16:creationId xmlns:a16="http://schemas.microsoft.com/office/drawing/2014/main" id="{3883992C-3331-4DD2-9853-B4BF22925138}"/>
                </a:ext>
              </a:extLst>
            </p:cNvPr>
            <p:cNvCxnSpPr>
              <a:cxnSpLocks/>
            </p:cNvCxnSpPr>
            <p:nvPr/>
          </p:nvCxnSpPr>
          <p:spPr>
            <a:xfrm>
              <a:off x="5138382" y="4242680"/>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
        <p:nvSpPr>
          <p:cNvPr id="25" name="Text Placeholder 2">
            <a:extLst>
              <a:ext uri="{FF2B5EF4-FFF2-40B4-BE49-F238E27FC236}">
                <a16:creationId xmlns:a16="http://schemas.microsoft.com/office/drawing/2014/main" id="{579D63B7-2078-4E49-B98E-BAC194A65CAD}"/>
              </a:ext>
            </a:extLst>
          </p:cNvPr>
          <p:cNvSpPr txBox="1">
            <a:spLocks/>
          </p:cNvSpPr>
          <p:nvPr/>
        </p:nvSpPr>
        <p:spPr>
          <a:xfrm>
            <a:off x="0" y="6611779"/>
            <a:ext cx="4709694"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hristi3k   @zdeptawa</a:t>
            </a:r>
          </a:p>
        </p:txBody>
      </p:sp>
    </p:spTree>
    <p:extLst>
      <p:ext uri="{BB962C8B-B14F-4D97-AF65-F5344CB8AC3E}">
        <p14:creationId xmlns:p14="http://schemas.microsoft.com/office/powerpoint/2010/main" val="12506587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2" presetClass="entr" presetSubtype="8" fill="hold" nodeType="afterEffect">
                                  <p:stCondLst>
                                    <p:cond delay="100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000"/>
                                        <p:tgtEl>
                                          <p:spTgt spid="5"/>
                                        </p:tgtEl>
                                      </p:cBhvr>
                                    </p:animEffect>
                                  </p:childTnLst>
                                </p:cTn>
                              </p:par>
                            </p:childTnLst>
                          </p:cTn>
                        </p:par>
                        <p:par>
                          <p:cTn id="16" fill="hold">
                            <p:stCondLst>
                              <p:cond delay="4000"/>
                            </p:stCondLst>
                            <p:childTnLst>
                              <p:par>
                                <p:cTn id="17" presetID="22" presetClass="exit" presetSubtype="1" fill="hold" nodeType="afterEffect">
                                  <p:stCondLst>
                                    <p:cond delay="250"/>
                                  </p:stCondLst>
                                  <p:childTnLst>
                                    <p:animEffect transition="out" filter="wipe(up)">
                                      <p:cBhvr>
                                        <p:cTn id="18" dur="500"/>
                                        <p:tgtEl>
                                          <p:spTgt spid="3"/>
                                        </p:tgtEl>
                                      </p:cBhvr>
                                    </p:animEffect>
                                    <p:set>
                                      <p:cBhvr>
                                        <p:cTn id="19" dur="1" fill="hold">
                                          <p:stCondLst>
                                            <p:cond delay="499"/>
                                          </p:stCondLst>
                                        </p:cTn>
                                        <p:tgtEl>
                                          <p:spTgt spid="3"/>
                                        </p:tgtEl>
                                        <p:attrNameLst>
                                          <p:attrName>style.visibility</p:attrName>
                                        </p:attrNameLst>
                                      </p:cBhvr>
                                      <p:to>
                                        <p:strVal val="hidden"/>
                                      </p:to>
                                    </p:set>
                                  </p:childTnLst>
                                </p:cTn>
                              </p:par>
                            </p:childTnLst>
                          </p:cTn>
                        </p:par>
                        <p:par>
                          <p:cTn id="20" fill="hold">
                            <p:stCondLst>
                              <p:cond delay="4750"/>
                            </p:stCondLst>
                            <p:childTnLst>
                              <p:par>
                                <p:cTn id="21" presetID="22" presetClass="exit" presetSubtype="1" fill="hold" grpId="0" nodeType="afterEffect">
                                  <p:stCondLst>
                                    <p:cond delay="0"/>
                                  </p:stCondLst>
                                  <p:childTnLst>
                                    <p:animEffect transition="out" filter="wipe(up)">
                                      <p:cBhvr>
                                        <p:cTn id="22" dur="500"/>
                                        <p:tgtEl>
                                          <p:spTgt spid="30"/>
                                        </p:tgtEl>
                                      </p:cBhvr>
                                    </p:animEffect>
                                    <p:set>
                                      <p:cBhvr>
                                        <p:cTn id="23"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6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a:extLst>
              <a:ext uri="{FF2B5EF4-FFF2-40B4-BE49-F238E27FC236}">
                <a16:creationId xmlns:a16="http://schemas.microsoft.com/office/drawing/2014/main" id="{AE264F34-066B-48CE-B6B3-4F4FD55A4061}"/>
              </a:ext>
            </a:extLst>
          </p:cNvPr>
          <p:cNvCxnSpPr/>
          <p:nvPr/>
        </p:nvCxnSpPr>
        <p:spPr>
          <a:xfrm>
            <a:off x="3551581" y="2690191"/>
            <a:ext cx="4943061" cy="0"/>
          </a:xfrm>
          <a:prstGeom prst="straightConnector1">
            <a:avLst/>
          </a:prstGeom>
          <a:ln w="28575" cap="rnd">
            <a:solidFill>
              <a:schemeClr val="bg2"/>
            </a:solidFill>
            <a:prstDash val="dash"/>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32" name="Title 16">
            <a:extLst>
              <a:ext uri="{FF2B5EF4-FFF2-40B4-BE49-F238E27FC236}">
                <a16:creationId xmlns:a16="http://schemas.microsoft.com/office/drawing/2014/main" id="{25BDE386-8551-407F-9D11-05D3620181B4}"/>
              </a:ext>
            </a:extLst>
          </p:cNvPr>
          <p:cNvSpPr txBox="1">
            <a:spLocks/>
          </p:cNvSpPr>
          <p:nvPr/>
        </p:nvSpPr>
        <p:spPr>
          <a:xfrm>
            <a:off x="588263" y="217501"/>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b="0">
                <a:solidFill>
                  <a:srgbClr val="000000"/>
                </a:solidFill>
                <a:latin typeface="Segoe UI Light" panose="020B0502040204020203" pitchFamily="34" charset="0"/>
                <a:cs typeface="Segoe UI Light" panose="020B0502040204020203" pitchFamily="34" charset="0"/>
              </a:rPr>
              <a:t>How can containers help your app modernization journey?</a:t>
            </a:r>
          </a:p>
        </p:txBody>
      </p:sp>
      <p:sp>
        <p:nvSpPr>
          <p:cNvPr id="2" name="Rectangle 1">
            <a:extLst>
              <a:ext uri="{FF2B5EF4-FFF2-40B4-BE49-F238E27FC236}">
                <a16:creationId xmlns:a16="http://schemas.microsoft.com/office/drawing/2014/main" id="{2414EC44-F32C-484B-B516-7173E7A5B6E5}"/>
              </a:ext>
            </a:extLst>
          </p:cNvPr>
          <p:cNvSpPr/>
          <p:nvPr/>
        </p:nvSpPr>
        <p:spPr>
          <a:xfrm>
            <a:off x="588263" y="740978"/>
            <a:ext cx="8986884" cy="523220"/>
          </a:xfrm>
          <a:prstGeom prst="rect">
            <a:avLst/>
          </a:prstGeom>
        </p:spPr>
        <p:txBody>
          <a:bodyPr wrap="none" lIns="0">
            <a:spAutoFit/>
          </a:bodyPr>
          <a:lstStyle/>
          <a:p>
            <a:pPr lvl="0">
              <a:defRPr/>
            </a:pPr>
            <a:r>
              <a:rPr lang="en-US" sz="2800">
                <a:solidFill>
                  <a:srgbClr val="000000"/>
                </a:solidFill>
                <a:latin typeface="Segoe UI Semilight" panose="020B0402040204020203" pitchFamily="34" charset="0"/>
                <a:cs typeface="Segoe UI Semilight" panose="020B0402040204020203" pitchFamily="34" charset="0"/>
              </a:rPr>
              <a:t>From </a:t>
            </a:r>
            <a:r>
              <a:rPr lang="en-US" sz="2800">
                <a:solidFill>
                  <a:srgbClr val="0078D4"/>
                </a:solidFill>
                <a:latin typeface="Segoe UI Semibold" panose="020B0702040204020203" pitchFamily="34" charset="0"/>
                <a:cs typeface="Segoe UI Semibold" panose="020B0702040204020203" pitchFamily="34" charset="0"/>
              </a:rPr>
              <a:t>traditional systems</a:t>
            </a:r>
            <a:r>
              <a:rPr lang="en-US" sz="2800">
                <a:solidFill>
                  <a:srgbClr val="000000"/>
                </a:solidFill>
                <a:latin typeface="Segoe UI Semilight" panose="020B0402040204020203" pitchFamily="34" charset="0"/>
                <a:cs typeface="Segoe UI Semilight" panose="020B0402040204020203" pitchFamily="34" charset="0"/>
              </a:rPr>
              <a:t> to a </a:t>
            </a:r>
            <a:r>
              <a:rPr lang="en-US" sz="2800">
                <a:solidFill>
                  <a:srgbClr val="0078D4"/>
                </a:solidFill>
                <a:latin typeface="Segoe UI Semibold" panose="020B0702040204020203" pitchFamily="34" charset="0"/>
                <a:cs typeface="Segoe UI Semibold" panose="020B0702040204020203" pitchFamily="34" charset="0"/>
              </a:rPr>
              <a:t>portfolio of modern apps</a:t>
            </a:r>
          </a:p>
        </p:txBody>
      </p:sp>
      <p:grpSp>
        <p:nvGrpSpPr>
          <p:cNvPr id="4" name="Group 3">
            <a:extLst>
              <a:ext uri="{FF2B5EF4-FFF2-40B4-BE49-F238E27FC236}">
                <a16:creationId xmlns:a16="http://schemas.microsoft.com/office/drawing/2014/main" id="{88914417-354A-4581-BBBA-7E54E83556FB}"/>
              </a:ext>
            </a:extLst>
          </p:cNvPr>
          <p:cNvGrpSpPr/>
          <p:nvPr/>
        </p:nvGrpSpPr>
        <p:grpSpPr>
          <a:xfrm>
            <a:off x="4822078" y="5022726"/>
            <a:ext cx="5732147" cy="608842"/>
            <a:chOff x="4372368" y="5303638"/>
            <a:chExt cx="5732147" cy="608842"/>
          </a:xfrm>
        </p:grpSpPr>
        <p:sp>
          <p:nvSpPr>
            <p:cNvPr id="92" name="Shape 592">
              <a:extLst>
                <a:ext uri="{FF2B5EF4-FFF2-40B4-BE49-F238E27FC236}">
                  <a16:creationId xmlns:a16="http://schemas.microsoft.com/office/drawing/2014/main" id="{BBD53BC7-548F-4C6B-A56F-2E58D0807FB3}"/>
                </a:ext>
              </a:extLst>
            </p:cNvPr>
            <p:cNvSpPr txBox="1"/>
            <p:nvPr/>
          </p:nvSpPr>
          <p:spPr>
            <a:xfrm>
              <a:off x="5042977" y="5303638"/>
              <a:ext cx="4390929" cy="608842"/>
            </a:xfrm>
            <a:prstGeom prst="rect">
              <a:avLst/>
            </a:prstGeom>
            <a:noFill/>
            <a:ln>
              <a:noFill/>
            </a:ln>
          </p:spPr>
          <p:txBody>
            <a:bodyPr lIns="91366" tIns="91366" rIns="91366" bIns="91366" anchor="t" anchorCtr="0">
              <a:noAutofit/>
            </a:bodyPr>
            <a:lstStyle/>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r>
                <a:rPr kumimoji="0" lang="en-US" sz="1600" b="1" i="0" u="none" strike="noStrike" kern="0" cap="none" spc="0" normalizeH="0" baseline="0" noProof="0">
                  <a:ln>
                    <a:noFill/>
                  </a:ln>
                  <a:solidFill>
                    <a:srgbClr val="000000"/>
                  </a:solidFill>
                  <a:effectLst/>
                  <a:uLnTx/>
                  <a:uFillTx/>
                  <a:latin typeface="Segoe UI Semibold" panose="020B0702040204020203" pitchFamily="34" charset="0"/>
                  <a:ea typeface="Quattrocento Sans"/>
                  <a:cs typeface="Segoe UI Semibold" panose="020B0702040204020203" pitchFamily="34" charset="0"/>
                  <a:sym typeface="Quattrocento Sans"/>
                </a:rPr>
                <a:t>Continuous innovation </a:t>
              </a:r>
              <a:r>
                <a:rPr kumimoji="0" lang="en-US" sz="1600" b="0" i="0" u="none" strike="noStrike" kern="0" cap="none" spc="0" normalizeH="0" baseline="0" noProof="0">
                  <a:ln>
                    <a:noFill/>
                  </a:ln>
                  <a:solidFill>
                    <a:srgbClr val="000000"/>
                  </a:solidFill>
                  <a:effectLst/>
                  <a:uLnTx/>
                  <a:uFillTx/>
                  <a:latin typeface="Segoe UI"/>
                  <a:ea typeface="Quattrocento Sans"/>
                  <a:cs typeface="Segoe UI" panose="020B0502040204020203" pitchFamily="34" charset="0"/>
                  <a:sym typeface="Quattrocento Sans"/>
                </a:rPr>
                <a:t>with DevOps</a:t>
              </a: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Segoe UI" panose="020B0502040204020203" pitchFamily="34" charset="0"/>
                <a:sym typeface="Quattrocento Sans"/>
              </a:endParaRP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r>
                <a:rPr kumimoji="0" lang="en-US" sz="1600" b="1"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sym typeface="Quattrocento Sans"/>
                </a:rPr>
                <a:t>46x</a:t>
              </a:r>
              <a:r>
                <a:rPr kumimoji="0" lang="en-US" sz="1600" b="1" i="0" u="none" strike="noStrike" kern="1200" cap="none" spc="0" normalizeH="0" baseline="0" noProof="0">
                  <a:ln>
                    <a:noFill/>
                  </a:ln>
                  <a:solidFill>
                    <a:srgbClr val="008272"/>
                  </a:solidFill>
                  <a:effectLst/>
                  <a:uLnTx/>
                  <a:uFillTx/>
                  <a:latin typeface="Segoe UI" panose="020B0502040204020203" pitchFamily="34" charset="0"/>
                  <a:ea typeface="+mn-ea"/>
                  <a:cs typeface="Segoe UI" panose="020B0502040204020203" pitchFamily="34" charset="0"/>
                  <a:sym typeface="Quattrocento Sans"/>
                </a:rPr>
                <a:t> </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Quattrocento Sans"/>
                  <a:cs typeface="Segoe UI" panose="020B0502040204020203" pitchFamily="34" charset="0"/>
                  <a:sym typeface="Quattrocento Sans"/>
                </a:rPr>
                <a:t>more frequent for code delivery</a:t>
              </a:r>
              <a:r>
                <a:rPr kumimoji="0" lang="en-US" sz="1600" b="0" i="0" u="none" strike="noStrike" kern="1200" cap="none" spc="0" normalizeH="0" baseline="30000" noProof="0">
                  <a:ln>
                    <a:noFill/>
                  </a:ln>
                  <a:solidFill>
                    <a:srgbClr val="000000"/>
                  </a:solidFill>
                  <a:effectLst/>
                  <a:uLnTx/>
                  <a:uFillTx/>
                  <a:latin typeface="Segoe UI" panose="020B0502040204020203" pitchFamily="34" charset="0"/>
                  <a:ea typeface="Quattrocento Sans"/>
                  <a:cs typeface="Segoe UI" panose="020B0502040204020203" pitchFamily="34" charset="0"/>
                  <a:sym typeface="Quattrocento Sans"/>
                </a:rPr>
                <a:t>2</a:t>
              </a:r>
              <a:endParaRPr kumimoji="0" lang="en-US" sz="1600" b="0" i="0" u="none" strike="noStrike" kern="1200" cap="none" spc="0" normalizeH="0" baseline="0" noProof="0">
                <a:ln>
                  <a:noFill/>
                </a:ln>
                <a:solidFill>
                  <a:srgbClr val="000000"/>
                </a:solidFill>
                <a:effectLst/>
                <a:uLnTx/>
                <a:uFillTx/>
                <a:latin typeface="Segoe UI"/>
                <a:ea typeface="+mn-ea"/>
                <a:cs typeface="+mn-cs"/>
                <a:sym typeface="Quattrocento Sans"/>
              </a:endParaRP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endParaRPr kumimoji="0" lang="en-US" sz="1600" b="0" i="0" u="none" strike="noStrike" kern="0" cap="none" spc="0" normalizeH="0" baseline="0" noProof="0">
                <a:ln>
                  <a:noFill/>
                </a:ln>
                <a:solidFill>
                  <a:srgbClr val="2C292A"/>
                </a:solidFill>
                <a:effectLst/>
                <a:uLnTx/>
                <a:uFillTx/>
                <a:latin typeface="Segoe UI"/>
                <a:ea typeface="+mn-ea"/>
                <a:cs typeface="+mn-cs"/>
                <a:sym typeface="Quattrocento Sans"/>
              </a:endParaRPr>
            </a:p>
          </p:txBody>
        </p:sp>
        <p:cxnSp>
          <p:nvCxnSpPr>
            <p:cNvPr id="93" name="Straight Arrow Connector 92">
              <a:extLst>
                <a:ext uri="{FF2B5EF4-FFF2-40B4-BE49-F238E27FC236}">
                  <a16:creationId xmlns:a16="http://schemas.microsoft.com/office/drawing/2014/main" id="{3C0F04B8-50B5-41ED-A8E6-3DD2E79A2270}"/>
                </a:ext>
              </a:extLst>
            </p:cNvPr>
            <p:cNvCxnSpPr>
              <a:cxnSpLocks/>
            </p:cNvCxnSpPr>
            <p:nvPr/>
          </p:nvCxnSpPr>
          <p:spPr>
            <a:xfrm>
              <a:off x="4372368" y="5747944"/>
              <a:ext cx="5732147" cy="0"/>
            </a:xfrm>
            <a:prstGeom prst="straightConnector1">
              <a:avLst/>
            </a:prstGeom>
            <a:noFill/>
            <a:ln w="57150" cap="flat" cmpd="sng" algn="ctr">
              <a:solidFill>
                <a:srgbClr val="0078D7"/>
              </a:solidFill>
              <a:prstDash val="solid"/>
              <a:headEnd type="triangle"/>
              <a:tailEnd type="triangle"/>
            </a:ln>
            <a:effectLst/>
          </p:spPr>
        </p:cxnSp>
      </p:grpSp>
      <p:sp>
        <p:nvSpPr>
          <p:cNvPr id="95" name="Rectangle 94">
            <a:extLst>
              <a:ext uri="{FF2B5EF4-FFF2-40B4-BE49-F238E27FC236}">
                <a16:creationId xmlns:a16="http://schemas.microsoft.com/office/drawing/2014/main" id="{2FFA6582-1F5B-44DA-A664-F122222C5B58}"/>
              </a:ext>
            </a:extLst>
          </p:cNvPr>
          <p:cNvSpPr/>
          <p:nvPr/>
        </p:nvSpPr>
        <p:spPr>
          <a:xfrm>
            <a:off x="216758" y="6521241"/>
            <a:ext cx="6957660" cy="241605"/>
          </a:xfrm>
          <a:prstGeom prst="rect">
            <a:avLst/>
          </a:prstGeom>
        </p:spPr>
        <p:txBody>
          <a:bodyPr wrap="square">
            <a:spAutoFit/>
          </a:bodyPr>
          <a:lstStyle/>
          <a:p>
            <a:pPr marL="0" marR="0" lvl="0" indent="0" algn="l" defTabSz="896354" rtl="0" eaLnBrk="1" fontAlgn="auto" latinLnBrk="0" hangingPunct="1">
              <a:lnSpc>
                <a:spcPct val="90000"/>
              </a:lnSpc>
              <a:spcBef>
                <a:spcPts val="0"/>
              </a:spcBef>
              <a:spcAft>
                <a:spcPts val="576"/>
              </a:spcAft>
              <a:buClrTx/>
              <a:buSzTx/>
              <a:buFontTx/>
              <a:buNone/>
              <a:tabLst/>
              <a:defRPr/>
            </a:pPr>
            <a:r>
              <a:rPr kumimoji="0" lang="en-US" sz="1078" b="0" i="0" u="none" strike="noStrike" kern="1200" cap="none" spc="0" normalizeH="0" baseline="0" noProof="0">
                <a:ln>
                  <a:noFill/>
                </a:ln>
                <a:solidFill>
                  <a:sysClr val="windowText" lastClr="000000"/>
                </a:solidFill>
                <a:effectLst/>
                <a:uLnTx/>
                <a:uFillTx/>
                <a:latin typeface="Segoe UI"/>
                <a:ea typeface="+mn-ea"/>
                <a:cs typeface="Segoe UI Semibold" panose="020B0702040204020203" pitchFamily="34" charset="0"/>
              </a:rPr>
              <a:t>1: Datadog </a:t>
            </a:r>
            <a:r>
              <a:rPr kumimoji="0" lang="en-US" sz="1078" b="0" i="0" u="none" strike="noStrike" kern="1200" cap="none" spc="0" normalizeH="0" baseline="0" noProof="0">
                <a:ln>
                  <a:noFill/>
                </a:ln>
                <a:solidFill>
                  <a:sysClr val="windowText" lastClr="000000"/>
                </a:solidFill>
                <a:effectLst/>
                <a:uLnTx/>
                <a:uFillTx/>
                <a:latin typeface="Segoe UI"/>
                <a:ea typeface="+mn-ea"/>
                <a:cs typeface="Segoe UI Semibold" panose="020B0702040204020203" pitchFamily="34" charset="0"/>
                <a:hlinkClick r:id="rId3">
                  <a:extLst>
                    <a:ext uri="{A12FA001-AC4F-418D-AE19-62706E023703}">
                      <ahyp:hlinkClr xmlns:ahyp="http://schemas.microsoft.com/office/drawing/2018/hyperlinkcolor" val="tx"/>
                    </a:ext>
                  </a:extLst>
                </a:hlinkClick>
              </a:rPr>
              <a:t>Report</a:t>
            </a:r>
            <a:r>
              <a:rPr kumimoji="0" lang="en-US" sz="1078" b="0" i="0" u="none" strike="noStrike" kern="1200" cap="none" spc="0" normalizeH="0" baseline="0" noProof="0">
                <a:ln>
                  <a:noFill/>
                </a:ln>
                <a:solidFill>
                  <a:sysClr val="windowText" lastClr="000000"/>
                </a:solidFill>
                <a:effectLst/>
                <a:uLnTx/>
                <a:uFillTx/>
                <a:latin typeface="Segoe UI"/>
                <a:ea typeface="+mn-ea"/>
                <a:cs typeface="Segoe UI Semibold" panose="020B0702040204020203" pitchFamily="34" charset="0"/>
              </a:rPr>
              <a:t>: 8 Surprising Facts About Real Docker Adoption;  2: 2017 state of DevOps </a:t>
            </a:r>
            <a:r>
              <a:rPr kumimoji="0" lang="en-US" sz="1078" b="0" i="0" u="none" strike="noStrike" kern="1200" cap="none" spc="0" normalizeH="0" baseline="0" noProof="0">
                <a:ln>
                  <a:noFill/>
                </a:ln>
                <a:solidFill>
                  <a:sysClr val="windowText" lastClr="000000"/>
                </a:solidFill>
                <a:effectLst/>
                <a:uLnTx/>
                <a:uFillTx/>
                <a:latin typeface="Segoe UI"/>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Report</a:t>
            </a:r>
            <a:r>
              <a:rPr kumimoji="0" lang="en-US" sz="1078" b="0" i="0" u="none" strike="noStrike" kern="1200" cap="none" spc="0" normalizeH="0" baseline="0" noProof="0">
                <a:ln>
                  <a:noFill/>
                </a:ln>
                <a:solidFill>
                  <a:sysClr val="windowText" lastClr="000000"/>
                </a:solidFill>
                <a:effectLst/>
                <a:uLnTx/>
                <a:uFillTx/>
                <a:latin typeface="Segoe UI"/>
                <a:ea typeface="+mn-ea"/>
                <a:cs typeface="Segoe UI Semibold" panose="020B0702040204020203" pitchFamily="34" charset="0"/>
              </a:rPr>
              <a:t> </a:t>
            </a:r>
            <a:endParaRPr kumimoji="0" lang="en-US" sz="1078" b="0" i="0" u="none" strike="noStrike" kern="1200" cap="none" spc="0" normalizeH="0" baseline="0" noProof="0">
              <a:ln>
                <a:noFill/>
              </a:ln>
              <a:solidFill>
                <a:sysClr val="windowText" lastClr="000000"/>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4CAC6F4E-58BD-471A-8353-94E1D5942FBE}"/>
              </a:ext>
            </a:extLst>
          </p:cNvPr>
          <p:cNvGrpSpPr/>
          <p:nvPr/>
        </p:nvGrpSpPr>
        <p:grpSpPr>
          <a:xfrm>
            <a:off x="1909654" y="1865514"/>
            <a:ext cx="8372692" cy="3523376"/>
            <a:chOff x="1307290" y="1772750"/>
            <a:chExt cx="8372692" cy="3523376"/>
          </a:xfrm>
        </p:grpSpPr>
        <p:grpSp>
          <p:nvGrpSpPr>
            <p:cNvPr id="5" name="Group 4">
              <a:extLst>
                <a:ext uri="{FF2B5EF4-FFF2-40B4-BE49-F238E27FC236}">
                  <a16:creationId xmlns:a16="http://schemas.microsoft.com/office/drawing/2014/main" id="{E1E23D98-CBDB-4060-8527-B9D9725CAA81}"/>
                </a:ext>
              </a:extLst>
            </p:cNvPr>
            <p:cNvGrpSpPr/>
            <p:nvPr/>
          </p:nvGrpSpPr>
          <p:grpSpPr>
            <a:xfrm>
              <a:off x="1852274" y="1823783"/>
              <a:ext cx="896425" cy="1197506"/>
              <a:chOff x="1852274" y="1879763"/>
              <a:chExt cx="896425" cy="1197506"/>
            </a:xfrm>
          </p:grpSpPr>
          <p:sp>
            <p:nvSpPr>
              <p:cNvPr id="27" name="TextBox 26">
                <a:extLst>
                  <a:ext uri="{FF2B5EF4-FFF2-40B4-BE49-F238E27FC236}">
                    <a16:creationId xmlns:a16="http://schemas.microsoft.com/office/drawing/2014/main" id="{9E4699AA-6FDF-4CEE-8B1E-CCADEB9CF07B}"/>
                  </a:ext>
                </a:extLst>
              </p:cNvPr>
              <p:cNvSpPr txBox="1"/>
              <p:nvPr/>
            </p:nvSpPr>
            <p:spPr>
              <a:xfrm>
                <a:off x="1870328" y="1879763"/>
                <a:ext cx="861436" cy="247120"/>
              </a:xfrm>
              <a:prstGeom prst="rect">
                <a:avLst/>
              </a:prstGeom>
              <a:solidFill>
                <a:schemeClr val="accent5">
                  <a:lumMod val="10000"/>
                  <a:lumOff val="90000"/>
                  <a:alpha val="25000"/>
                </a:schemeClr>
              </a:solidFill>
              <a:ln w="19050">
                <a:solidFill>
                  <a:srgbClr val="0078D4"/>
                </a:solidFill>
              </a:ln>
            </p:spPr>
            <p:txBody>
              <a:bodyPr wrap="square" lIns="0" tIns="53785" rIns="0" bIns="53785"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App</a:t>
                </a:r>
                <a:endParaRPr kumimoji="0" lang="en-US" sz="1050" b="0" i="0" u="none" strike="noStrike" kern="1200" cap="none" spc="0" normalizeH="0" baseline="0" noProof="0">
                  <a:ln>
                    <a:noFill/>
                  </a:ln>
                  <a:solidFill>
                    <a:srgbClr val="000000"/>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F6138D16-0ECF-482D-8C02-5B9D2BD9C916}"/>
                  </a:ext>
                </a:extLst>
              </p:cNvPr>
              <p:cNvGrpSpPr>
                <a:grpSpLocks/>
              </p:cNvGrpSpPr>
              <p:nvPr/>
            </p:nvGrpSpPr>
            <p:grpSpPr>
              <a:xfrm>
                <a:off x="1852274" y="2180845"/>
                <a:ext cx="896425" cy="896424"/>
                <a:chOff x="4680680" y="-1131468"/>
                <a:chExt cx="951424" cy="970598"/>
              </a:xfrm>
            </p:grpSpPr>
            <p:sp>
              <p:nvSpPr>
                <p:cNvPr id="29" name="Freeform: Shape 108">
                  <a:extLst>
                    <a:ext uri="{FF2B5EF4-FFF2-40B4-BE49-F238E27FC236}">
                      <a16:creationId xmlns:a16="http://schemas.microsoft.com/office/drawing/2014/main" id="{3617CD3A-B97C-42CA-B773-1344F02D9618}"/>
                    </a:ext>
                  </a:extLst>
                </p:cNvPr>
                <p:cNvSpPr/>
                <p:nvPr/>
              </p:nvSpPr>
              <p:spPr>
                <a:xfrm>
                  <a:off x="4680680" y="-1131468"/>
                  <a:ext cx="951424" cy="295275"/>
                </a:xfrm>
                <a:custGeom>
                  <a:avLst/>
                  <a:gdLst/>
                  <a:ahLst/>
                  <a:cxnLst/>
                  <a:rect l="0" t="0" r="0" b="0"/>
                  <a:pathLst>
                    <a:path w="933450" h="295275">
                      <a:moveTo>
                        <a:pt x="21431" y="21431"/>
                      </a:moveTo>
                      <a:lnTo>
                        <a:pt x="921544" y="21431"/>
                      </a:lnTo>
                      <a:lnTo>
                        <a:pt x="921544" y="280511"/>
                      </a:lnTo>
                      <a:lnTo>
                        <a:pt x="21431" y="280511"/>
                      </a:ln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Shape 109">
                  <a:extLst>
                    <a:ext uri="{FF2B5EF4-FFF2-40B4-BE49-F238E27FC236}">
                      <a16:creationId xmlns:a16="http://schemas.microsoft.com/office/drawing/2014/main" id="{84D597BB-B601-47DD-BD43-26C78BAF299E}"/>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4" name="Freeform: Shape 110">
                  <a:extLst>
                    <a:ext uri="{FF2B5EF4-FFF2-40B4-BE49-F238E27FC236}">
                      <a16:creationId xmlns:a16="http://schemas.microsoft.com/office/drawing/2014/main" id="{193A6D78-848E-4C61-BCA7-96D1A2E488E8}"/>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5" name="Freeform: Shape 111">
                  <a:extLst>
                    <a:ext uri="{FF2B5EF4-FFF2-40B4-BE49-F238E27FC236}">
                      <a16:creationId xmlns:a16="http://schemas.microsoft.com/office/drawing/2014/main" id="{0DD01ADB-29BB-4D2E-BE32-703D7067BE8A}"/>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6" name="Freeform: Shape 112">
                  <a:extLst>
                    <a:ext uri="{FF2B5EF4-FFF2-40B4-BE49-F238E27FC236}">
                      <a16:creationId xmlns:a16="http://schemas.microsoft.com/office/drawing/2014/main" id="{C90E68E3-DC0F-4E9B-86CB-FDB9C0505B8C}"/>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Shape 113">
                  <a:extLst>
                    <a:ext uri="{FF2B5EF4-FFF2-40B4-BE49-F238E27FC236}">
                      <a16:creationId xmlns:a16="http://schemas.microsoft.com/office/drawing/2014/main" id="{67BF4AA2-772C-4BFF-A64C-6E6F3FA84BA7}"/>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8" name="Freeform: Shape 114">
                  <a:extLst>
                    <a:ext uri="{FF2B5EF4-FFF2-40B4-BE49-F238E27FC236}">
                      <a16:creationId xmlns:a16="http://schemas.microsoft.com/office/drawing/2014/main" id="{86F0A622-4056-4679-ADFE-F546DDC3AEE2}"/>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9" name="Freeform: Shape 115">
                  <a:extLst>
                    <a:ext uri="{FF2B5EF4-FFF2-40B4-BE49-F238E27FC236}">
                      <a16:creationId xmlns:a16="http://schemas.microsoft.com/office/drawing/2014/main" id="{4EC056BD-9ACD-405F-BED5-44A01608B5D6}"/>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0" name="Freeform: Shape 116">
                  <a:extLst>
                    <a:ext uri="{FF2B5EF4-FFF2-40B4-BE49-F238E27FC236}">
                      <a16:creationId xmlns:a16="http://schemas.microsoft.com/office/drawing/2014/main" id="{B7A4820D-AD7C-44EC-826D-80B7DE1E8543}"/>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1" name="Freeform: Shape 117">
                  <a:extLst>
                    <a:ext uri="{FF2B5EF4-FFF2-40B4-BE49-F238E27FC236}">
                      <a16:creationId xmlns:a16="http://schemas.microsoft.com/office/drawing/2014/main" id="{F5E14C15-6090-4379-BA72-629AFF6C2B08}"/>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2" name="Freeform: Shape 118">
                  <a:extLst>
                    <a:ext uri="{FF2B5EF4-FFF2-40B4-BE49-F238E27FC236}">
                      <a16:creationId xmlns:a16="http://schemas.microsoft.com/office/drawing/2014/main" id="{C9F2DB70-0026-42C2-9697-D4E7C96D0148}"/>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Shape 119">
                  <a:extLst>
                    <a:ext uri="{FF2B5EF4-FFF2-40B4-BE49-F238E27FC236}">
                      <a16:creationId xmlns:a16="http://schemas.microsoft.com/office/drawing/2014/main" id="{D8405CC7-81F4-4570-B7A1-89DA85ACEE91}"/>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Shape 120">
                  <a:extLst>
                    <a:ext uri="{FF2B5EF4-FFF2-40B4-BE49-F238E27FC236}">
                      <a16:creationId xmlns:a16="http://schemas.microsoft.com/office/drawing/2014/main" id="{4038888A-8AA8-4FDD-AFDB-25127492964C}"/>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Shape 121">
                  <a:extLst>
                    <a:ext uri="{FF2B5EF4-FFF2-40B4-BE49-F238E27FC236}">
                      <a16:creationId xmlns:a16="http://schemas.microsoft.com/office/drawing/2014/main" id="{7AC78564-150D-490E-BE77-C4472D71D293}"/>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Shape 122">
                  <a:extLst>
                    <a:ext uri="{FF2B5EF4-FFF2-40B4-BE49-F238E27FC236}">
                      <a16:creationId xmlns:a16="http://schemas.microsoft.com/office/drawing/2014/main" id="{18376E42-EAAF-4762-9FA7-72A63954ECD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E1DE750E-8A9A-41BF-A747-D6F5A5AF3E01}"/>
                </a:ext>
              </a:extLst>
            </p:cNvPr>
            <p:cNvGrpSpPr/>
            <p:nvPr/>
          </p:nvGrpSpPr>
          <p:grpSpPr>
            <a:xfrm>
              <a:off x="4893198" y="1772750"/>
              <a:ext cx="1299573" cy="1299573"/>
              <a:chOff x="4893198" y="1767803"/>
              <a:chExt cx="1299573" cy="1299573"/>
            </a:xfrm>
          </p:grpSpPr>
          <p:sp>
            <p:nvSpPr>
              <p:cNvPr id="86" name="Oval 85">
                <a:extLst>
                  <a:ext uri="{FF2B5EF4-FFF2-40B4-BE49-F238E27FC236}">
                    <a16:creationId xmlns:a16="http://schemas.microsoft.com/office/drawing/2014/main" id="{E1DFFA2F-0C80-4D68-95D1-25E54453E381}"/>
                  </a:ext>
                </a:extLst>
              </p:cNvPr>
              <p:cNvSpPr/>
              <p:nvPr/>
            </p:nvSpPr>
            <p:spPr bwMode="auto">
              <a:xfrm rot="16200000">
                <a:off x="4893198" y="1767803"/>
                <a:ext cx="1299573" cy="1299573"/>
              </a:xfrm>
              <a:prstGeom prst="ellipse">
                <a:avLst/>
              </a:prstGeom>
              <a:solidFill>
                <a:schemeClr val="bg1"/>
              </a:solidFill>
              <a:ln w="190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charset="0"/>
                  <a:ea typeface="+mn-ea"/>
                  <a:cs typeface="+mn-cs"/>
                </a:endParaRPr>
              </a:p>
            </p:txBody>
          </p:sp>
          <p:sp>
            <p:nvSpPr>
              <p:cNvPr id="87" name="Rectangle: Rounded Corners 73">
                <a:extLst>
                  <a:ext uri="{FF2B5EF4-FFF2-40B4-BE49-F238E27FC236}">
                    <a16:creationId xmlns:a16="http://schemas.microsoft.com/office/drawing/2014/main" id="{A2647510-E455-4F1D-898E-0F4F8FE2E9EE}"/>
                  </a:ext>
                </a:extLst>
              </p:cNvPr>
              <p:cNvSpPr/>
              <p:nvPr/>
            </p:nvSpPr>
            <p:spPr bwMode="auto">
              <a:xfrm>
                <a:off x="5015995" y="1944954"/>
                <a:ext cx="1033114" cy="973041"/>
              </a:xfrm>
              <a:prstGeom prst="roundRect">
                <a:avLst>
                  <a:gd name="adj" fmla="val 3125"/>
                </a:avLst>
              </a:prstGeom>
              <a:no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t>Container</a:t>
                </a:r>
              </a:p>
            </p:txBody>
          </p:sp>
          <p:sp>
            <p:nvSpPr>
              <p:cNvPr id="88" name="TextBox 87">
                <a:extLst>
                  <a:ext uri="{FF2B5EF4-FFF2-40B4-BE49-F238E27FC236}">
                    <a16:creationId xmlns:a16="http://schemas.microsoft.com/office/drawing/2014/main" id="{4038C444-4A2D-41AF-A0E9-195B150A2888}"/>
                  </a:ext>
                </a:extLst>
              </p:cNvPr>
              <p:cNvSpPr txBox="1"/>
              <p:nvPr/>
            </p:nvSpPr>
            <p:spPr>
              <a:xfrm>
                <a:off x="5101833" y="2462095"/>
                <a:ext cx="861436" cy="247120"/>
              </a:xfrm>
              <a:prstGeom prst="rect">
                <a:avLst/>
              </a:prstGeom>
              <a:solidFill>
                <a:schemeClr val="accent5">
                  <a:lumMod val="10000"/>
                  <a:lumOff val="90000"/>
                  <a:alpha val="25000"/>
                </a:schemeClr>
              </a:solidFill>
              <a:ln w="19050">
                <a:solidFill>
                  <a:srgbClr val="0078D4"/>
                </a:solidFill>
              </a:ln>
            </p:spPr>
            <p:txBody>
              <a:bodyPr wrap="square" lIns="0" tIns="53785" rIns="0" bIns="53785"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sz="1050" b="0" i="0" u="none" strike="noStrike" cap="none" spc="0" normalizeH="0" baseline="0">
                    <a:ln>
                      <a:noFill/>
                    </a:ln>
                    <a:solidFill>
                      <a:srgbClr val="505050"/>
                    </a:solidFill>
                    <a:effectLst/>
                    <a:uLnTx/>
                    <a:uFillTx/>
                    <a:latin typeface="Segoe UI"/>
                  </a:defRPr>
                </a:lvl1pPr>
              </a:lstStyle>
              <a:p>
                <a:r>
                  <a:rPr lang="en-US" sz="1000">
                    <a:solidFill>
                      <a:srgbClr val="000000"/>
                    </a:solidFill>
                  </a:rPr>
                  <a:t>App</a:t>
                </a:r>
                <a:endParaRPr lang="en-US">
                  <a:solidFill>
                    <a:srgbClr val="000000"/>
                  </a:solidFill>
                </a:endParaRPr>
              </a:p>
            </p:txBody>
          </p:sp>
        </p:grpSp>
        <p:sp>
          <p:nvSpPr>
            <p:cNvPr id="89" name="Shape 593">
              <a:extLst>
                <a:ext uri="{FF2B5EF4-FFF2-40B4-BE49-F238E27FC236}">
                  <a16:creationId xmlns:a16="http://schemas.microsoft.com/office/drawing/2014/main" id="{2D311A3D-B826-4C63-A5AF-9D12BAE8A4DF}"/>
                </a:ext>
              </a:extLst>
            </p:cNvPr>
            <p:cNvSpPr txBox="1"/>
            <p:nvPr/>
          </p:nvSpPr>
          <p:spPr>
            <a:xfrm>
              <a:off x="1307290" y="3078179"/>
              <a:ext cx="1969457" cy="2217947"/>
            </a:xfrm>
            <a:prstGeom prst="rect">
              <a:avLst/>
            </a:prstGeom>
            <a:noFill/>
            <a:ln>
              <a:noFill/>
            </a:ln>
          </p:spPr>
          <p:txBody>
            <a:bodyPr lIns="91366" tIns="91366" rIns="91366" bIns="91366" anchor="t" anchorCtr="0">
              <a:noAutofit/>
            </a:bodyPr>
            <a:lstStyle/>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r>
                <a:rPr lang="en" sz="1598" b="1" kern="0">
                  <a:solidFill>
                    <a:srgbClr val="000000"/>
                  </a:solidFill>
                  <a:latin typeface="Segoe UI Semibold" panose="020B0702040204020203" pitchFamily="34" charset="0"/>
                  <a:cs typeface="Segoe UI Semibold" panose="020B0702040204020203" pitchFamily="34" charset="0"/>
                  <a:sym typeface="Quattrocento Sans"/>
                </a:rPr>
                <a:t>Existing</a:t>
              </a:r>
              <a:r>
                <a:rPr lang="en-US" sz="1598" b="1" kern="0">
                  <a:solidFill>
                    <a:srgbClr val="000000"/>
                  </a:solidFill>
                  <a:latin typeface="Segoe UI Semibold" panose="020B0702040204020203" pitchFamily="34" charset="0"/>
                  <a:cs typeface="Segoe UI Semibold" panose="020B0702040204020203" pitchFamily="34" charset="0"/>
                  <a:sym typeface="Quattrocento Sans"/>
                </a:rPr>
                <a:t>/New Applications</a:t>
              </a:r>
              <a:endParaRPr lang="en" sz="1598" b="1" kern="0">
                <a:solidFill>
                  <a:srgbClr val="000000"/>
                </a:solidFill>
                <a:latin typeface="Segoe UI Semibold" panose="020B0702040204020203" pitchFamily="34" charset="0"/>
                <a:cs typeface="Segoe UI Semibold" panose="020B0702040204020203" pitchFamily="34" charset="0"/>
                <a:sym typeface="Quattrocento Sans"/>
              </a:endParaRP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br>
                <a:rPr kumimoji="0" lang="en" sz="1598" b="0" i="0" u="none" strike="noStrike" kern="1200" cap="none" spc="0" normalizeH="0" baseline="0" noProof="0">
                  <a:ln>
                    <a:noFill/>
                  </a:ln>
                  <a:solidFill>
                    <a:srgbClr val="000000"/>
                  </a:solidFill>
                  <a:effectLst/>
                  <a:uLnTx/>
                  <a:uFillTx/>
                  <a:latin typeface="Segoe UI" panose="020B0502040204020203" pitchFamily="34" charset="0"/>
                  <a:ea typeface="Quattrocento Sans"/>
                  <a:cs typeface="Segoe UI" panose="020B0502040204020203" pitchFamily="34" charset="0"/>
                  <a:sym typeface="Quattrocento Sans"/>
                </a:rPr>
              </a:br>
              <a:endParaRPr kumimoji="0" lang="en" sz="1598" b="0" i="0" u="none" strike="noStrike" kern="1200" cap="none" spc="-30" normalizeH="0" baseline="0" noProof="0">
                <a:ln>
                  <a:noFill/>
                </a:ln>
                <a:solidFill>
                  <a:srgbClr val="000000"/>
                </a:solidFill>
                <a:effectLst/>
                <a:uLnTx/>
                <a:uFillTx/>
                <a:latin typeface="Segoe UI" panose="020B0502040204020203" pitchFamily="34" charset="0"/>
                <a:ea typeface="Quattrocento Sans"/>
                <a:cs typeface="Segoe UI" panose="020B0502040204020203" pitchFamily="34" charset="0"/>
                <a:sym typeface="Quattrocento Sans"/>
              </a:endParaRPr>
            </a:p>
          </p:txBody>
        </p:sp>
        <p:sp>
          <p:nvSpPr>
            <p:cNvPr id="90" name="Shape 592">
              <a:extLst>
                <a:ext uri="{FF2B5EF4-FFF2-40B4-BE49-F238E27FC236}">
                  <a16:creationId xmlns:a16="http://schemas.microsoft.com/office/drawing/2014/main" id="{6B063A29-014F-423A-9DA0-45C208DCC1BE}"/>
                </a:ext>
              </a:extLst>
            </p:cNvPr>
            <p:cNvSpPr txBox="1"/>
            <p:nvPr/>
          </p:nvSpPr>
          <p:spPr>
            <a:xfrm>
              <a:off x="4372368" y="3055712"/>
              <a:ext cx="2179814" cy="2217946"/>
            </a:xfrm>
            <a:prstGeom prst="rect">
              <a:avLst/>
            </a:prstGeom>
            <a:noFill/>
            <a:ln>
              <a:noFill/>
            </a:ln>
          </p:spPr>
          <p:txBody>
            <a:bodyPr lIns="91366" tIns="91366" rIns="91366" bIns="91366" anchor="t" anchorCtr="0">
              <a:noAutofit/>
            </a:bodyPr>
            <a:lstStyle/>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r>
                <a:rPr lang="en-US" sz="1598" b="1" kern="0">
                  <a:solidFill>
                    <a:srgbClr val="000000"/>
                  </a:solidFill>
                  <a:latin typeface="Segoe UI Semibold" panose="020B0702040204020203" pitchFamily="34" charset="0"/>
                  <a:cs typeface="Segoe UI Semibold" panose="020B0702040204020203" pitchFamily="34" charset="0"/>
                  <a:sym typeface="Quattrocento Sans"/>
                </a:rPr>
                <a:t>Lift and shift to containers</a:t>
              </a: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endParaRPr kumimoji="0" lang="en-US" sz="15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2353"/>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Each host often runs</a:t>
              </a:r>
              <a:r>
                <a:rPr kumimoji="0" lang="en-US" sz="16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br>
                <a:rPr kumimoji="0" lang="en-US" sz="16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600" i="0" u="none" strike="noStrike" kern="1200" cap="none" spc="0" normalizeH="0" baseline="0" noProof="0">
                  <a:ln>
                    <a:noFill/>
                  </a:ln>
                  <a:solidFill>
                    <a:srgbClr val="0078D4"/>
                  </a:solidFill>
                  <a:effectLst/>
                  <a:uLnTx/>
                  <a:uFillTx/>
                  <a:latin typeface="Segoe UI Semibold" panose="020B0702040204020203" pitchFamily="34" charset="0"/>
                  <a:cs typeface="Segoe UI Semibold" panose="020B0702040204020203" pitchFamily="34" charset="0"/>
                </a:rPr>
                <a:t>8</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containers</a:t>
              </a:r>
              <a:b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t a time</a:t>
              </a:r>
              <a:r>
                <a:rPr kumimoji="0" lang="en-US" sz="1600" b="0" i="0" u="none" strike="noStrike" kern="1200" cap="none" spc="0" normalizeH="0" baseline="30000" noProof="0">
                  <a:ln>
                    <a:noFill/>
                  </a:ln>
                  <a:solidFill>
                    <a:srgbClr val="000000"/>
                  </a:solidFill>
                  <a:effectLst/>
                  <a:uLnTx/>
                  <a:uFillTx/>
                  <a:latin typeface="Segoe UI" panose="020B0502040204020203" pitchFamily="34" charset="0"/>
                  <a:ea typeface="+mn-ea"/>
                  <a:cs typeface="Segoe UI" panose="020B0502040204020203" pitchFamily="34" charset="0"/>
                </a:rPr>
                <a:t>1</a:t>
              </a:r>
            </a:p>
          </p:txBody>
        </p:sp>
        <p:sp>
          <p:nvSpPr>
            <p:cNvPr id="91" name="Shape 594">
              <a:extLst>
                <a:ext uri="{FF2B5EF4-FFF2-40B4-BE49-F238E27FC236}">
                  <a16:creationId xmlns:a16="http://schemas.microsoft.com/office/drawing/2014/main" id="{BF291578-E9EE-43A5-BFD7-918F8C18B695}"/>
                </a:ext>
              </a:extLst>
            </p:cNvPr>
            <p:cNvSpPr txBox="1"/>
            <p:nvPr/>
          </p:nvSpPr>
          <p:spPr>
            <a:xfrm>
              <a:off x="7833375" y="3067376"/>
              <a:ext cx="1846607" cy="2217946"/>
            </a:xfrm>
            <a:prstGeom prst="rect">
              <a:avLst/>
            </a:prstGeom>
            <a:noFill/>
            <a:ln>
              <a:noFill/>
            </a:ln>
          </p:spPr>
          <p:txBody>
            <a:bodyPr lIns="91366" tIns="91366" rIns="91366" bIns="91366" anchor="t" anchorCtr="0">
              <a:noAutofit/>
            </a:bodyPr>
            <a:lstStyle/>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r>
                <a:rPr lang="en" sz="1598" b="1" kern="0">
                  <a:solidFill>
                    <a:srgbClr val="000000"/>
                  </a:solidFill>
                  <a:latin typeface="Segoe UI Semibold" panose="020B0702040204020203" pitchFamily="34" charset="0"/>
                  <a:cs typeface="Segoe UI Semibold" panose="020B0702040204020203" pitchFamily="34" charset="0"/>
                  <a:sym typeface="Quattrocento Sans"/>
                </a:rPr>
                <a:t>Microservices </a:t>
              </a:r>
              <a:endParaRPr lang="en-US" sz="1598" b="1" kern="0">
                <a:solidFill>
                  <a:srgbClr val="000000"/>
                </a:solidFill>
                <a:latin typeface="Segoe UI Semibold" panose="020B0702040204020203" pitchFamily="34" charset="0"/>
                <a:cs typeface="Segoe UI Semibold" panose="020B0702040204020203" pitchFamily="34" charset="0"/>
                <a:sym typeface="Quattrocento Sans"/>
              </a:endParaRP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endParaRPr kumimoji="0" lang="en" sz="1598" b="1" i="0" u="none" strike="noStrike" kern="1200" cap="none" spc="0" normalizeH="0" baseline="0" noProof="0">
                <a:ln>
                  <a:noFill/>
                </a:ln>
                <a:solidFill>
                  <a:srgbClr val="000000"/>
                </a:solidFill>
                <a:effectLst/>
                <a:uLnTx/>
                <a:uFillTx/>
                <a:latin typeface="Segoe UI" panose="020B0502040204020203" pitchFamily="34" charset="0"/>
                <a:ea typeface="Quattrocento Sans"/>
                <a:cs typeface="Segoe UI" panose="020B0502040204020203" pitchFamily="34" charset="0"/>
                <a:sym typeface="Quattrocento Sans"/>
              </a:endParaRP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endParaRPr kumimoji="0" lang="en-US" sz="15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2353"/>
                </a:spcAft>
                <a:buClrTx/>
                <a:buSzTx/>
                <a:buFontTx/>
                <a:buNone/>
                <a:tabLst/>
                <a:defRPr/>
              </a:pPr>
              <a:r>
                <a:rPr lang="en-US" sz="1600">
                  <a:solidFill>
                    <a:srgbClr val="0078D4"/>
                  </a:solidFill>
                  <a:latin typeface="Segoe UI Semibold" panose="020B0702040204020203" pitchFamily="34" charset="0"/>
                  <a:cs typeface="Segoe UI Semibold" panose="020B0702040204020203" pitchFamily="34" charset="0"/>
                </a:rPr>
                <a:t>Second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to deploy, churns </a:t>
              </a:r>
              <a:b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lang="en-US" sz="1600">
                  <a:solidFill>
                    <a:srgbClr val="0078D4"/>
                  </a:solidFill>
                  <a:latin typeface="Segoe UI Semibold" panose="020B0702040204020203" pitchFamily="34" charset="0"/>
                  <a:cs typeface="Segoe UI Semibold" panose="020B0702040204020203" pitchFamily="34" charset="0"/>
                </a:rPr>
                <a:t>12x</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faster</a:t>
              </a:r>
              <a:r>
                <a:rPr kumimoji="0" lang="en-US" sz="1600" b="0" i="0" u="none" strike="noStrike" kern="1200" cap="none" spc="0" normalizeH="0" baseline="30000" noProof="0">
                  <a:ln>
                    <a:noFill/>
                  </a:ln>
                  <a:solidFill>
                    <a:srgbClr val="000000"/>
                  </a:solidFill>
                  <a:effectLst/>
                  <a:uLnTx/>
                  <a:uFillTx/>
                  <a:latin typeface="Segoe UI" panose="020B0502040204020203" pitchFamily="34" charset="0"/>
                  <a:ea typeface="+mn-ea"/>
                  <a:cs typeface="Segoe UI" panose="020B0502040204020203" pitchFamily="34" charset="0"/>
                </a:rPr>
                <a:t>1</a:t>
              </a:r>
              <a:endParaRPr kumimoji="0" lang="en-US" sz="16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grpSp>
          <p:nvGrpSpPr>
            <p:cNvPr id="3" name="Group 2">
              <a:extLst>
                <a:ext uri="{FF2B5EF4-FFF2-40B4-BE49-F238E27FC236}">
                  <a16:creationId xmlns:a16="http://schemas.microsoft.com/office/drawing/2014/main" id="{7BB25FAA-29C3-4481-9AC3-58861F20778A}"/>
                </a:ext>
              </a:extLst>
            </p:cNvPr>
            <p:cNvGrpSpPr/>
            <p:nvPr/>
          </p:nvGrpSpPr>
          <p:grpSpPr>
            <a:xfrm>
              <a:off x="8132598" y="2119294"/>
              <a:ext cx="1168252" cy="606484"/>
              <a:chOff x="8132598" y="2169417"/>
              <a:chExt cx="1168252" cy="606484"/>
            </a:xfrm>
          </p:grpSpPr>
          <p:grpSp>
            <p:nvGrpSpPr>
              <p:cNvPr id="81" name="Group 80">
                <a:extLst>
                  <a:ext uri="{FF2B5EF4-FFF2-40B4-BE49-F238E27FC236}">
                    <a16:creationId xmlns:a16="http://schemas.microsoft.com/office/drawing/2014/main" id="{FB22CC92-8ED8-49B2-9870-5677204F824B}"/>
                  </a:ext>
                </a:extLst>
              </p:cNvPr>
              <p:cNvGrpSpPr/>
              <p:nvPr/>
            </p:nvGrpSpPr>
            <p:grpSpPr>
              <a:xfrm>
                <a:off x="8563647" y="2459239"/>
                <a:ext cx="508043" cy="316662"/>
                <a:chOff x="10333333" y="1842485"/>
                <a:chExt cx="518230" cy="323012"/>
              </a:xfrm>
              <a:solidFill>
                <a:schemeClr val="bg1"/>
              </a:solidFill>
            </p:grpSpPr>
            <p:sp>
              <p:nvSpPr>
                <p:cNvPr id="83" name="Freeform 5">
                  <a:extLst>
                    <a:ext uri="{FF2B5EF4-FFF2-40B4-BE49-F238E27FC236}">
                      <a16:creationId xmlns:a16="http://schemas.microsoft.com/office/drawing/2014/main" id="{4FEA35DB-9D97-4D89-81D9-27BE48FD6485}"/>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50800" cap="rnd">
                  <a:solidFill>
                    <a:schemeClr val="bg1"/>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84" name="Freeform 5">
                  <a:extLst>
                    <a:ext uri="{FF2B5EF4-FFF2-40B4-BE49-F238E27FC236}">
                      <a16:creationId xmlns:a16="http://schemas.microsoft.com/office/drawing/2014/main" id="{6A3F856F-6AEA-4861-B288-F2B7CEEB8D19}"/>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19050" cap="rnd">
                  <a:solidFill>
                    <a:srgbClr val="000000"/>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7" name="Group 76">
                <a:extLst>
                  <a:ext uri="{FF2B5EF4-FFF2-40B4-BE49-F238E27FC236}">
                    <a16:creationId xmlns:a16="http://schemas.microsoft.com/office/drawing/2014/main" id="{D1B3436C-9C6A-4F89-9503-335152BE7A43}"/>
                  </a:ext>
                </a:extLst>
              </p:cNvPr>
              <p:cNvGrpSpPr/>
              <p:nvPr/>
            </p:nvGrpSpPr>
            <p:grpSpPr>
              <a:xfrm>
                <a:off x="8388406" y="2169417"/>
                <a:ext cx="508043" cy="316662"/>
                <a:chOff x="10333333" y="1842485"/>
                <a:chExt cx="518230" cy="323012"/>
              </a:xfrm>
              <a:solidFill>
                <a:schemeClr val="bg1"/>
              </a:solidFill>
            </p:grpSpPr>
            <p:sp>
              <p:nvSpPr>
                <p:cNvPr id="79" name="Freeform 5">
                  <a:extLst>
                    <a:ext uri="{FF2B5EF4-FFF2-40B4-BE49-F238E27FC236}">
                      <a16:creationId xmlns:a16="http://schemas.microsoft.com/office/drawing/2014/main" id="{4D8446BE-0B1F-4000-84FE-2F4A823F2C78}"/>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50800" cap="rnd">
                  <a:solidFill>
                    <a:schemeClr val="bg1"/>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5">
                  <a:extLst>
                    <a:ext uri="{FF2B5EF4-FFF2-40B4-BE49-F238E27FC236}">
                      <a16:creationId xmlns:a16="http://schemas.microsoft.com/office/drawing/2014/main" id="{15B66E99-9884-491E-A63A-A23B208C8DEF}"/>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19050" cap="rnd">
                  <a:solidFill>
                    <a:srgbClr val="000000"/>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03D7B6FD-35FB-4D85-BF08-27B8CDD691F6}"/>
                  </a:ext>
                </a:extLst>
              </p:cNvPr>
              <p:cNvGrpSpPr/>
              <p:nvPr/>
            </p:nvGrpSpPr>
            <p:grpSpPr>
              <a:xfrm>
                <a:off x="8132598" y="2406503"/>
                <a:ext cx="508043" cy="316662"/>
                <a:chOff x="10333333" y="1842485"/>
                <a:chExt cx="518230" cy="323012"/>
              </a:xfrm>
              <a:solidFill>
                <a:schemeClr val="bg1"/>
              </a:solidFill>
            </p:grpSpPr>
            <p:sp>
              <p:nvSpPr>
                <p:cNvPr id="75" name="Freeform 5">
                  <a:extLst>
                    <a:ext uri="{FF2B5EF4-FFF2-40B4-BE49-F238E27FC236}">
                      <a16:creationId xmlns:a16="http://schemas.microsoft.com/office/drawing/2014/main" id="{4B357B96-9F6E-46FB-86A5-D2FF5C8479E7}"/>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50800" cap="rnd">
                  <a:solidFill>
                    <a:schemeClr val="bg1"/>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203">
                  <a:extLst>
                    <a:ext uri="{FF2B5EF4-FFF2-40B4-BE49-F238E27FC236}">
                      <a16:creationId xmlns:a16="http://schemas.microsoft.com/office/drawing/2014/main" id="{E65D3082-6CB3-4672-A5B1-93342BDDBBAE}"/>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bg1"/>
                </a:solidFill>
                <a:ln w="19050" cap="rnd">
                  <a:solidFill>
                    <a:srgbClr val="000000"/>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9" name="Group 68">
                <a:extLst>
                  <a:ext uri="{FF2B5EF4-FFF2-40B4-BE49-F238E27FC236}">
                    <a16:creationId xmlns:a16="http://schemas.microsoft.com/office/drawing/2014/main" id="{159EF96A-77D0-43B2-97BF-8060D1835C06}"/>
                  </a:ext>
                </a:extLst>
              </p:cNvPr>
              <p:cNvGrpSpPr/>
              <p:nvPr/>
            </p:nvGrpSpPr>
            <p:grpSpPr>
              <a:xfrm>
                <a:off x="8792807" y="2209857"/>
                <a:ext cx="508043" cy="316662"/>
                <a:chOff x="10333333" y="1842485"/>
                <a:chExt cx="518230" cy="323012"/>
              </a:xfrm>
              <a:solidFill>
                <a:schemeClr val="bg1"/>
              </a:solidFill>
            </p:grpSpPr>
            <p:sp>
              <p:nvSpPr>
                <p:cNvPr id="71" name="Freeform 5">
                  <a:extLst>
                    <a:ext uri="{FF2B5EF4-FFF2-40B4-BE49-F238E27FC236}">
                      <a16:creationId xmlns:a16="http://schemas.microsoft.com/office/drawing/2014/main" id="{60C9F7CD-7788-4331-A262-7F57D2CC9E3F}"/>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50800" cap="rnd">
                  <a:solidFill>
                    <a:schemeClr val="bg1"/>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72" name="Freeform 5">
                  <a:extLst>
                    <a:ext uri="{FF2B5EF4-FFF2-40B4-BE49-F238E27FC236}">
                      <a16:creationId xmlns:a16="http://schemas.microsoft.com/office/drawing/2014/main" id="{995D19BF-F2E4-43D9-98C3-2D2F90756816}"/>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19050" cap="rnd">
                  <a:solidFill>
                    <a:srgbClr val="000000"/>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96" name="Freeform 104">
                <a:extLst>
                  <a:ext uri="{FF2B5EF4-FFF2-40B4-BE49-F238E27FC236}">
                    <a16:creationId xmlns:a16="http://schemas.microsoft.com/office/drawing/2014/main" id="{86329840-7DA7-49D0-B9DC-CC01232C3DB6}"/>
                  </a:ext>
                </a:extLst>
              </p:cNvPr>
              <p:cNvSpPr>
                <a:spLocks noChangeAspect="1" noEditPoints="1"/>
              </p:cNvSpPr>
              <p:nvPr/>
            </p:nvSpPr>
            <p:spPr bwMode="black">
              <a:xfrm>
                <a:off x="8324717" y="2515738"/>
                <a:ext cx="160642" cy="160642"/>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0078D4"/>
              </a:solidFill>
              <a:ln>
                <a:noFill/>
              </a:ln>
              <a:extLst/>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97" name="Freeform 104">
                <a:extLst>
                  <a:ext uri="{FF2B5EF4-FFF2-40B4-BE49-F238E27FC236}">
                    <a16:creationId xmlns:a16="http://schemas.microsoft.com/office/drawing/2014/main" id="{24E21DB7-2502-43A8-95D9-F2D73AAB867C}"/>
                  </a:ext>
                </a:extLst>
              </p:cNvPr>
              <p:cNvSpPr>
                <a:spLocks noChangeAspect="1" noEditPoints="1"/>
              </p:cNvSpPr>
              <p:nvPr/>
            </p:nvSpPr>
            <p:spPr bwMode="black">
              <a:xfrm>
                <a:off x="8577201" y="2272354"/>
                <a:ext cx="160642" cy="160642"/>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0078D4"/>
              </a:solidFill>
              <a:ln>
                <a:noFill/>
              </a:ln>
              <a:extLst/>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98" name="Freeform 104">
                <a:extLst>
                  <a:ext uri="{FF2B5EF4-FFF2-40B4-BE49-F238E27FC236}">
                    <a16:creationId xmlns:a16="http://schemas.microsoft.com/office/drawing/2014/main" id="{9386690F-1534-4CBD-ADB8-2B87618A1AF8}"/>
                  </a:ext>
                </a:extLst>
              </p:cNvPr>
              <p:cNvSpPr>
                <a:spLocks noChangeAspect="1" noEditPoints="1"/>
              </p:cNvSpPr>
              <p:nvPr/>
            </p:nvSpPr>
            <p:spPr bwMode="black">
              <a:xfrm>
                <a:off x="8970712" y="2315573"/>
                <a:ext cx="160642" cy="160642"/>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0078D4"/>
              </a:solidFill>
              <a:ln>
                <a:noFill/>
              </a:ln>
              <a:extLst/>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99" name="Freeform 104">
                <a:extLst>
                  <a:ext uri="{FF2B5EF4-FFF2-40B4-BE49-F238E27FC236}">
                    <a16:creationId xmlns:a16="http://schemas.microsoft.com/office/drawing/2014/main" id="{DB8EC1C6-4139-40E5-BB4C-9D7CEE83CF17}"/>
                  </a:ext>
                </a:extLst>
              </p:cNvPr>
              <p:cNvSpPr>
                <a:spLocks noChangeAspect="1" noEditPoints="1"/>
              </p:cNvSpPr>
              <p:nvPr/>
            </p:nvSpPr>
            <p:spPr bwMode="black">
              <a:xfrm>
                <a:off x="8740976" y="2563509"/>
                <a:ext cx="160642" cy="160642"/>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0078D4"/>
              </a:solidFill>
              <a:ln>
                <a:noFill/>
              </a:ln>
              <a:extLst/>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grpSp>
      </p:grpSp>
    </p:spTree>
    <p:extLst>
      <p:ext uri="{BB962C8B-B14F-4D97-AF65-F5344CB8AC3E}">
        <p14:creationId xmlns:p14="http://schemas.microsoft.com/office/powerpoint/2010/main" val="874834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11.xml><?xml version="1.0" encoding="utf-8"?>
<a:theme xmlns:a="http://schemas.openxmlformats.org/drawingml/2006/main" name="1_5-50156_Government_Cloud_Forum_2017_Template">
  <a:themeElements>
    <a:clrScheme name="Government Cloud Forum">
      <a:dk1>
        <a:srgbClr val="353535"/>
      </a:dk1>
      <a:lt1>
        <a:srgbClr val="FFFFFF"/>
      </a:lt1>
      <a:dk2>
        <a:srgbClr val="0078D7"/>
      </a:dk2>
      <a:lt2>
        <a:srgbClr val="E6E6E6"/>
      </a:lt2>
      <a:accent1>
        <a:srgbClr val="002050"/>
      </a:accent1>
      <a:accent2>
        <a:srgbClr val="0078D7"/>
      </a:accent2>
      <a:accent3>
        <a:srgbClr val="5C2D91"/>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omK Keynote Government Cloud Forum 2017" id="{98F720AD-5964-4D92-8EC0-E14D4627C34C}" vid="{DDB0C293-BB1E-4446-B0AA-B9594314ADEB}"/>
    </a:ext>
  </a:extLst>
</a:theme>
</file>

<file path=ppt/theme/theme12.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13.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4.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potx" id="{5E894424-2207-423C-A364-F5291691CAB1}" vid="{DF080804-2077-43CC-975F-A513A0AE6AD8}"/>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Template.potx" id="{2CADBBCA-27D9-46E7-B3A3-C567313FF888}" vid="{6828082F-1582-489F-88E4-F27562D9B619}"/>
    </a:ext>
  </a:extLst>
</a:theme>
</file>

<file path=ppt/theme/theme3.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 id="{074D74E6-059F-4B18-967E-8BFCF2D0F8AF}" vid="{23826911-C614-41BB-8225-780535B0FDA2}"/>
    </a:ext>
  </a:extLst>
</a:theme>
</file>

<file path=ppt/theme/theme4.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5.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1_Connect_2016_Template_Light">
  <a:themeElements>
    <a:clrScheme name="Custom 2">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7.xml><?xml version="1.0" encoding="utf-8"?>
<a:theme xmlns:a="http://schemas.openxmlformats.org/drawingml/2006/main" name="Connect_2016_Template_Light">
  <a:themeElements>
    <a:clrScheme name="Custom 2">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8.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9.xml><?xml version="1.0" encoding="utf-8"?>
<a:theme xmlns:a="http://schemas.openxmlformats.org/drawingml/2006/main" name="Azure Dev Light - 2018H2">
  <a:themeElements>
    <a:clrScheme name="Azure 2018Q1 Light">
      <a:dk1>
        <a:srgbClr val="E9E9E9"/>
      </a:dk1>
      <a:lt1>
        <a:srgbClr val="000000"/>
      </a:lt1>
      <a:dk2>
        <a:srgbClr val="FFFFFF"/>
      </a:dk2>
      <a:lt2>
        <a:srgbClr val="404140"/>
      </a:lt2>
      <a:accent1>
        <a:srgbClr val="0078D7"/>
      </a:accent1>
      <a:accent2>
        <a:srgbClr val="4DB0FF"/>
      </a:accent2>
      <a:accent3>
        <a:srgbClr val="B1D6F2"/>
      </a:accent3>
      <a:accent4>
        <a:srgbClr val="0359A0"/>
      </a:accent4>
      <a:accent5>
        <a:srgbClr val="8CCAFD"/>
      </a:accent5>
      <a:accent6>
        <a:srgbClr val="797979"/>
      </a:accent6>
      <a:hlink>
        <a:srgbClr val="4CAFFF"/>
      </a:hlink>
      <a:folHlink>
        <a:srgbClr val="0478D6"/>
      </a:folHlink>
    </a:clrScheme>
    <a:fontScheme name="Windows Fon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bodyPr lIns="0" tIns="0" rIns="0" bIns="0" anchor="t" anchorCtr="0"/>
      <a:lstStyle>
        <a:defPPr>
          <a:defRPr smtClean="0"/>
        </a:defPPr>
      </a:lstStyle>
    </a:txDef>
  </a:objectDefaults>
  <a:extraClrSchemeLst/>
  <a:extLst>
    <a:ext uri="{05A4C25C-085E-4340-85A3-A5531E510DB2}">
      <thm15:themeFamily xmlns:thm15="http://schemas.microsoft.com/office/thememl/2012/main" name="Azure Developer Template.potx" id="{259ECF57-CCA7-41E2-BBE7-4A5ADC622A31}" vid="{D47BAD43-CC97-49DF-B1A0-4644BB209BB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02CF4495E09FF42A1B0B97E61139E92" ma:contentTypeVersion="5" ma:contentTypeDescription="Create a new document." ma:contentTypeScope="" ma:versionID="a483dcd4209520f8e4af6422ce3016a8">
  <xsd:schema xmlns:xsd="http://www.w3.org/2001/XMLSchema" xmlns:xs="http://www.w3.org/2001/XMLSchema" xmlns:p="http://schemas.microsoft.com/office/2006/metadata/properties" xmlns:ns2="fac12304-a514-4bf9-8a9b-59948ddf2c1c" targetNamespace="http://schemas.microsoft.com/office/2006/metadata/properties" ma:root="true" ma:fieldsID="8c8dc780238676ca624d781f0f547b32" ns2:_="">
    <xsd:import namespace="fac12304-a514-4bf9-8a9b-59948ddf2c1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c12304-a514-4bf9-8a9b-59948ddf2c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12467BA-B748-4206-843A-C64CD14F5100}">
  <ds:schemaRefs>
    <ds:schemaRef ds:uri="http://purl.org/dc/elements/1.1/"/>
    <ds:schemaRef ds:uri="http://schemas.openxmlformats.org/package/2006/metadata/core-properties"/>
    <ds:schemaRef ds:uri="fac12304-a514-4bf9-8a9b-59948ddf2c1c"/>
    <ds:schemaRef ds:uri="http://www.w3.org/XML/1998/namespace"/>
    <ds:schemaRef ds:uri="http://schemas.microsoft.com/office/infopath/2007/PartnerControls"/>
    <ds:schemaRef ds:uri="http://purl.org/dc/terms/"/>
    <ds:schemaRef ds:uri="http://schemas.microsoft.com/office/2006/documentManagement/typ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F01AF4CB-0C39-443C-B8DD-8FACF3739EBF}">
  <ds:schemaRefs>
    <ds:schemaRef ds:uri="http://schemas.microsoft.com/sharepoint/v3/contenttype/forms"/>
  </ds:schemaRefs>
</ds:datastoreItem>
</file>

<file path=customXml/itemProps3.xml><?xml version="1.0" encoding="utf-8"?>
<ds:datastoreItem xmlns:ds="http://schemas.openxmlformats.org/officeDocument/2006/customXml" ds:itemID="{6E581E08-15C4-4498-A153-3A213A20E4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ac12304-a514-4bf9-8a9b-59948ddf2c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3342</Words>
  <Application>Microsoft Office PowerPoint</Application>
  <PresentationFormat>Widescreen</PresentationFormat>
  <Paragraphs>527</Paragraphs>
  <Slides>34</Slides>
  <Notes>33</Notes>
  <HiddenSlides>0</HiddenSlides>
  <MMClips>0</MMClips>
  <ScaleCrop>false</ScaleCrop>
  <HeadingPairs>
    <vt:vector size="8" baseType="variant">
      <vt:variant>
        <vt:lpstr>Fonts Used</vt:lpstr>
      </vt:variant>
      <vt:variant>
        <vt:i4>15</vt:i4>
      </vt:variant>
      <vt:variant>
        <vt:lpstr>Theme</vt:lpstr>
      </vt:variant>
      <vt:variant>
        <vt:i4>14</vt:i4>
      </vt:variant>
      <vt:variant>
        <vt:lpstr>Embedded OLE Servers</vt:lpstr>
      </vt:variant>
      <vt:variant>
        <vt:i4>1</vt:i4>
      </vt:variant>
      <vt:variant>
        <vt:lpstr>Slide Titles</vt:lpstr>
      </vt:variant>
      <vt:variant>
        <vt:i4>34</vt:i4>
      </vt:variant>
    </vt:vector>
  </HeadingPairs>
  <TitlesOfParts>
    <vt:vector size="64" baseType="lpstr">
      <vt:lpstr>Arial</vt:lpstr>
      <vt:lpstr>Calibri</vt:lpstr>
      <vt:lpstr>Calibri Light</vt:lpstr>
      <vt:lpstr>Consolas</vt:lpstr>
      <vt:lpstr>Lucida Console</vt:lpstr>
      <vt:lpstr>Quattrocento Sans</vt:lpstr>
      <vt:lpstr>Segoe Pro</vt:lpstr>
      <vt:lpstr>Segoe Semibold</vt:lpstr>
      <vt:lpstr>Segoe UI</vt:lpstr>
      <vt:lpstr>Segoe UI Light</vt:lpstr>
      <vt:lpstr>Segoe UI Semibold</vt:lpstr>
      <vt:lpstr>Segoe UI Semilight</vt:lpstr>
      <vt:lpstr>Selawik Semibold</vt:lpstr>
      <vt:lpstr>Showcard Gothic</vt:lpstr>
      <vt:lpstr>Wingdings</vt:lpstr>
      <vt:lpstr>Office Theme</vt:lpstr>
      <vt:lpstr>1_5-50183_Microsoft_Inspire_Template</vt:lpstr>
      <vt:lpstr>5-50201_Microsoft_Ready_Template</vt:lpstr>
      <vt:lpstr>1_Server and Cloud 2013</vt:lpstr>
      <vt:lpstr>Server and Cloud 2013</vt:lpstr>
      <vt:lpstr>1_Connect_2016_Template_Light</vt:lpstr>
      <vt:lpstr>Connect_2016_Template_Light</vt:lpstr>
      <vt:lpstr>Azure PPT Template - 2018</vt:lpstr>
      <vt:lpstr>Azure Dev Light - 2018H2</vt:lpstr>
      <vt:lpstr>EBC_2017</vt:lpstr>
      <vt:lpstr>1_5-50156_Government_Cloud_Forum_2017_Template</vt:lpstr>
      <vt:lpstr>5-50203_Microsoft_Ignite_Template</vt:lpstr>
      <vt:lpstr>2_Server and Cloud 2013</vt:lpstr>
      <vt:lpstr>1_5-50203_Microsoft_Ignite_Template</vt:lpstr>
      <vt:lpstr>think-cell Slide</vt:lpstr>
      <vt:lpstr>PowerPoint Presentation</vt:lpstr>
      <vt:lpstr>Containers and Microservices </vt:lpstr>
      <vt:lpstr>Balancing IT and business</vt:lpstr>
      <vt:lpstr>The journey to the cloud</vt:lpstr>
      <vt:lpstr>Cloud app continuum</vt:lpstr>
      <vt:lpstr>What is a container?</vt:lpstr>
      <vt:lpstr>The container advantage</vt:lpstr>
      <vt:lpstr>The container advantage</vt:lpstr>
      <vt:lpstr>PowerPoint Presentation</vt:lpstr>
      <vt:lpstr>PowerPoint Presentation</vt:lpstr>
      <vt:lpstr>What we hear from developers</vt:lpstr>
      <vt:lpstr>What we hear from IT</vt:lpstr>
      <vt:lpstr>The container win-win</vt:lpstr>
      <vt:lpstr>PowerPoint Presentation</vt:lpstr>
      <vt:lpstr>PowerPoint Presentation</vt:lpstr>
      <vt:lpstr>Microservices: Benefits</vt:lpstr>
      <vt:lpstr>Microservices: Challenges</vt:lpstr>
      <vt:lpstr>Microservice candidates</vt:lpstr>
      <vt:lpstr>PowerPoint Presentation</vt:lpstr>
      <vt:lpstr>PowerPoint Presentation</vt:lpstr>
      <vt:lpstr>PowerPoint Presentation</vt:lpstr>
      <vt:lpstr>Azure Container Instances (ACI)</vt:lpstr>
      <vt:lpstr>PowerPoint Presentation</vt:lpstr>
      <vt:lpstr>Azure Kubernetes Service (AKS)</vt:lpstr>
      <vt:lpstr>Azure Kubernetes Service (AKS)</vt:lpstr>
      <vt:lpstr>Azure Kubernetes Service (AKS)</vt:lpstr>
      <vt:lpstr>Azure Kubernetes Service (AKS)</vt:lpstr>
      <vt:lpstr>PowerPoint Presentation</vt:lpstr>
      <vt:lpstr>PowerPoint Presentation</vt:lpstr>
      <vt:lpstr>PowerPoint Presentation</vt:lpstr>
      <vt:lpstr>Azure Service Fabric Mesh </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lla Lin</dc:creator>
  <cp:lastModifiedBy>Dan Gartner</cp:lastModifiedBy>
  <cp:revision>1</cp:revision>
  <dcterms:modified xsi:type="dcterms:W3CDTF">2018-12-04T18:27: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tellal@microsoft.com</vt:lpwstr>
  </property>
  <property fmtid="{D5CDD505-2E9C-101B-9397-08002B2CF9AE}" pid="5" name="MSIP_Label_f42aa342-8706-4288-bd11-ebb85995028c_SetDate">
    <vt:lpwstr>2018-08-07T16:16:17.017585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202CF4495E09FF42A1B0B97E61139E92</vt:lpwstr>
  </property>
  <property fmtid="{D5CDD505-2E9C-101B-9397-08002B2CF9AE}" pid="11" name="TaxKeyword">
    <vt:lpwstr/>
  </property>
</Properties>
</file>